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webextensions/webextension1.xml" ContentType="application/vnd.ms-office.webextension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webextensions/webextension2.xml" ContentType="application/vnd.ms-office.webextension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286.xml" ContentType="application/vnd.openxmlformats-officedocument.presentationml.tags+xml"/>
  <Override PartName="/ppt/notesSlides/notesSlide7.xml" ContentType="application/vnd.openxmlformats-officedocument.presentationml.notesSlide+xml"/>
  <Override PartName="/ppt/tags/tag287.xml" ContentType="application/vnd.openxmlformats-officedocument.presentationml.tags+xml"/>
  <Override PartName="/ppt/notesSlides/notesSlide8.xml" ContentType="application/vnd.openxmlformats-officedocument.presentationml.notesSlide+xml"/>
  <Override PartName="/ppt/tags/tag288.xml" ContentType="application/vnd.openxmlformats-officedocument.presentationml.tags+xml"/>
  <Override PartName="/ppt/notesSlides/notesSlide9.xml" ContentType="application/vnd.openxmlformats-officedocument.presentationml.notesSl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425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4"/>
  </p:sldMasterIdLst>
  <p:notesMasterIdLst>
    <p:notesMasterId r:id="rId29"/>
  </p:notesMasterIdLst>
  <p:handoutMasterIdLst>
    <p:handoutMasterId r:id="rId30"/>
  </p:handoutMasterIdLst>
  <p:sldIdLst>
    <p:sldId id="260" r:id="rId5"/>
    <p:sldId id="360" r:id="rId6"/>
    <p:sldId id="347" r:id="rId7"/>
    <p:sldId id="409" r:id="rId8"/>
    <p:sldId id="313" r:id="rId9"/>
    <p:sldId id="393" r:id="rId10"/>
    <p:sldId id="382" r:id="rId11"/>
    <p:sldId id="375" r:id="rId12"/>
    <p:sldId id="405" r:id="rId13"/>
    <p:sldId id="403" r:id="rId14"/>
    <p:sldId id="407" r:id="rId15"/>
    <p:sldId id="376" r:id="rId16"/>
    <p:sldId id="399" r:id="rId17"/>
    <p:sldId id="396" r:id="rId18"/>
    <p:sldId id="404" r:id="rId19"/>
    <p:sldId id="391" r:id="rId20"/>
    <p:sldId id="392" r:id="rId21"/>
    <p:sldId id="397" r:id="rId22"/>
    <p:sldId id="406" r:id="rId23"/>
    <p:sldId id="377" r:id="rId24"/>
    <p:sldId id="389" r:id="rId25"/>
    <p:sldId id="394" r:id="rId26"/>
    <p:sldId id="380" r:id="rId27"/>
    <p:sldId id="349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4283A05-8E9E-9049-9230-E209B69E3115}">
          <p14:sldIdLst>
            <p14:sldId id="260"/>
            <p14:sldId id="360"/>
            <p14:sldId id="347"/>
            <p14:sldId id="409"/>
          </p14:sldIdLst>
        </p14:section>
        <p14:section name="Dataset &amp; Data-CleanUp" id="{D7C820B9-91A1-C443-B58E-30D064515C80}">
          <p14:sldIdLst>
            <p14:sldId id="313"/>
            <p14:sldId id="393"/>
            <p14:sldId id="382"/>
          </p14:sldIdLst>
        </p14:section>
        <p14:section name="Countries" id="{0F45353B-01E5-8B42-9082-1CC0748F53AF}">
          <p14:sldIdLst>
            <p14:sldId id="375"/>
            <p14:sldId id="405"/>
            <p14:sldId id="403"/>
            <p14:sldId id="407"/>
          </p14:sldIdLst>
        </p14:section>
        <p14:section name="Continents &amp; Regions" id="{44212789-BC34-E641-AE0B-2D85D7253A3A}">
          <p14:sldIdLst>
            <p14:sldId id="376"/>
            <p14:sldId id="399"/>
            <p14:sldId id="396"/>
            <p14:sldId id="404"/>
            <p14:sldId id="391"/>
            <p14:sldId id="392"/>
            <p14:sldId id="397"/>
            <p14:sldId id="406"/>
          </p14:sldIdLst>
        </p14:section>
        <p14:section name="Weather Influences" id="{0304C5CF-1EC9-D344-8C5E-DDDA3D0CD195}">
          <p14:sldIdLst>
            <p14:sldId id="377"/>
            <p14:sldId id="389"/>
          </p14:sldIdLst>
        </p14:section>
        <p14:section name="Ends" id="{064C0D0A-EFB4-F54B-BFA6-222D5C06841C}">
          <p14:sldIdLst>
            <p14:sldId id="394"/>
          </p14:sldIdLst>
        </p14:section>
        <p14:section name="BackUp" id="{8D667B72-9F25-A845-8032-55502F66AF15}">
          <p14:sldIdLst/>
        </p14:section>
        <p14:section name="Refferences" id="{872C8946-A815-2F4E-9C70-A77988AE2733}">
          <p14:sldIdLst>
            <p14:sldId id="380"/>
            <p14:sldId id="3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lin Gutter (DE)" initials="MG(" lastIdx="1" clrIdx="0">
    <p:extLst>
      <p:ext uri="{19B8F6BF-5375-455C-9EA6-DF929625EA0E}">
        <p15:presenceInfo xmlns:p15="http://schemas.microsoft.com/office/powerpoint/2012/main" userId="Merlin Gutter (DE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EE8278"/>
    <a:srgbClr val="064169"/>
    <a:srgbClr val="D9D9D9"/>
    <a:srgbClr val="7F7F7F"/>
    <a:srgbClr val="000000"/>
    <a:srgbClr val="002739"/>
    <a:srgbClr val="05A8E3"/>
    <a:srgbClr val="F6F6F6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547FEA-81BA-420D-A1E0-B7718148F9F4}" v="44" dt="2022-11-25T01:53:39.543"/>
    <p1510:client id="{4F250547-3E32-4C59-A9FB-E006B25467D5}" v="3418" dt="2022-11-25T15:08:49.551"/>
    <p1510:client id="{4FC3B599-FF11-40A4-A1E3-11286E384073}" v="80" dt="2022-11-24T16:33:15.381"/>
    <p1510:client id="{6905B6A0-84C1-444D-A83D-CD93536C74BA}" v="27" dt="2022-11-24T23:43:35.430"/>
    <p1510:client id="{69106411-5C9C-483F-B43E-148ACF0781F9}" v="5" dt="2022-11-24T22:01:53.501"/>
    <p1510:client id="{7D5F3206-5B1F-4702-B1B2-2ADE2A003C76}" v="3" dt="2022-11-25T00:07:41.514"/>
    <p1510:client id="{98070470-39FC-4AC8-99DD-79AFABA77F90}" v="3" dt="2022-11-24T16:00:08.042"/>
    <p1510:client id="{BD8E1AE5-CA70-4145-9132-D54D0EC0A741}" v="163" dt="2022-11-25T15:14:04.170"/>
    <p1510:client id="{BE54790C-23EC-4560-A1D4-6416E1B50097}" v="70" dt="2022-11-24T23:05:23.679"/>
    <p1510:client id="{C6CD92A3-CC7F-48C0-BC58-2DF589FACDEB}" v="2" dt="2022-11-25T03:06:47.321"/>
    <p1510:client id="{CB1EFBC3-10F5-3048-8961-5969497C0019}" v="138107" dt="2022-11-25T01:28:34.351"/>
    <p1510:client id="{E8BB1515-8E6F-431B-B1A3-9740344FBEEA}" v="177" dt="2022-11-25T05:24:22.0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97"/>
  </p:normalViewPr>
  <p:slideViewPr>
    <p:cSldViewPr snapToGrid="0">
      <p:cViewPr varScale="1">
        <p:scale>
          <a:sx n="108" d="100"/>
          <a:sy n="108" d="100"/>
        </p:scale>
        <p:origin x="74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ony Britto" userId="S::britta2@mcmaster.ca::d1019b0b-29f6-4a1d-ad02-0d91a36ee451" providerId="AD" clId="Web-{C6CD92A3-CC7F-48C0-BC58-2DF589FACDEB}"/>
    <pc:docChg chg="modSld">
      <pc:chgData name="Antony Britto" userId="S::britta2@mcmaster.ca::d1019b0b-29f6-4a1d-ad02-0d91a36ee451" providerId="AD" clId="Web-{C6CD92A3-CC7F-48C0-BC58-2DF589FACDEB}" dt="2022-11-25T03:06:47.321" v="1" actId="1076"/>
      <pc:docMkLst>
        <pc:docMk/>
      </pc:docMkLst>
      <pc:sldChg chg="modSp">
        <pc:chgData name="Antony Britto" userId="S::britta2@mcmaster.ca::d1019b0b-29f6-4a1d-ad02-0d91a36ee451" providerId="AD" clId="Web-{C6CD92A3-CC7F-48C0-BC58-2DF589FACDEB}" dt="2022-11-25T03:06:47.321" v="1" actId="1076"/>
        <pc:sldMkLst>
          <pc:docMk/>
          <pc:sldMk cId="729331847" sldId="409"/>
        </pc:sldMkLst>
        <pc:spChg chg="mod">
          <ac:chgData name="Antony Britto" userId="S::britta2@mcmaster.ca::d1019b0b-29f6-4a1d-ad02-0d91a36ee451" providerId="AD" clId="Web-{C6CD92A3-CC7F-48C0-BC58-2DF589FACDEB}" dt="2022-11-25T03:06:47.321" v="1" actId="1076"/>
          <ac:spMkLst>
            <pc:docMk/>
            <pc:sldMk cId="729331847" sldId="409"/>
            <ac:spMk id="8" creationId="{FAE0BDE5-74E8-1A4D-EAB3-24C7A25AF140}"/>
          </ac:spMkLst>
        </pc:spChg>
      </pc:sldChg>
    </pc:docChg>
  </pc:docChgLst>
  <pc:docChgLst>
    <pc:chgData name="Antony Britto" userId="d1019b0b-29f6-4a1d-ad02-0d91a36ee451" providerId="ADAL" clId="{4F250547-3E32-4C59-A9FB-E006B25467D5}"/>
    <pc:docChg chg="undo redo custSel addSld delSld modSld sldOrd modSection">
      <pc:chgData name="Antony Britto" userId="d1019b0b-29f6-4a1d-ad02-0d91a36ee451" providerId="ADAL" clId="{4F250547-3E32-4C59-A9FB-E006B25467D5}" dt="2022-11-25T15:08:49.551" v="5914" actId="20577"/>
      <pc:docMkLst>
        <pc:docMk/>
      </pc:docMkLst>
      <pc:sldChg chg="modSp mod">
        <pc:chgData name="Antony Britto" userId="d1019b0b-29f6-4a1d-ad02-0d91a36ee451" providerId="ADAL" clId="{4F250547-3E32-4C59-A9FB-E006B25467D5}" dt="2022-11-18T16:39:22.446" v="1129" actId="14100"/>
        <pc:sldMkLst>
          <pc:docMk/>
          <pc:sldMk cId="1874684282" sldId="260"/>
        </pc:sldMkLst>
        <pc:spChg chg="mod">
          <ac:chgData name="Antony Britto" userId="d1019b0b-29f6-4a1d-ad02-0d91a36ee451" providerId="ADAL" clId="{4F250547-3E32-4C59-A9FB-E006B25467D5}" dt="2022-11-18T16:39:22.446" v="1129" actId="14100"/>
          <ac:spMkLst>
            <pc:docMk/>
            <pc:sldMk cId="1874684282" sldId="260"/>
            <ac:spMk id="8" creationId="{341E50F1-6BB5-7B7F-9E14-8FEDF2D7ADBB}"/>
          </ac:spMkLst>
        </pc:spChg>
      </pc:sldChg>
      <pc:sldChg chg="modSp mod">
        <pc:chgData name="Antony Britto" userId="d1019b0b-29f6-4a1d-ad02-0d91a36ee451" providerId="ADAL" clId="{4F250547-3E32-4C59-A9FB-E006B25467D5}" dt="2022-11-20T16:35:57.192" v="1673" actId="255"/>
        <pc:sldMkLst>
          <pc:docMk/>
          <pc:sldMk cId="1515730027" sldId="263"/>
        </pc:sldMkLst>
        <pc:spChg chg="mod">
          <ac:chgData name="Antony Britto" userId="d1019b0b-29f6-4a1d-ad02-0d91a36ee451" providerId="ADAL" clId="{4F250547-3E32-4C59-A9FB-E006B25467D5}" dt="2022-11-20T16:35:57.192" v="1673" actId="255"/>
          <ac:spMkLst>
            <pc:docMk/>
            <pc:sldMk cId="1515730027" sldId="263"/>
            <ac:spMk id="16" creationId="{20C30B95-34B0-F86F-7CE9-DD1C10E6D5A0}"/>
          </ac:spMkLst>
        </pc:spChg>
        <pc:graphicFrameChg chg="mod modGraphic">
          <ac:chgData name="Antony Britto" userId="d1019b0b-29f6-4a1d-ad02-0d91a36ee451" providerId="ADAL" clId="{4F250547-3E32-4C59-A9FB-E006B25467D5}" dt="2022-11-15T14:38:15.916" v="87" actId="20577"/>
          <ac:graphicFrameMkLst>
            <pc:docMk/>
            <pc:sldMk cId="1515730027" sldId="263"/>
            <ac:graphicFrameMk id="8" creationId="{41BC18E8-F588-B681-E7FD-4DC03F380956}"/>
          </ac:graphicFrameMkLst>
        </pc:graphicFrameChg>
      </pc:sldChg>
      <pc:sldChg chg="modSp mod">
        <pc:chgData name="Antony Britto" userId="d1019b0b-29f6-4a1d-ad02-0d91a36ee451" providerId="ADAL" clId="{4F250547-3E32-4C59-A9FB-E006B25467D5}" dt="2022-11-24T03:13:32.467" v="4089" actId="1076"/>
        <pc:sldMkLst>
          <pc:docMk/>
          <pc:sldMk cId="11629885" sldId="264"/>
        </pc:sldMkLst>
        <pc:spChg chg="mod">
          <ac:chgData name="Antony Britto" userId="d1019b0b-29f6-4a1d-ad02-0d91a36ee451" providerId="ADAL" clId="{4F250547-3E32-4C59-A9FB-E006B25467D5}" dt="2022-11-24T03:13:32.467" v="4089" actId="1076"/>
          <ac:spMkLst>
            <pc:docMk/>
            <pc:sldMk cId="11629885" sldId="264"/>
            <ac:spMk id="2" creationId="{2A5B9CCB-1E9C-9AB8-408D-9F8EF82961A7}"/>
          </ac:spMkLst>
        </pc:spChg>
        <pc:spChg chg="mod">
          <ac:chgData name="Antony Britto" userId="d1019b0b-29f6-4a1d-ad02-0d91a36ee451" providerId="ADAL" clId="{4F250547-3E32-4C59-A9FB-E006B25467D5}" dt="2022-11-20T16:33:32.226" v="1656" actId="255"/>
          <ac:spMkLst>
            <pc:docMk/>
            <pc:sldMk cId="11629885" sldId="264"/>
            <ac:spMk id="16" creationId="{20C30B95-34B0-F86F-7CE9-DD1C10E6D5A0}"/>
          </ac:spMkLst>
        </pc:spChg>
        <pc:spChg chg="mod">
          <ac:chgData name="Antony Britto" userId="d1019b0b-29f6-4a1d-ad02-0d91a36ee451" providerId="ADAL" clId="{4F250547-3E32-4C59-A9FB-E006B25467D5}" dt="2022-11-24T03:10:13.735" v="4067" actId="1076"/>
          <ac:spMkLst>
            <pc:docMk/>
            <pc:sldMk cId="11629885" sldId="264"/>
            <ac:spMk id="25" creationId="{60CC67FA-727C-FA35-F729-C725BA18BAE6}"/>
          </ac:spMkLst>
        </pc:spChg>
        <pc:spChg chg="mod">
          <ac:chgData name="Antony Britto" userId="d1019b0b-29f6-4a1d-ad02-0d91a36ee451" providerId="ADAL" clId="{4F250547-3E32-4C59-A9FB-E006B25467D5}" dt="2022-11-24T03:12:29.232" v="4082" actId="1076"/>
          <ac:spMkLst>
            <pc:docMk/>
            <pc:sldMk cId="11629885" sldId="264"/>
            <ac:spMk id="26" creationId="{027EFB36-40B0-E3CC-65E6-616F99A4D5C7}"/>
          </ac:spMkLst>
        </pc:spChg>
        <pc:spChg chg="mod">
          <ac:chgData name="Antony Britto" userId="d1019b0b-29f6-4a1d-ad02-0d91a36ee451" providerId="ADAL" clId="{4F250547-3E32-4C59-A9FB-E006B25467D5}" dt="2022-11-24T03:10:20.920" v="4068" actId="1076"/>
          <ac:spMkLst>
            <pc:docMk/>
            <pc:sldMk cId="11629885" sldId="264"/>
            <ac:spMk id="27" creationId="{AA1F85BC-999E-67B3-32D2-1047E605A405}"/>
          </ac:spMkLst>
        </pc:spChg>
        <pc:spChg chg="mod">
          <ac:chgData name="Antony Britto" userId="d1019b0b-29f6-4a1d-ad02-0d91a36ee451" providerId="ADAL" clId="{4F250547-3E32-4C59-A9FB-E006B25467D5}" dt="2022-11-24T03:10:27.164" v="4069" actId="1076"/>
          <ac:spMkLst>
            <pc:docMk/>
            <pc:sldMk cId="11629885" sldId="264"/>
            <ac:spMk id="28" creationId="{7EF8BF68-BF7E-A2D5-8233-9EE23B04D030}"/>
          </ac:spMkLst>
        </pc:spChg>
        <pc:spChg chg="mod">
          <ac:chgData name="Antony Britto" userId="d1019b0b-29f6-4a1d-ad02-0d91a36ee451" providerId="ADAL" clId="{4F250547-3E32-4C59-A9FB-E006B25467D5}" dt="2022-11-24T03:13:06.762" v="4085" actId="14100"/>
          <ac:spMkLst>
            <pc:docMk/>
            <pc:sldMk cId="11629885" sldId="264"/>
            <ac:spMk id="29" creationId="{FD639CC3-F08D-A355-04DF-F232DC77DA40}"/>
          </ac:spMkLst>
        </pc:spChg>
        <pc:spChg chg="mod">
          <ac:chgData name="Antony Britto" userId="d1019b0b-29f6-4a1d-ad02-0d91a36ee451" providerId="ADAL" clId="{4F250547-3E32-4C59-A9FB-E006B25467D5}" dt="2022-11-24T03:09:37.462" v="4062" actId="1076"/>
          <ac:spMkLst>
            <pc:docMk/>
            <pc:sldMk cId="11629885" sldId="264"/>
            <ac:spMk id="32" creationId="{BB1645A3-3E8D-035B-F74B-EACF5CFB0AF6}"/>
          </ac:spMkLst>
        </pc:spChg>
        <pc:spChg chg="mod">
          <ac:chgData name="Antony Britto" userId="d1019b0b-29f6-4a1d-ad02-0d91a36ee451" providerId="ADAL" clId="{4F250547-3E32-4C59-A9FB-E006B25467D5}" dt="2022-11-24T03:09:53.234" v="4064" actId="14100"/>
          <ac:spMkLst>
            <pc:docMk/>
            <pc:sldMk cId="11629885" sldId="264"/>
            <ac:spMk id="35" creationId="{6ACA91F2-7713-263E-9BF4-06990EC65FEB}"/>
          </ac:spMkLst>
        </pc:spChg>
        <pc:spChg chg="mod">
          <ac:chgData name="Antony Britto" userId="d1019b0b-29f6-4a1d-ad02-0d91a36ee451" providerId="ADAL" clId="{4F250547-3E32-4C59-A9FB-E006B25467D5}" dt="2022-11-24T03:10:00.920" v="4066" actId="1076"/>
          <ac:spMkLst>
            <pc:docMk/>
            <pc:sldMk cId="11629885" sldId="264"/>
            <ac:spMk id="38" creationId="{D2604B75-E729-1949-2F7E-B388CAA4486E}"/>
          </ac:spMkLst>
        </pc:spChg>
        <pc:spChg chg="mod">
          <ac:chgData name="Antony Britto" userId="d1019b0b-29f6-4a1d-ad02-0d91a36ee451" providerId="ADAL" clId="{4F250547-3E32-4C59-A9FB-E006B25467D5}" dt="2022-11-24T03:11:48.859" v="4080" actId="1076"/>
          <ac:spMkLst>
            <pc:docMk/>
            <pc:sldMk cId="11629885" sldId="264"/>
            <ac:spMk id="41" creationId="{D01D7E5B-AF70-4536-1D36-A414FC57A7F4}"/>
          </ac:spMkLst>
        </pc:spChg>
        <pc:spChg chg="mod">
          <ac:chgData name="Antony Britto" userId="d1019b0b-29f6-4a1d-ad02-0d91a36ee451" providerId="ADAL" clId="{4F250547-3E32-4C59-A9FB-E006B25467D5}" dt="2022-11-24T03:11:55.838" v="4081" actId="1076"/>
          <ac:spMkLst>
            <pc:docMk/>
            <pc:sldMk cId="11629885" sldId="264"/>
            <ac:spMk id="45" creationId="{6CA0BB7B-63A6-F4B4-43D4-CB28F51C7129}"/>
          </ac:spMkLst>
        </pc:spChg>
        <pc:spChg chg="mod">
          <ac:chgData name="Antony Britto" userId="d1019b0b-29f6-4a1d-ad02-0d91a36ee451" providerId="ADAL" clId="{4F250547-3E32-4C59-A9FB-E006B25467D5}" dt="2022-11-24T03:11:08.633" v="4074" actId="1076"/>
          <ac:spMkLst>
            <pc:docMk/>
            <pc:sldMk cId="11629885" sldId="264"/>
            <ac:spMk id="48" creationId="{24BC2BE9-8A06-AD81-3A3E-D0FC03A3EB70}"/>
          </ac:spMkLst>
        </pc:spChg>
        <pc:spChg chg="mod">
          <ac:chgData name="Antony Britto" userId="d1019b0b-29f6-4a1d-ad02-0d91a36ee451" providerId="ADAL" clId="{4F250547-3E32-4C59-A9FB-E006B25467D5}" dt="2022-11-24T03:13:17.057" v="4088" actId="14100"/>
          <ac:spMkLst>
            <pc:docMk/>
            <pc:sldMk cId="11629885" sldId="264"/>
            <ac:spMk id="50" creationId="{7921F176-3E31-3D56-B790-EB25767C33C8}"/>
          </ac:spMkLst>
        </pc:spChg>
        <pc:spChg chg="mod">
          <ac:chgData name="Antony Britto" userId="d1019b0b-29f6-4a1d-ad02-0d91a36ee451" providerId="ADAL" clId="{4F250547-3E32-4C59-A9FB-E006B25467D5}" dt="2022-11-24T03:08:47.024" v="4054" actId="1076"/>
          <ac:spMkLst>
            <pc:docMk/>
            <pc:sldMk cId="11629885" sldId="264"/>
            <ac:spMk id="75" creationId="{CA1DF458-C6D5-1040-E193-851184BF411D}"/>
          </ac:spMkLst>
        </pc:spChg>
        <pc:spChg chg="mod">
          <ac:chgData name="Antony Britto" userId="d1019b0b-29f6-4a1d-ad02-0d91a36ee451" providerId="ADAL" clId="{4F250547-3E32-4C59-A9FB-E006B25467D5}" dt="2022-11-24T03:08:27.407" v="4051" actId="14100"/>
          <ac:spMkLst>
            <pc:docMk/>
            <pc:sldMk cId="11629885" sldId="264"/>
            <ac:spMk id="76" creationId="{1A2DBF51-A6C5-5BEE-EB85-1B72F6EA015B}"/>
          </ac:spMkLst>
        </pc:spChg>
        <pc:spChg chg="mod">
          <ac:chgData name="Antony Britto" userId="d1019b0b-29f6-4a1d-ad02-0d91a36ee451" providerId="ADAL" clId="{4F250547-3E32-4C59-A9FB-E006B25467D5}" dt="2022-11-24T03:08:37.751" v="4053" actId="14100"/>
          <ac:spMkLst>
            <pc:docMk/>
            <pc:sldMk cId="11629885" sldId="264"/>
            <ac:spMk id="77" creationId="{D9761F49-FA91-0531-7B39-DE25ABBB9A3C}"/>
          </ac:spMkLst>
        </pc:spChg>
        <pc:picChg chg="mod">
          <ac:chgData name="Antony Britto" userId="d1019b0b-29f6-4a1d-ad02-0d91a36ee451" providerId="ADAL" clId="{4F250547-3E32-4C59-A9FB-E006B25467D5}" dt="2022-11-24T03:09:00.136" v="4057" actId="1076"/>
          <ac:picMkLst>
            <pc:docMk/>
            <pc:sldMk cId="11629885" sldId="264"/>
            <ac:picMk id="8" creationId="{A48B304A-F591-2C80-9F26-F6814AEDCBEB}"/>
          </ac:picMkLst>
        </pc:picChg>
        <pc:picChg chg="mod">
          <ac:chgData name="Antony Britto" userId="d1019b0b-29f6-4a1d-ad02-0d91a36ee451" providerId="ADAL" clId="{4F250547-3E32-4C59-A9FB-E006B25467D5}" dt="2022-11-24T03:09:05.203" v="4058" actId="1076"/>
          <ac:picMkLst>
            <pc:docMk/>
            <pc:sldMk cId="11629885" sldId="264"/>
            <ac:picMk id="10" creationId="{C049B1EB-741C-FE15-D7E3-CA813D9C506E}"/>
          </ac:picMkLst>
        </pc:picChg>
        <pc:picChg chg="mod">
          <ac:chgData name="Antony Britto" userId="d1019b0b-29f6-4a1d-ad02-0d91a36ee451" providerId="ADAL" clId="{4F250547-3E32-4C59-A9FB-E006B25467D5}" dt="2022-11-24T03:08:52.988" v="4055" actId="1076"/>
          <ac:picMkLst>
            <pc:docMk/>
            <pc:sldMk cId="11629885" sldId="264"/>
            <ac:picMk id="12" creationId="{6D0ABF04-E1B6-C4F6-13F2-F59C408299B0}"/>
          </ac:picMkLst>
        </pc:picChg>
        <pc:picChg chg="mod">
          <ac:chgData name="Antony Britto" userId="d1019b0b-29f6-4a1d-ad02-0d91a36ee451" providerId="ADAL" clId="{4F250547-3E32-4C59-A9FB-E006B25467D5}" dt="2022-11-24T03:09:18.586" v="4060" actId="1076"/>
          <ac:picMkLst>
            <pc:docMk/>
            <pc:sldMk cId="11629885" sldId="264"/>
            <ac:picMk id="14" creationId="{DCA3F07D-DB36-2E05-6ED4-E54663740C8F}"/>
          </ac:picMkLst>
        </pc:picChg>
        <pc:picChg chg="mod">
          <ac:chgData name="Antony Britto" userId="d1019b0b-29f6-4a1d-ad02-0d91a36ee451" providerId="ADAL" clId="{4F250547-3E32-4C59-A9FB-E006B25467D5}" dt="2022-11-24T03:09:13.138" v="4059" actId="1076"/>
          <ac:picMkLst>
            <pc:docMk/>
            <pc:sldMk cId="11629885" sldId="264"/>
            <ac:picMk id="18" creationId="{3F0D6EF3-EC0F-2554-B317-330396E6E064}"/>
          </ac:picMkLst>
        </pc:picChg>
        <pc:picChg chg="mod">
          <ac:chgData name="Antony Britto" userId="d1019b0b-29f6-4a1d-ad02-0d91a36ee451" providerId="ADAL" clId="{4F250547-3E32-4C59-A9FB-E006B25467D5}" dt="2022-11-24T03:09:28.866" v="4061" actId="1076"/>
          <ac:picMkLst>
            <pc:docMk/>
            <pc:sldMk cId="11629885" sldId="264"/>
            <ac:picMk id="20" creationId="{96386D70-9CFD-392E-84D6-A46FCBF2A9E4}"/>
          </ac:picMkLst>
        </pc:picChg>
        <pc:picChg chg="mod">
          <ac:chgData name="Antony Britto" userId="d1019b0b-29f6-4a1d-ad02-0d91a36ee451" providerId="ADAL" clId="{4F250547-3E32-4C59-A9FB-E006B25467D5}" dt="2022-11-24T03:11:42.368" v="4079" actId="1076"/>
          <ac:picMkLst>
            <pc:docMk/>
            <pc:sldMk cId="11629885" sldId="264"/>
            <ac:picMk id="42" creationId="{62AFC6E1-8E57-56EA-FF6A-6B0FCCB32A11}"/>
          </ac:picMkLst>
        </pc:picChg>
        <pc:picChg chg="mod">
          <ac:chgData name="Antony Britto" userId="d1019b0b-29f6-4a1d-ad02-0d91a36ee451" providerId="ADAL" clId="{4F250547-3E32-4C59-A9FB-E006B25467D5}" dt="2022-11-24T03:11:36.170" v="4078" actId="1076"/>
          <ac:picMkLst>
            <pc:docMk/>
            <pc:sldMk cId="11629885" sldId="264"/>
            <ac:picMk id="44" creationId="{1C2EA381-4F88-30B7-D3D6-DE4C6BA34E86}"/>
          </ac:picMkLst>
        </pc:picChg>
        <pc:picChg chg="mod">
          <ac:chgData name="Antony Britto" userId="d1019b0b-29f6-4a1d-ad02-0d91a36ee451" providerId="ADAL" clId="{4F250547-3E32-4C59-A9FB-E006B25467D5}" dt="2022-11-24T03:11:25.929" v="4077" actId="1076"/>
          <ac:picMkLst>
            <pc:docMk/>
            <pc:sldMk cId="11629885" sldId="264"/>
            <ac:picMk id="47" creationId="{DEEF3F99-210B-E6C0-0D23-E7A0FB7F8652}"/>
          </ac:picMkLst>
        </pc:picChg>
      </pc:sldChg>
      <pc:sldChg chg="modSp mod">
        <pc:chgData name="Antony Britto" userId="d1019b0b-29f6-4a1d-ad02-0d91a36ee451" providerId="ADAL" clId="{4F250547-3E32-4C59-A9FB-E006B25467D5}" dt="2022-11-14T22:20:34.971" v="14" actId="20577"/>
        <pc:sldMkLst>
          <pc:docMk/>
          <pc:sldMk cId="3732883263" sldId="313"/>
        </pc:sldMkLst>
        <pc:spChg chg="mod">
          <ac:chgData name="Antony Britto" userId="d1019b0b-29f6-4a1d-ad02-0d91a36ee451" providerId="ADAL" clId="{4F250547-3E32-4C59-A9FB-E006B25467D5}" dt="2022-11-14T22:20:34.971" v="14" actId="20577"/>
          <ac:spMkLst>
            <pc:docMk/>
            <pc:sldMk cId="3732883263" sldId="313"/>
            <ac:spMk id="2" creationId="{B07FFD0D-A31C-623E-E3DA-11A223839E3F}"/>
          </ac:spMkLst>
        </pc:spChg>
      </pc:sldChg>
      <pc:sldChg chg="addSp delSp modSp mod">
        <pc:chgData name="Antony Britto" userId="d1019b0b-29f6-4a1d-ad02-0d91a36ee451" providerId="ADAL" clId="{4F250547-3E32-4C59-A9FB-E006B25467D5}" dt="2022-11-23T16:58:23.575" v="2161" actId="1076"/>
        <pc:sldMkLst>
          <pc:docMk/>
          <pc:sldMk cId="2343338353" sldId="360"/>
        </pc:sldMkLst>
        <pc:spChg chg="mod">
          <ac:chgData name="Antony Britto" userId="d1019b0b-29f6-4a1d-ad02-0d91a36ee451" providerId="ADAL" clId="{4F250547-3E32-4C59-A9FB-E006B25467D5}" dt="2022-11-23T16:58:04.388" v="2159" actId="122"/>
          <ac:spMkLst>
            <pc:docMk/>
            <pc:sldMk cId="2343338353" sldId="360"/>
            <ac:spMk id="4" creationId="{C87A6629-CFC8-2709-93C8-792505BDBD30}"/>
          </ac:spMkLst>
        </pc:spChg>
        <pc:spChg chg="mod">
          <ac:chgData name="Antony Britto" userId="d1019b0b-29f6-4a1d-ad02-0d91a36ee451" providerId="ADAL" clId="{4F250547-3E32-4C59-A9FB-E006B25467D5}" dt="2022-11-23T16:58:06.414" v="2160" actId="122"/>
          <ac:spMkLst>
            <pc:docMk/>
            <pc:sldMk cId="2343338353" sldId="360"/>
            <ac:spMk id="5" creationId="{6B4121D2-EF3E-8EC1-EB6D-E018C09281B7}"/>
          </ac:spMkLst>
        </pc:spChg>
        <pc:spChg chg="mod">
          <ac:chgData name="Antony Britto" userId="d1019b0b-29f6-4a1d-ad02-0d91a36ee451" providerId="ADAL" clId="{4F250547-3E32-4C59-A9FB-E006B25467D5}" dt="2022-11-23T16:58:02.206" v="2158" actId="122"/>
          <ac:spMkLst>
            <pc:docMk/>
            <pc:sldMk cId="2343338353" sldId="360"/>
            <ac:spMk id="9" creationId="{57D99DBF-7509-23AC-4322-EDB991ECB64C}"/>
          </ac:spMkLst>
        </pc:spChg>
        <pc:spChg chg="mod topLvl">
          <ac:chgData name="Antony Britto" userId="d1019b0b-29f6-4a1d-ad02-0d91a36ee451" providerId="ADAL" clId="{4F250547-3E32-4C59-A9FB-E006B25467D5}" dt="2022-11-23T16:57:58.791" v="2157" actId="122"/>
          <ac:spMkLst>
            <pc:docMk/>
            <pc:sldMk cId="2343338353" sldId="360"/>
            <ac:spMk id="14" creationId="{0314A110-BFD1-A9F9-DE53-1448F1AA8ADB}"/>
          </ac:spMkLst>
        </pc:spChg>
        <pc:spChg chg="mod">
          <ac:chgData name="Antony Britto" userId="d1019b0b-29f6-4a1d-ad02-0d91a36ee451" providerId="ADAL" clId="{4F250547-3E32-4C59-A9FB-E006B25467D5}" dt="2022-11-20T16:33:38.104" v="1657" actId="255"/>
          <ac:spMkLst>
            <pc:docMk/>
            <pc:sldMk cId="2343338353" sldId="360"/>
            <ac:spMk id="16" creationId="{20C30B95-34B0-F86F-7CE9-DD1C10E6D5A0}"/>
          </ac:spMkLst>
        </pc:spChg>
        <pc:grpChg chg="mod">
          <ac:chgData name="Antony Britto" userId="d1019b0b-29f6-4a1d-ad02-0d91a36ee451" providerId="ADAL" clId="{4F250547-3E32-4C59-A9FB-E006B25467D5}" dt="2022-11-23T16:58:23.575" v="2161" actId="1076"/>
          <ac:grpSpMkLst>
            <pc:docMk/>
            <pc:sldMk cId="2343338353" sldId="360"/>
            <ac:grpSpMk id="8" creationId="{2D1069C8-A28B-FA47-5086-9062E6BE910B}"/>
          </ac:grpSpMkLst>
        </pc:grpChg>
        <pc:grpChg chg="add del mod">
          <ac:chgData name="Antony Britto" userId="d1019b0b-29f6-4a1d-ad02-0d91a36ee451" providerId="ADAL" clId="{4F250547-3E32-4C59-A9FB-E006B25467D5}" dt="2022-11-23T16:57:31.202" v="2153" actId="21"/>
          <ac:grpSpMkLst>
            <pc:docMk/>
            <pc:sldMk cId="2343338353" sldId="360"/>
            <ac:grpSpMk id="12" creationId="{6F1E4199-0EEB-20E7-CE37-2C2485DA3B96}"/>
          </ac:grpSpMkLst>
        </pc:grpChg>
        <pc:picChg chg="mod">
          <ac:chgData name="Antony Britto" userId="d1019b0b-29f6-4a1d-ad02-0d91a36ee451" providerId="ADAL" clId="{4F250547-3E32-4C59-A9FB-E006B25467D5}" dt="2022-11-23T16:57:18.204" v="2148" actId="14100"/>
          <ac:picMkLst>
            <pc:docMk/>
            <pc:sldMk cId="2343338353" sldId="360"/>
            <ac:picMk id="6" creationId="{EC69A034-94C2-AFC5-A58A-FBB0E86276CE}"/>
          </ac:picMkLst>
        </pc:picChg>
        <pc:picChg chg="add del mod modCrop">
          <ac:chgData name="Antony Britto" userId="d1019b0b-29f6-4a1d-ad02-0d91a36ee451" providerId="ADAL" clId="{4F250547-3E32-4C59-A9FB-E006B25467D5}" dt="2022-11-23T16:57:33.942" v="2154" actId="21"/>
          <ac:picMkLst>
            <pc:docMk/>
            <pc:sldMk cId="2343338353" sldId="360"/>
            <ac:picMk id="15" creationId="{9E78613A-F72D-FBB5-E831-9A0C9E9D6563}"/>
          </ac:picMkLst>
        </pc:picChg>
        <pc:picChg chg="add mod">
          <ac:chgData name="Antony Britto" userId="d1019b0b-29f6-4a1d-ad02-0d91a36ee451" providerId="ADAL" clId="{4F250547-3E32-4C59-A9FB-E006B25467D5}" dt="2022-11-23T16:57:39.610" v="2156" actId="1076"/>
          <ac:picMkLst>
            <pc:docMk/>
            <pc:sldMk cId="2343338353" sldId="360"/>
            <ac:picMk id="19" creationId="{9488B9F1-B0B7-5570-2344-6B37F71E68BA}"/>
          </ac:picMkLst>
        </pc:picChg>
        <pc:picChg chg="add del mod topLvl">
          <ac:chgData name="Antony Britto" userId="d1019b0b-29f6-4a1d-ad02-0d91a36ee451" providerId="ADAL" clId="{4F250547-3E32-4C59-A9FB-E006B25467D5}" dt="2022-11-23T16:57:31.202" v="2153" actId="21"/>
          <ac:picMkLst>
            <pc:docMk/>
            <pc:sldMk cId="2343338353" sldId="360"/>
            <ac:picMk id="20" creationId="{D6BB9372-0429-DEDD-1D87-CB8A25E95890}"/>
          </ac:picMkLst>
        </pc:picChg>
      </pc:sldChg>
      <pc:sldChg chg="modSp mod">
        <pc:chgData name="Antony Britto" userId="d1019b0b-29f6-4a1d-ad02-0d91a36ee451" providerId="ADAL" clId="{4F250547-3E32-4C59-A9FB-E006B25467D5}" dt="2022-11-20T16:35:44.791" v="1672" actId="2711"/>
        <pc:sldMkLst>
          <pc:docMk/>
          <pc:sldMk cId="1513874634" sldId="361"/>
        </pc:sldMkLst>
        <pc:spChg chg="mod">
          <ac:chgData name="Antony Britto" userId="d1019b0b-29f6-4a1d-ad02-0d91a36ee451" providerId="ADAL" clId="{4F250547-3E32-4C59-A9FB-E006B25467D5}" dt="2022-11-20T16:35:44.791" v="1672" actId="2711"/>
          <ac:spMkLst>
            <pc:docMk/>
            <pc:sldMk cId="1513874634" sldId="361"/>
            <ac:spMk id="4" creationId="{EE82E01C-8139-B8BF-FC80-96D63495173C}"/>
          </ac:spMkLst>
        </pc:spChg>
      </pc:sldChg>
      <pc:sldChg chg="modSp mod">
        <pc:chgData name="Antony Britto" userId="d1019b0b-29f6-4a1d-ad02-0d91a36ee451" providerId="ADAL" clId="{4F250547-3E32-4C59-A9FB-E006B25467D5}" dt="2022-11-20T17:28:01.315" v="2024" actId="20577"/>
        <pc:sldMkLst>
          <pc:docMk/>
          <pc:sldMk cId="4027008501" sldId="362"/>
        </pc:sldMkLst>
        <pc:spChg chg="mod">
          <ac:chgData name="Antony Britto" userId="d1019b0b-29f6-4a1d-ad02-0d91a36ee451" providerId="ADAL" clId="{4F250547-3E32-4C59-A9FB-E006B25467D5}" dt="2022-11-20T17:28:01.315" v="2024" actId="20577"/>
          <ac:spMkLst>
            <pc:docMk/>
            <pc:sldMk cId="4027008501" sldId="362"/>
            <ac:spMk id="4" creationId="{419A56F2-33FC-B13B-F824-5320C14683F0}"/>
          </ac:spMkLst>
        </pc:spChg>
      </pc:sldChg>
      <pc:sldChg chg="modSp mod">
        <pc:chgData name="Antony Britto" userId="d1019b0b-29f6-4a1d-ad02-0d91a36ee451" providerId="ADAL" clId="{4F250547-3E32-4C59-A9FB-E006B25467D5}" dt="2022-11-20T16:45:28.310" v="1795" actId="2711"/>
        <pc:sldMkLst>
          <pc:docMk/>
          <pc:sldMk cId="2029170211" sldId="364"/>
        </pc:sldMkLst>
        <pc:spChg chg="mod">
          <ac:chgData name="Antony Britto" userId="d1019b0b-29f6-4a1d-ad02-0d91a36ee451" providerId="ADAL" clId="{4F250547-3E32-4C59-A9FB-E006B25467D5}" dt="2022-11-20T16:45:28.310" v="1795" actId="2711"/>
          <ac:spMkLst>
            <pc:docMk/>
            <pc:sldMk cId="2029170211" sldId="364"/>
            <ac:spMk id="4" creationId="{419A56F2-33FC-B13B-F824-5320C14683F0}"/>
          </ac:spMkLst>
        </pc:spChg>
        <pc:spChg chg="mod">
          <ac:chgData name="Antony Britto" userId="d1019b0b-29f6-4a1d-ad02-0d91a36ee451" providerId="ADAL" clId="{4F250547-3E32-4C59-A9FB-E006B25467D5}" dt="2022-11-14T22:18:15.470" v="2" actId="20577"/>
          <ac:spMkLst>
            <pc:docMk/>
            <pc:sldMk cId="2029170211" sldId="364"/>
            <ac:spMk id="11" creationId="{F245124F-355D-7DD4-0A03-7A7282A5BF34}"/>
          </ac:spMkLst>
        </pc:spChg>
      </pc:sldChg>
      <pc:sldChg chg="modSp mod">
        <pc:chgData name="Antony Britto" userId="d1019b0b-29f6-4a1d-ad02-0d91a36ee451" providerId="ADAL" clId="{4F250547-3E32-4C59-A9FB-E006B25467D5}" dt="2022-11-20T16:45:40.151" v="1797" actId="255"/>
        <pc:sldMkLst>
          <pc:docMk/>
          <pc:sldMk cId="4166082792" sldId="365"/>
        </pc:sldMkLst>
        <pc:spChg chg="mod">
          <ac:chgData name="Antony Britto" userId="d1019b0b-29f6-4a1d-ad02-0d91a36ee451" providerId="ADAL" clId="{4F250547-3E32-4C59-A9FB-E006B25467D5}" dt="2022-11-20T16:45:40.151" v="1797" actId="255"/>
          <ac:spMkLst>
            <pc:docMk/>
            <pc:sldMk cId="4166082792" sldId="365"/>
            <ac:spMk id="4" creationId="{419A56F2-33FC-B13B-F824-5320C14683F0}"/>
          </ac:spMkLst>
        </pc:spChg>
      </pc:sldChg>
      <pc:sldChg chg="addSp delSp modSp mod">
        <pc:chgData name="Antony Britto" userId="d1019b0b-29f6-4a1d-ad02-0d91a36ee451" providerId="ADAL" clId="{4F250547-3E32-4C59-A9FB-E006B25467D5}" dt="2022-11-23T17:10:10.794" v="2254" actId="14100"/>
        <pc:sldMkLst>
          <pc:docMk/>
          <pc:sldMk cId="179184223" sldId="370"/>
        </pc:sldMkLst>
        <pc:spChg chg="del">
          <ac:chgData name="Antony Britto" userId="d1019b0b-29f6-4a1d-ad02-0d91a36ee451" providerId="ADAL" clId="{4F250547-3E32-4C59-A9FB-E006B25467D5}" dt="2022-11-20T16:31:21.060" v="1637" actId="21"/>
          <ac:spMkLst>
            <pc:docMk/>
            <pc:sldMk cId="179184223" sldId="370"/>
            <ac:spMk id="2" creationId="{0DDE5476-1677-AAE4-FA7A-9AEC14A837BC}"/>
          </ac:spMkLst>
        </pc:spChg>
        <pc:spChg chg="del mod">
          <ac:chgData name="Antony Britto" userId="d1019b0b-29f6-4a1d-ad02-0d91a36ee451" providerId="ADAL" clId="{4F250547-3E32-4C59-A9FB-E006B25467D5}" dt="2022-11-17T18:32:12.743" v="517" actId="21"/>
          <ac:spMkLst>
            <pc:docMk/>
            <pc:sldMk cId="179184223" sldId="370"/>
            <ac:spMk id="3" creationId="{C4024FDC-D549-F6EC-F969-74B2EDDB72FC}"/>
          </ac:spMkLst>
        </pc:spChg>
        <pc:spChg chg="del">
          <ac:chgData name="Antony Britto" userId="d1019b0b-29f6-4a1d-ad02-0d91a36ee451" providerId="ADAL" clId="{4F250547-3E32-4C59-A9FB-E006B25467D5}" dt="2022-11-17T18:32:14.646" v="518"/>
          <ac:spMkLst>
            <pc:docMk/>
            <pc:sldMk cId="179184223" sldId="370"/>
            <ac:spMk id="4" creationId="{FD2C0F60-72A6-92B2-ABCA-ABEAD3585B77}"/>
          </ac:spMkLst>
        </pc:spChg>
        <pc:spChg chg="del">
          <ac:chgData name="Antony Britto" userId="d1019b0b-29f6-4a1d-ad02-0d91a36ee451" providerId="ADAL" clId="{4F250547-3E32-4C59-A9FB-E006B25467D5}" dt="2022-11-20T16:46:22.188" v="1801" actId="21"/>
          <ac:spMkLst>
            <pc:docMk/>
            <pc:sldMk cId="179184223" sldId="370"/>
            <ac:spMk id="5" creationId="{6F090E6A-8414-5997-AA2D-741B98CF047A}"/>
          </ac:spMkLst>
        </pc:spChg>
        <pc:spChg chg="mod">
          <ac:chgData name="Antony Britto" userId="d1019b0b-29f6-4a1d-ad02-0d91a36ee451" providerId="ADAL" clId="{4F250547-3E32-4C59-A9FB-E006B25467D5}" dt="2022-11-20T17:29:18.396" v="2044" actId="255"/>
          <ac:spMkLst>
            <pc:docMk/>
            <pc:sldMk cId="179184223" sldId="370"/>
            <ac:spMk id="7" creationId="{0D46092F-261C-82DE-BB48-90C5AC557816}"/>
          </ac:spMkLst>
        </pc:spChg>
        <pc:spChg chg="mod">
          <ac:chgData name="Antony Britto" userId="d1019b0b-29f6-4a1d-ad02-0d91a36ee451" providerId="ADAL" clId="{4F250547-3E32-4C59-A9FB-E006B25467D5}" dt="2022-11-20T17:29:06.636" v="2035" actId="255"/>
          <ac:spMkLst>
            <pc:docMk/>
            <pc:sldMk cId="179184223" sldId="370"/>
            <ac:spMk id="8" creationId="{33BFFE52-8B5C-F2EE-34FF-3E0959547816}"/>
          </ac:spMkLst>
        </pc:spChg>
        <pc:spChg chg="mod">
          <ac:chgData name="Antony Britto" userId="d1019b0b-29f6-4a1d-ad02-0d91a36ee451" providerId="ADAL" clId="{4F250547-3E32-4C59-A9FB-E006B25467D5}" dt="2022-11-20T16:46:12.535" v="1800" actId="255"/>
          <ac:spMkLst>
            <pc:docMk/>
            <pc:sldMk cId="179184223" sldId="370"/>
            <ac:spMk id="9" creationId="{4A629F21-EB27-DA31-BD8F-B2AA58E24917}"/>
          </ac:spMkLst>
        </pc:spChg>
        <pc:spChg chg="mod">
          <ac:chgData name="Antony Britto" userId="d1019b0b-29f6-4a1d-ad02-0d91a36ee451" providerId="ADAL" clId="{4F250547-3E32-4C59-A9FB-E006B25467D5}" dt="2022-11-20T17:29:06.145" v="2034" actId="255"/>
          <ac:spMkLst>
            <pc:docMk/>
            <pc:sldMk cId="179184223" sldId="370"/>
            <ac:spMk id="10" creationId="{96C9B39E-B6F0-A628-8016-27F08C476907}"/>
          </ac:spMkLst>
        </pc:spChg>
        <pc:spChg chg="mod">
          <ac:chgData name="Antony Britto" userId="d1019b0b-29f6-4a1d-ad02-0d91a36ee451" providerId="ADAL" clId="{4F250547-3E32-4C59-A9FB-E006B25467D5}" dt="2022-11-23T17:08:39.839" v="2244" actId="1076"/>
          <ac:spMkLst>
            <pc:docMk/>
            <pc:sldMk cId="179184223" sldId="370"/>
            <ac:spMk id="11" creationId="{6CAF6D89-351F-B467-BF0E-7EEEE63702ED}"/>
          </ac:spMkLst>
        </pc:spChg>
        <pc:spChg chg="mod">
          <ac:chgData name="Antony Britto" userId="d1019b0b-29f6-4a1d-ad02-0d91a36ee451" providerId="ADAL" clId="{4F250547-3E32-4C59-A9FB-E006B25467D5}" dt="2022-11-23T17:10:10.794" v="2254" actId="14100"/>
          <ac:spMkLst>
            <pc:docMk/>
            <pc:sldMk cId="179184223" sldId="370"/>
            <ac:spMk id="12" creationId="{DBDA0B70-276B-ED42-D296-F9DFA2503A40}"/>
          </ac:spMkLst>
        </pc:spChg>
        <pc:spChg chg="mod">
          <ac:chgData name="Antony Britto" userId="d1019b0b-29f6-4a1d-ad02-0d91a36ee451" providerId="ADAL" clId="{4F250547-3E32-4C59-A9FB-E006B25467D5}" dt="2022-11-23T17:07:33.489" v="2228" actId="14100"/>
          <ac:spMkLst>
            <pc:docMk/>
            <pc:sldMk cId="179184223" sldId="370"/>
            <ac:spMk id="13" creationId="{6B1F1038-7DDB-13C3-9E87-9617DCDB3417}"/>
          </ac:spMkLst>
        </pc:spChg>
        <pc:spChg chg="mod">
          <ac:chgData name="Antony Britto" userId="d1019b0b-29f6-4a1d-ad02-0d91a36ee451" providerId="ADAL" clId="{4F250547-3E32-4C59-A9FB-E006B25467D5}" dt="2022-11-23T17:08:53.867" v="2246" actId="1076"/>
          <ac:spMkLst>
            <pc:docMk/>
            <pc:sldMk cId="179184223" sldId="370"/>
            <ac:spMk id="14" creationId="{97CF11B0-7D52-E607-D1D2-C5F08C74EBF5}"/>
          </ac:spMkLst>
        </pc:spChg>
        <pc:spChg chg="mod">
          <ac:chgData name="Antony Britto" userId="d1019b0b-29f6-4a1d-ad02-0d91a36ee451" providerId="ADAL" clId="{4F250547-3E32-4C59-A9FB-E006B25467D5}" dt="2022-11-23T17:08:59.297" v="2247" actId="1076"/>
          <ac:spMkLst>
            <pc:docMk/>
            <pc:sldMk cId="179184223" sldId="370"/>
            <ac:spMk id="15" creationId="{FB38A7D5-EFA4-4B18-846F-C30F7492B0DF}"/>
          </ac:spMkLst>
        </pc:spChg>
        <pc:spChg chg="mod">
          <ac:chgData name="Antony Britto" userId="d1019b0b-29f6-4a1d-ad02-0d91a36ee451" providerId="ADAL" clId="{4F250547-3E32-4C59-A9FB-E006B25467D5}" dt="2022-11-23T17:02:00.849" v="2178" actId="14100"/>
          <ac:spMkLst>
            <pc:docMk/>
            <pc:sldMk cId="179184223" sldId="370"/>
            <ac:spMk id="16" creationId="{476CEE4A-23C8-8952-D41D-D5D17B0B7790}"/>
          </ac:spMkLst>
        </pc:spChg>
        <pc:spChg chg="del">
          <ac:chgData name="Antony Britto" userId="d1019b0b-29f6-4a1d-ad02-0d91a36ee451" providerId="ADAL" clId="{4F250547-3E32-4C59-A9FB-E006B25467D5}" dt="2022-11-15T21:56:55.391" v="265" actId="21"/>
          <ac:spMkLst>
            <pc:docMk/>
            <pc:sldMk cId="179184223" sldId="370"/>
            <ac:spMk id="17" creationId="{5E0A0AD5-A9D2-8624-E032-D933877F31D7}"/>
          </ac:spMkLst>
        </pc:spChg>
        <pc:spChg chg="add mod">
          <ac:chgData name="Antony Britto" userId="d1019b0b-29f6-4a1d-ad02-0d91a36ee451" providerId="ADAL" clId="{4F250547-3E32-4C59-A9FB-E006B25467D5}" dt="2022-11-20T16:36:41.321" v="1677" actId="2711"/>
          <ac:spMkLst>
            <pc:docMk/>
            <pc:sldMk cId="179184223" sldId="370"/>
            <ac:spMk id="17" creationId="{631624C4-0C6C-628C-34B9-9884F7AEC742}"/>
          </ac:spMkLst>
        </pc:spChg>
        <pc:spChg chg="del">
          <ac:chgData name="Antony Britto" userId="d1019b0b-29f6-4a1d-ad02-0d91a36ee451" providerId="ADAL" clId="{4F250547-3E32-4C59-A9FB-E006B25467D5}" dt="2022-11-15T21:56:01.416" v="259" actId="21"/>
          <ac:spMkLst>
            <pc:docMk/>
            <pc:sldMk cId="179184223" sldId="370"/>
            <ac:spMk id="18" creationId="{299ADB79-1694-E87E-AD4B-1EBD4E24A662}"/>
          </ac:spMkLst>
        </pc:spChg>
        <pc:spChg chg="del">
          <ac:chgData name="Antony Britto" userId="d1019b0b-29f6-4a1d-ad02-0d91a36ee451" providerId="ADAL" clId="{4F250547-3E32-4C59-A9FB-E006B25467D5}" dt="2022-11-15T21:55:59.550" v="258" actId="21"/>
          <ac:spMkLst>
            <pc:docMk/>
            <pc:sldMk cId="179184223" sldId="370"/>
            <ac:spMk id="19" creationId="{DD94838B-BF30-2F3E-6AF3-5FB44FCB9874}"/>
          </ac:spMkLst>
        </pc:spChg>
        <pc:spChg chg="del">
          <ac:chgData name="Antony Britto" userId="d1019b0b-29f6-4a1d-ad02-0d91a36ee451" providerId="ADAL" clId="{4F250547-3E32-4C59-A9FB-E006B25467D5}" dt="2022-11-15T21:55:25.164" v="254" actId="21"/>
          <ac:spMkLst>
            <pc:docMk/>
            <pc:sldMk cId="179184223" sldId="370"/>
            <ac:spMk id="20" creationId="{1C98A973-BE2F-FFD3-33BB-C536A9F9E592}"/>
          </ac:spMkLst>
        </pc:spChg>
        <pc:spChg chg="mod">
          <ac:chgData name="Antony Britto" userId="d1019b0b-29f6-4a1d-ad02-0d91a36ee451" providerId="ADAL" clId="{4F250547-3E32-4C59-A9FB-E006B25467D5}" dt="2022-11-23T17:06:36.770" v="2206" actId="14100"/>
          <ac:spMkLst>
            <pc:docMk/>
            <pc:sldMk cId="179184223" sldId="370"/>
            <ac:spMk id="21" creationId="{02A52CD0-20C0-2614-6FC8-860CE810969A}"/>
          </ac:spMkLst>
        </pc:spChg>
        <pc:spChg chg="mod">
          <ac:chgData name="Antony Britto" userId="d1019b0b-29f6-4a1d-ad02-0d91a36ee451" providerId="ADAL" clId="{4F250547-3E32-4C59-A9FB-E006B25467D5}" dt="2022-11-23T17:06:43.455" v="2211" actId="14100"/>
          <ac:spMkLst>
            <pc:docMk/>
            <pc:sldMk cId="179184223" sldId="370"/>
            <ac:spMk id="22" creationId="{1EF6FF72-9086-CC9B-1BD5-8C90D43D5273}"/>
          </ac:spMkLst>
        </pc:spChg>
        <pc:spChg chg="mod">
          <ac:chgData name="Antony Britto" userId="d1019b0b-29f6-4a1d-ad02-0d91a36ee451" providerId="ADAL" clId="{4F250547-3E32-4C59-A9FB-E006B25467D5}" dt="2022-11-23T17:06:46.176" v="2214" actId="14100"/>
          <ac:spMkLst>
            <pc:docMk/>
            <pc:sldMk cId="179184223" sldId="370"/>
            <ac:spMk id="23" creationId="{3E17BE7A-950E-CCB4-58CF-F5FA9A50DBBD}"/>
          </ac:spMkLst>
        </pc:spChg>
        <pc:spChg chg="mod">
          <ac:chgData name="Antony Britto" userId="d1019b0b-29f6-4a1d-ad02-0d91a36ee451" providerId="ADAL" clId="{4F250547-3E32-4C59-A9FB-E006B25467D5}" dt="2022-11-23T17:06:48.703" v="2217" actId="14100"/>
          <ac:spMkLst>
            <pc:docMk/>
            <pc:sldMk cId="179184223" sldId="370"/>
            <ac:spMk id="24" creationId="{9722BF3B-33BF-CA13-2D72-9D7BE43A0B7D}"/>
          </ac:spMkLst>
        </pc:spChg>
        <pc:spChg chg="mod">
          <ac:chgData name="Antony Britto" userId="d1019b0b-29f6-4a1d-ad02-0d91a36ee451" providerId="ADAL" clId="{4F250547-3E32-4C59-A9FB-E006B25467D5}" dt="2022-11-23T17:09:24.041" v="2250" actId="14100"/>
          <ac:spMkLst>
            <pc:docMk/>
            <pc:sldMk cId="179184223" sldId="370"/>
            <ac:spMk id="25" creationId="{67689547-6DE0-0343-9EF4-BE7B8ECC24CA}"/>
          </ac:spMkLst>
        </pc:spChg>
        <pc:spChg chg="mod">
          <ac:chgData name="Antony Britto" userId="d1019b0b-29f6-4a1d-ad02-0d91a36ee451" providerId="ADAL" clId="{4F250547-3E32-4C59-A9FB-E006B25467D5}" dt="2022-11-20T16:53:27.904" v="1863" actId="313"/>
          <ac:spMkLst>
            <pc:docMk/>
            <pc:sldMk cId="179184223" sldId="370"/>
            <ac:spMk id="26" creationId="{4D75400F-00A2-247C-0757-CC30AEB2575B}"/>
          </ac:spMkLst>
        </pc:spChg>
        <pc:spChg chg="del">
          <ac:chgData name="Antony Britto" userId="d1019b0b-29f6-4a1d-ad02-0d91a36ee451" providerId="ADAL" clId="{4F250547-3E32-4C59-A9FB-E006B25467D5}" dt="2022-11-17T22:29:18.124" v="851" actId="21"/>
          <ac:spMkLst>
            <pc:docMk/>
            <pc:sldMk cId="179184223" sldId="370"/>
            <ac:spMk id="27" creationId="{BCF034FF-5191-64E7-E454-D368101B8736}"/>
          </ac:spMkLst>
        </pc:spChg>
        <pc:spChg chg="add mod">
          <ac:chgData name="Antony Britto" userId="d1019b0b-29f6-4a1d-ad02-0d91a36ee451" providerId="ADAL" clId="{4F250547-3E32-4C59-A9FB-E006B25467D5}" dt="2022-11-23T17:04:25.431" v="2191" actId="1076"/>
          <ac:spMkLst>
            <pc:docMk/>
            <pc:sldMk cId="179184223" sldId="370"/>
            <ac:spMk id="28" creationId="{61AEEE6D-2CAA-EC85-ECEA-536CAC79D17F}"/>
          </ac:spMkLst>
        </pc:spChg>
        <pc:spChg chg="add mod">
          <ac:chgData name="Antony Britto" userId="d1019b0b-29f6-4a1d-ad02-0d91a36ee451" providerId="ADAL" clId="{4F250547-3E32-4C59-A9FB-E006B25467D5}" dt="2022-11-23T17:06:15.565" v="2203" actId="14100"/>
          <ac:spMkLst>
            <pc:docMk/>
            <pc:sldMk cId="179184223" sldId="370"/>
            <ac:spMk id="29" creationId="{8B27CF69-4126-7FC1-E4BE-A85DF69F03D5}"/>
          </ac:spMkLst>
        </pc:spChg>
        <pc:spChg chg="add mod">
          <ac:chgData name="Antony Britto" userId="d1019b0b-29f6-4a1d-ad02-0d91a36ee451" providerId="ADAL" clId="{4F250547-3E32-4C59-A9FB-E006B25467D5}" dt="2022-11-23T17:08:04.078" v="2236" actId="14100"/>
          <ac:spMkLst>
            <pc:docMk/>
            <pc:sldMk cId="179184223" sldId="370"/>
            <ac:spMk id="30" creationId="{97CDD3D3-061E-82DF-CA07-1BCE0D411449}"/>
          </ac:spMkLst>
        </pc:spChg>
        <pc:spChg chg="add mod">
          <ac:chgData name="Antony Britto" userId="d1019b0b-29f6-4a1d-ad02-0d91a36ee451" providerId="ADAL" clId="{4F250547-3E32-4C59-A9FB-E006B25467D5}" dt="2022-11-23T17:09:04.238" v="2248" actId="1076"/>
          <ac:spMkLst>
            <pc:docMk/>
            <pc:sldMk cId="179184223" sldId="370"/>
            <ac:spMk id="31" creationId="{64C18FAF-969B-E746-AC24-3E7D47B7FCE9}"/>
          </ac:spMkLst>
        </pc:spChg>
      </pc:sldChg>
      <pc:sldChg chg="modSp mod">
        <pc:chgData name="Antony Britto" userId="d1019b0b-29f6-4a1d-ad02-0d91a36ee451" providerId="ADAL" clId="{4F250547-3E32-4C59-A9FB-E006B25467D5}" dt="2022-11-24T05:52:41.985" v="4430" actId="1076"/>
        <pc:sldMkLst>
          <pc:docMk/>
          <pc:sldMk cId="3735846079" sldId="374"/>
        </pc:sldMkLst>
        <pc:spChg chg="mod">
          <ac:chgData name="Antony Britto" userId="d1019b0b-29f6-4a1d-ad02-0d91a36ee451" providerId="ADAL" clId="{4F250547-3E32-4C59-A9FB-E006B25467D5}" dt="2022-11-20T16:36:33.460" v="1676" actId="255"/>
          <ac:spMkLst>
            <pc:docMk/>
            <pc:sldMk cId="3735846079" sldId="374"/>
            <ac:spMk id="4" creationId="{0FB084CA-5DFD-82E8-498D-9E28E23F72B8}"/>
          </ac:spMkLst>
        </pc:spChg>
        <pc:spChg chg="mod">
          <ac:chgData name="Antony Britto" userId="d1019b0b-29f6-4a1d-ad02-0d91a36ee451" providerId="ADAL" clId="{4F250547-3E32-4C59-A9FB-E006B25467D5}" dt="2022-11-17T19:08:30.806" v="557" actId="20577"/>
          <ac:spMkLst>
            <pc:docMk/>
            <pc:sldMk cId="3735846079" sldId="374"/>
            <ac:spMk id="48" creationId="{45CA0CA3-79F2-C83F-53BE-17D42C48E1BA}"/>
          </ac:spMkLst>
        </pc:spChg>
        <pc:spChg chg="mod">
          <ac:chgData name="Antony Britto" userId="d1019b0b-29f6-4a1d-ad02-0d91a36ee451" providerId="ADAL" clId="{4F250547-3E32-4C59-A9FB-E006B25467D5}" dt="2022-11-24T05:52:41.985" v="4430" actId="1076"/>
          <ac:spMkLst>
            <pc:docMk/>
            <pc:sldMk cId="3735846079" sldId="374"/>
            <ac:spMk id="68" creationId="{E008829A-6E9E-559B-2C3D-D25693B4D2D3}"/>
          </ac:spMkLst>
        </pc:spChg>
        <pc:spChg chg="mod">
          <ac:chgData name="Antony Britto" userId="d1019b0b-29f6-4a1d-ad02-0d91a36ee451" providerId="ADAL" clId="{4F250547-3E32-4C59-A9FB-E006B25467D5}" dt="2022-11-24T05:52:12.571" v="4426" actId="1076"/>
          <ac:spMkLst>
            <pc:docMk/>
            <pc:sldMk cId="3735846079" sldId="374"/>
            <ac:spMk id="69" creationId="{09D919D5-6E61-F138-2F22-4D27BCF770F3}"/>
          </ac:spMkLst>
        </pc:spChg>
        <pc:spChg chg="mod">
          <ac:chgData name="Antony Britto" userId="d1019b0b-29f6-4a1d-ad02-0d91a36ee451" providerId="ADAL" clId="{4F250547-3E32-4C59-A9FB-E006B25467D5}" dt="2022-11-24T05:52:35.589" v="4429" actId="1076"/>
          <ac:spMkLst>
            <pc:docMk/>
            <pc:sldMk cId="3735846079" sldId="374"/>
            <ac:spMk id="70" creationId="{9105FF0F-CF4F-86B8-4A8D-A534B2CF84CD}"/>
          </ac:spMkLst>
        </pc:spChg>
        <pc:spChg chg="mod">
          <ac:chgData name="Antony Britto" userId="d1019b0b-29f6-4a1d-ad02-0d91a36ee451" providerId="ADAL" clId="{4F250547-3E32-4C59-A9FB-E006B25467D5}" dt="2022-11-24T05:52:28.130" v="4428" actId="1076"/>
          <ac:spMkLst>
            <pc:docMk/>
            <pc:sldMk cId="3735846079" sldId="374"/>
            <ac:spMk id="71" creationId="{0EA4E08E-7EA4-BD83-305C-A5B9FA5ADBC6}"/>
          </ac:spMkLst>
        </pc:spChg>
        <pc:spChg chg="mod">
          <ac:chgData name="Antony Britto" userId="d1019b0b-29f6-4a1d-ad02-0d91a36ee451" providerId="ADAL" clId="{4F250547-3E32-4C59-A9FB-E006B25467D5}" dt="2022-11-24T05:49:48.114" v="4402" actId="14100"/>
          <ac:spMkLst>
            <pc:docMk/>
            <pc:sldMk cId="3735846079" sldId="374"/>
            <ac:spMk id="81" creationId="{2D96DA5E-EC64-6B61-F652-8F4FE731423B}"/>
          </ac:spMkLst>
        </pc:spChg>
        <pc:spChg chg="mod">
          <ac:chgData name="Antony Britto" userId="d1019b0b-29f6-4a1d-ad02-0d91a36ee451" providerId="ADAL" clId="{4F250547-3E32-4C59-A9FB-E006B25467D5}" dt="2022-11-24T05:49:54.180" v="4403" actId="14100"/>
          <ac:spMkLst>
            <pc:docMk/>
            <pc:sldMk cId="3735846079" sldId="374"/>
            <ac:spMk id="87" creationId="{9DB41C66-62C3-64FA-CACE-3428DA38F6E2}"/>
          </ac:spMkLst>
        </pc:spChg>
        <pc:grpChg chg="mod">
          <ac:chgData name="Antony Britto" userId="d1019b0b-29f6-4a1d-ad02-0d91a36ee451" providerId="ADAL" clId="{4F250547-3E32-4C59-A9FB-E006B25467D5}" dt="2022-11-17T19:08:07.454" v="549" actId="14100"/>
          <ac:grpSpMkLst>
            <pc:docMk/>
            <pc:sldMk cId="3735846079" sldId="374"/>
            <ac:grpSpMk id="2159" creationId="{299781C7-1F31-9A46-3365-D58D1CD52529}"/>
          </ac:grpSpMkLst>
        </pc:grpChg>
        <pc:graphicFrameChg chg="mod">
          <ac:chgData name="Antony Britto" userId="d1019b0b-29f6-4a1d-ad02-0d91a36ee451" providerId="ADAL" clId="{4F250547-3E32-4C59-A9FB-E006B25467D5}" dt="2022-11-24T05:52:04.174" v="4425"/>
          <ac:graphicFrameMkLst>
            <pc:docMk/>
            <pc:sldMk cId="3735846079" sldId="374"/>
            <ac:graphicFrameMk id="98" creationId="{12ED620C-6895-C457-ED8B-8233A8B7AD35}"/>
          </ac:graphicFrameMkLst>
        </pc:graphicFrameChg>
      </pc:sldChg>
      <pc:sldChg chg="modSp mod">
        <pc:chgData name="Antony Britto" userId="d1019b0b-29f6-4a1d-ad02-0d91a36ee451" providerId="ADAL" clId="{4F250547-3E32-4C59-A9FB-E006B25467D5}" dt="2022-11-14T22:19:39.588" v="8" actId="20577"/>
        <pc:sldMkLst>
          <pc:docMk/>
          <pc:sldMk cId="2618135929" sldId="375"/>
        </pc:sldMkLst>
        <pc:spChg chg="mod">
          <ac:chgData name="Antony Britto" userId="d1019b0b-29f6-4a1d-ad02-0d91a36ee451" providerId="ADAL" clId="{4F250547-3E32-4C59-A9FB-E006B25467D5}" dt="2022-11-14T22:19:39.588" v="8" actId="20577"/>
          <ac:spMkLst>
            <pc:docMk/>
            <pc:sldMk cId="2618135929" sldId="375"/>
            <ac:spMk id="2" creationId="{B07FFD0D-A31C-623E-E3DA-11A223839E3F}"/>
          </ac:spMkLst>
        </pc:spChg>
      </pc:sldChg>
      <pc:sldChg chg="modSp mod">
        <pc:chgData name="Antony Britto" userId="d1019b0b-29f6-4a1d-ad02-0d91a36ee451" providerId="ADAL" clId="{4F250547-3E32-4C59-A9FB-E006B25467D5}" dt="2022-11-14T22:19:51.724" v="11" actId="20577"/>
        <pc:sldMkLst>
          <pc:docMk/>
          <pc:sldMk cId="77039229" sldId="376"/>
        </pc:sldMkLst>
        <pc:spChg chg="mod">
          <ac:chgData name="Antony Britto" userId="d1019b0b-29f6-4a1d-ad02-0d91a36ee451" providerId="ADAL" clId="{4F250547-3E32-4C59-A9FB-E006B25467D5}" dt="2022-11-14T22:19:51.724" v="11" actId="20577"/>
          <ac:spMkLst>
            <pc:docMk/>
            <pc:sldMk cId="77039229" sldId="376"/>
            <ac:spMk id="2" creationId="{B07FFD0D-A31C-623E-E3DA-11A223839E3F}"/>
          </ac:spMkLst>
        </pc:spChg>
      </pc:sldChg>
      <pc:sldChg chg="modSp mod">
        <pc:chgData name="Antony Britto" userId="d1019b0b-29f6-4a1d-ad02-0d91a36ee451" providerId="ADAL" clId="{4F250547-3E32-4C59-A9FB-E006B25467D5}" dt="2022-11-14T22:20:47.169" v="17" actId="20577"/>
        <pc:sldMkLst>
          <pc:docMk/>
          <pc:sldMk cId="3724066872" sldId="377"/>
        </pc:sldMkLst>
        <pc:spChg chg="mod">
          <ac:chgData name="Antony Britto" userId="d1019b0b-29f6-4a1d-ad02-0d91a36ee451" providerId="ADAL" clId="{4F250547-3E32-4C59-A9FB-E006B25467D5}" dt="2022-11-14T22:20:47.169" v="17" actId="20577"/>
          <ac:spMkLst>
            <pc:docMk/>
            <pc:sldMk cId="3724066872" sldId="377"/>
            <ac:spMk id="2" creationId="{B07FFD0D-A31C-623E-E3DA-11A223839E3F}"/>
          </ac:spMkLst>
        </pc:spChg>
      </pc:sldChg>
      <pc:sldChg chg="modSp mod">
        <pc:chgData name="Antony Britto" userId="d1019b0b-29f6-4a1d-ad02-0d91a36ee451" providerId="ADAL" clId="{4F250547-3E32-4C59-A9FB-E006B25467D5}" dt="2022-11-20T16:36:04.810" v="1674" actId="2711"/>
        <pc:sldMkLst>
          <pc:docMk/>
          <pc:sldMk cId="1762539013" sldId="382"/>
        </pc:sldMkLst>
        <pc:spChg chg="mod">
          <ac:chgData name="Antony Britto" userId="d1019b0b-29f6-4a1d-ad02-0d91a36ee451" providerId="ADAL" clId="{4F250547-3E32-4C59-A9FB-E006B25467D5}" dt="2022-11-20T16:36:04.810" v="1674" actId="2711"/>
          <ac:spMkLst>
            <pc:docMk/>
            <pc:sldMk cId="1762539013" sldId="382"/>
            <ac:spMk id="10" creationId="{AAEE8545-38C3-143A-F749-6BD8A30176BD}"/>
          </ac:spMkLst>
        </pc:spChg>
      </pc:sldChg>
      <pc:sldChg chg="modSp mod">
        <pc:chgData name="Antony Britto" userId="d1019b0b-29f6-4a1d-ad02-0d91a36ee451" providerId="ADAL" clId="{4F250547-3E32-4C59-A9FB-E006B25467D5}" dt="2022-11-20T16:45:55.747" v="1799" actId="255"/>
        <pc:sldMkLst>
          <pc:docMk/>
          <pc:sldMk cId="4027274365" sldId="383"/>
        </pc:sldMkLst>
        <pc:spChg chg="mod">
          <ac:chgData name="Antony Britto" userId="d1019b0b-29f6-4a1d-ad02-0d91a36ee451" providerId="ADAL" clId="{4F250547-3E32-4C59-A9FB-E006B25467D5}" dt="2022-11-20T16:45:55.747" v="1799" actId="255"/>
          <ac:spMkLst>
            <pc:docMk/>
            <pc:sldMk cId="4027274365" sldId="383"/>
            <ac:spMk id="10" creationId="{31035837-2FFC-C950-6F0C-E5BDE56638E9}"/>
          </ac:spMkLst>
        </pc:spChg>
      </pc:sldChg>
      <pc:sldChg chg="addSp delSp modSp add mod">
        <pc:chgData name="Antony Britto" userId="d1019b0b-29f6-4a1d-ad02-0d91a36ee451" providerId="ADAL" clId="{4F250547-3E32-4C59-A9FB-E006B25467D5}" dt="2022-11-24T22:27:17.942" v="5187" actId="20577"/>
        <pc:sldMkLst>
          <pc:docMk/>
          <pc:sldMk cId="1024977953" sldId="384"/>
        </pc:sldMkLst>
        <pc:spChg chg="del">
          <ac:chgData name="Antony Britto" userId="d1019b0b-29f6-4a1d-ad02-0d91a36ee451" providerId="ADAL" clId="{4F250547-3E32-4C59-A9FB-E006B25467D5}" dt="2022-11-17T19:22:06.918" v="572" actId="21"/>
          <ac:spMkLst>
            <pc:docMk/>
            <pc:sldMk cId="1024977953" sldId="384"/>
            <ac:spMk id="7" creationId="{0D46092F-261C-82DE-BB48-90C5AC557816}"/>
          </ac:spMkLst>
        </pc:spChg>
        <pc:spChg chg="add del mod">
          <ac:chgData name="Antony Britto" userId="d1019b0b-29f6-4a1d-ad02-0d91a36ee451" providerId="ADAL" clId="{4F250547-3E32-4C59-A9FB-E006B25467D5}" dt="2022-11-24T04:58:34.375" v="4206" actId="21"/>
          <ac:spMkLst>
            <pc:docMk/>
            <pc:sldMk cId="1024977953" sldId="384"/>
            <ac:spMk id="7" creationId="{78976031-C76C-B285-330A-FCAAA56FEF99}"/>
          </ac:spMkLst>
        </pc:spChg>
        <pc:spChg chg="mod topLvl">
          <ac:chgData name="Antony Britto" userId="d1019b0b-29f6-4a1d-ad02-0d91a36ee451" providerId="ADAL" clId="{4F250547-3E32-4C59-A9FB-E006B25467D5}" dt="2022-11-23T18:07:17.110" v="2283" actId="1076"/>
          <ac:spMkLst>
            <pc:docMk/>
            <pc:sldMk cId="1024977953" sldId="384"/>
            <ac:spMk id="8" creationId="{147EAC99-06FF-7F7B-D045-651690A0539A}"/>
          </ac:spMkLst>
        </pc:spChg>
        <pc:spChg chg="del">
          <ac:chgData name="Antony Britto" userId="d1019b0b-29f6-4a1d-ad02-0d91a36ee451" providerId="ADAL" clId="{4F250547-3E32-4C59-A9FB-E006B25467D5}" dt="2022-11-17T19:22:26.820" v="576" actId="21"/>
          <ac:spMkLst>
            <pc:docMk/>
            <pc:sldMk cId="1024977953" sldId="384"/>
            <ac:spMk id="8" creationId="{33BFFE52-8B5C-F2EE-34FF-3E0959547816}"/>
          </ac:spMkLst>
        </pc:spChg>
        <pc:spChg chg="mod topLvl">
          <ac:chgData name="Antony Britto" userId="d1019b0b-29f6-4a1d-ad02-0d91a36ee451" providerId="ADAL" clId="{4F250547-3E32-4C59-A9FB-E006B25467D5}" dt="2022-11-23T18:07:17.110" v="2283" actId="1076"/>
          <ac:spMkLst>
            <pc:docMk/>
            <pc:sldMk cId="1024977953" sldId="384"/>
            <ac:spMk id="9" creationId="{444F3A71-5940-F751-CC54-0A8835499D6A}"/>
          </ac:spMkLst>
        </pc:spChg>
        <pc:spChg chg="del">
          <ac:chgData name="Antony Britto" userId="d1019b0b-29f6-4a1d-ad02-0d91a36ee451" providerId="ADAL" clId="{4F250547-3E32-4C59-A9FB-E006B25467D5}" dt="2022-11-17T19:22:00.758" v="570" actId="21"/>
          <ac:spMkLst>
            <pc:docMk/>
            <pc:sldMk cId="1024977953" sldId="384"/>
            <ac:spMk id="9" creationId="{4A629F21-EB27-DA31-BD8F-B2AA58E24917}"/>
          </ac:spMkLst>
        </pc:spChg>
        <pc:spChg chg="add mod ord topLvl">
          <ac:chgData name="Antony Britto" userId="d1019b0b-29f6-4a1d-ad02-0d91a36ee451" providerId="ADAL" clId="{4F250547-3E32-4C59-A9FB-E006B25467D5}" dt="2022-11-24T20:59:28.065" v="4830" actId="164"/>
          <ac:spMkLst>
            <pc:docMk/>
            <pc:sldMk cId="1024977953" sldId="384"/>
            <ac:spMk id="10" creationId="{48276BC7-5063-8C09-3C45-D89ABCA94F1B}"/>
          </ac:spMkLst>
        </pc:spChg>
        <pc:spChg chg="mod topLvl">
          <ac:chgData name="Antony Britto" userId="d1019b0b-29f6-4a1d-ad02-0d91a36ee451" providerId="ADAL" clId="{4F250547-3E32-4C59-A9FB-E006B25467D5}" dt="2022-11-23T18:07:17.110" v="2283" actId="1076"/>
          <ac:spMkLst>
            <pc:docMk/>
            <pc:sldMk cId="1024977953" sldId="384"/>
            <ac:spMk id="10" creationId="{90762740-D619-2B2E-2412-2CF8D7A7ED54}"/>
          </ac:spMkLst>
        </pc:spChg>
        <pc:spChg chg="del">
          <ac:chgData name="Antony Britto" userId="d1019b0b-29f6-4a1d-ad02-0d91a36ee451" providerId="ADAL" clId="{4F250547-3E32-4C59-A9FB-E006B25467D5}" dt="2022-11-17T19:22:21.138" v="574" actId="21"/>
          <ac:spMkLst>
            <pc:docMk/>
            <pc:sldMk cId="1024977953" sldId="384"/>
            <ac:spMk id="10" creationId="{96C9B39E-B6F0-A628-8016-27F08C476907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11" creationId="{6CAF6D89-351F-B467-BF0E-7EEEE63702ED}"/>
          </ac:spMkLst>
        </pc:spChg>
        <pc:spChg chg="add del mod">
          <ac:chgData name="Antony Britto" userId="d1019b0b-29f6-4a1d-ad02-0d91a36ee451" providerId="ADAL" clId="{4F250547-3E32-4C59-A9FB-E006B25467D5}" dt="2022-11-24T04:58:47.272" v="4210" actId="21"/>
          <ac:spMkLst>
            <pc:docMk/>
            <pc:sldMk cId="1024977953" sldId="384"/>
            <ac:spMk id="11" creationId="{C31DE74C-7DB4-E899-811A-A760F6BDD154}"/>
          </ac:spMkLst>
        </pc:spChg>
        <pc:spChg chg="add del mod">
          <ac:chgData name="Antony Britto" userId="d1019b0b-29f6-4a1d-ad02-0d91a36ee451" providerId="ADAL" clId="{4F250547-3E32-4C59-A9FB-E006B25467D5}" dt="2022-11-24T00:55:41.608" v="2801" actId="21"/>
          <ac:spMkLst>
            <pc:docMk/>
            <pc:sldMk cId="1024977953" sldId="384"/>
            <ac:spMk id="12" creationId="{3FD3EDC2-EEA9-3EA8-1C67-5CA194D15AC5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12" creationId="{DBDA0B70-276B-ED42-D296-F9DFA2503A40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13" creationId="{6B1F1038-7DDB-13C3-9E87-9617DCDB3417}"/>
          </ac:spMkLst>
        </pc:spChg>
        <pc:spChg chg="add mod">
          <ac:chgData name="Antony Britto" userId="d1019b0b-29f6-4a1d-ad02-0d91a36ee451" providerId="ADAL" clId="{4F250547-3E32-4C59-A9FB-E006B25467D5}" dt="2022-11-24T22:27:17.942" v="5187" actId="20577"/>
          <ac:spMkLst>
            <pc:docMk/>
            <pc:sldMk cId="1024977953" sldId="384"/>
            <ac:spMk id="13" creationId="{911DC44D-23D0-88EF-735A-B59187964850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14" creationId="{97CF11B0-7D52-E607-D1D2-C5F08C74EBF5}"/>
          </ac:spMkLst>
        </pc:spChg>
        <pc:spChg chg="mod topLvl">
          <ac:chgData name="Antony Britto" userId="d1019b0b-29f6-4a1d-ad02-0d91a36ee451" providerId="ADAL" clId="{4F250547-3E32-4C59-A9FB-E006B25467D5}" dt="2022-11-23T18:07:17.110" v="2283" actId="1076"/>
          <ac:spMkLst>
            <pc:docMk/>
            <pc:sldMk cId="1024977953" sldId="384"/>
            <ac:spMk id="15" creationId="{142A50B8-79D0-DB6B-E81F-C6B8BC18DA11}"/>
          </ac:spMkLst>
        </pc:spChg>
        <pc:spChg chg="add del mod topLvl">
          <ac:chgData name="Antony Britto" userId="d1019b0b-29f6-4a1d-ad02-0d91a36ee451" providerId="ADAL" clId="{4F250547-3E32-4C59-A9FB-E006B25467D5}" dt="2022-11-24T20:58:00.742" v="4825" actId="21"/>
          <ac:spMkLst>
            <pc:docMk/>
            <pc:sldMk cId="1024977953" sldId="384"/>
            <ac:spMk id="15" creationId="{C07847E3-2959-5EE7-4B28-BAE126384A6C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15" creationId="{FB38A7D5-EFA4-4B18-846F-C30F7492B0DF}"/>
          </ac:spMkLst>
        </pc:spChg>
        <pc:spChg chg="mod topLvl">
          <ac:chgData name="Antony Britto" userId="d1019b0b-29f6-4a1d-ad02-0d91a36ee451" providerId="ADAL" clId="{4F250547-3E32-4C59-A9FB-E006B25467D5}" dt="2022-11-23T18:07:17.110" v="2283" actId="1076"/>
          <ac:spMkLst>
            <pc:docMk/>
            <pc:sldMk cId="1024977953" sldId="384"/>
            <ac:spMk id="16" creationId="{434F0C4D-234A-44FB-7BD5-4F27F5D054E0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16" creationId="{476CEE4A-23C8-8952-D41D-D5D17B0B7790}"/>
          </ac:spMkLst>
        </pc:spChg>
        <pc:spChg chg="mod">
          <ac:chgData name="Antony Britto" userId="d1019b0b-29f6-4a1d-ad02-0d91a36ee451" providerId="ADAL" clId="{4F250547-3E32-4C59-A9FB-E006B25467D5}" dt="2022-11-17T19:40:31.085" v="713" actId="20577"/>
          <ac:spMkLst>
            <pc:docMk/>
            <pc:sldMk cId="1024977953" sldId="384"/>
            <ac:spMk id="17" creationId="{631624C4-0C6C-628C-34B9-9884F7AEC742}"/>
          </ac:spMkLst>
        </pc:spChg>
        <pc:spChg chg="mod">
          <ac:chgData name="Antony Britto" userId="d1019b0b-29f6-4a1d-ad02-0d91a36ee451" providerId="ADAL" clId="{4F250547-3E32-4C59-A9FB-E006B25467D5}" dt="2022-11-23T18:07:17.110" v="2283" actId="1076"/>
          <ac:spMkLst>
            <pc:docMk/>
            <pc:sldMk cId="1024977953" sldId="384"/>
            <ac:spMk id="18" creationId="{70F8AB03-6CB9-5596-3338-095F4F424FF8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21" creationId="{02A52CD0-20C0-2614-6FC8-860CE810969A}"/>
          </ac:spMkLst>
        </pc:spChg>
        <pc:spChg chg="del">
          <ac:chgData name="Antony Britto" userId="d1019b0b-29f6-4a1d-ad02-0d91a36ee451" providerId="ADAL" clId="{4F250547-3E32-4C59-A9FB-E006B25467D5}" dt="2022-11-24T22:11:33.874" v="5144" actId="21"/>
          <ac:spMkLst>
            <pc:docMk/>
            <pc:sldMk cId="1024977953" sldId="384"/>
            <ac:spMk id="22" creationId="{1767D460-74C1-5B80-D892-D592A48217DE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22" creationId="{1EF6FF72-9086-CC9B-1BD5-8C90D43D5273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23" creationId="{3E17BE7A-950E-CCB4-58CF-F5FA9A50DBBD}"/>
          </ac:spMkLst>
        </pc:spChg>
        <pc:spChg chg="del">
          <ac:chgData name="Antony Britto" userId="d1019b0b-29f6-4a1d-ad02-0d91a36ee451" providerId="ADAL" clId="{4F250547-3E32-4C59-A9FB-E006B25467D5}" dt="2022-11-24T22:11:30.210" v="5143" actId="21"/>
          <ac:spMkLst>
            <pc:docMk/>
            <pc:sldMk cId="1024977953" sldId="384"/>
            <ac:spMk id="23" creationId="{B9A991BD-E3D1-73D2-CB2F-C2E5C6284AD6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24" creationId="{9722BF3B-33BF-CA13-2D72-9D7BE43A0B7D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25" creationId="{67689547-6DE0-0343-9EF4-BE7B8ECC24CA}"/>
          </ac:spMkLst>
        </pc:spChg>
        <pc:spChg chg="del">
          <ac:chgData name="Antony Britto" userId="d1019b0b-29f6-4a1d-ad02-0d91a36ee451" providerId="ADAL" clId="{4F250547-3E32-4C59-A9FB-E006B25467D5}" dt="2022-11-17T19:22:03.620" v="571" actId="21"/>
          <ac:spMkLst>
            <pc:docMk/>
            <pc:sldMk cId="1024977953" sldId="384"/>
            <ac:spMk id="26" creationId="{4D75400F-00A2-247C-0757-CC30AEB2575B}"/>
          </ac:spMkLst>
        </pc:spChg>
        <pc:spChg chg="del">
          <ac:chgData name="Antony Britto" userId="d1019b0b-29f6-4a1d-ad02-0d91a36ee451" providerId="ADAL" clId="{4F250547-3E32-4C59-A9FB-E006B25467D5}" dt="2022-11-17T19:22:38.569" v="579" actId="21"/>
          <ac:spMkLst>
            <pc:docMk/>
            <pc:sldMk cId="1024977953" sldId="384"/>
            <ac:spMk id="27" creationId="{BCF034FF-5191-64E7-E454-D368101B8736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28" creationId="{61AEEE6D-2CAA-EC85-ECEA-536CAC79D17F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29" creationId="{8B27CF69-4126-7FC1-E4BE-A85DF69F03D5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30" creationId="{97CDD3D3-061E-82DF-CA07-1BCE0D411449}"/>
          </ac:spMkLst>
        </pc:spChg>
        <pc:spChg chg="del">
          <ac:chgData name="Antony Britto" userId="d1019b0b-29f6-4a1d-ad02-0d91a36ee451" providerId="ADAL" clId="{4F250547-3E32-4C59-A9FB-E006B25467D5}" dt="2022-11-17T19:22:17.983" v="573" actId="21"/>
          <ac:spMkLst>
            <pc:docMk/>
            <pc:sldMk cId="1024977953" sldId="384"/>
            <ac:spMk id="31" creationId="{64C18FAF-969B-E746-AC24-3E7D47B7FCE9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91" creationId="{2488374E-1A7F-6CB7-2306-E180F3E2B984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92" creationId="{92413BEF-81F9-6798-C703-840CEB8F3E4A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93" creationId="{E653F816-EA88-1C4E-B74F-058BEA9E2F26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94" creationId="{7F96FD82-83CF-9E22-0D70-30F35672B873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95" creationId="{59917969-F0A1-476D-E236-5BE0D29869AB}"/>
          </ac:spMkLst>
        </pc:spChg>
        <pc:spChg chg="del">
          <ac:chgData name="Antony Britto" userId="d1019b0b-29f6-4a1d-ad02-0d91a36ee451" providerId="ADAL" clId="{4F250547-3E32-4C59-A9FB-E006B25467D5}" dt="2022-11-23T23:31:06.397" v="2794" actId="21"/>
          <ac:spMkLst>
            <pc:docMk/>
            <pc:sldMk cId="1024977953" sldId="384"/>
            <ac:spMk id="96" creationId="{7727C674-B1E7-0476-EA43-E187048C5C89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135" creationId="{28C08581-463A-7CFB-A735-BEF12C74D770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136" creationId="{A2A9D9C2-AFA5-CE18-5E15-A2EFAE51B007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137" creationId="{795A536F-1AAF-E534-F3D8-86EE7FFAF7D8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138" creationId="{957E9661-3509-0936-AA4C-52D1F7ECA60A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139" creationId="{38AD364F-4E04-C80E-C14C-9E432FCCD468}"/>
          </ac:spMkLst>
        </pc:spChg>
        <pc:spChg chg="del">
          <ac:chgData name="Antony Britto" userId="d1019b0b-29f6-4a1d-ad02-0d91a36ee451" providerId="ADAL" clId="{4F250547-3E32-4C59-A9FB-E006B25467D5}" dt="2022-11-23T23:31:40.288" v="2795" actId="21"/>
          <ac:spMkLst>
            <pc:docMk/>
            <pc:sldMk cId="1024977953" sldId="384"/>
            <ac:spMk id="140" creationId="{9116A221-2209-9521-974A-856C36EB0B07}"/>
          </ac:spMkLst>
        </pc:spChg>
        <pc:spChg chg="del mod">
          <ac:chgData name="Antony Britto" userId="d1019b0b-29f6-4a1d-ad02-0d91a36ee451" providerId="ADAL" clId="{4F250547-3E32-4C59-A9FB-E006B25467D5}" dt="2022-11-23T18:09:35.607" v="2317" actId="21"/>
          <ac:spMkLst>
            <pc:docMk/>
            <pc:sldMk cId="1024977953" sldId="384"/>
            <ac:spMk id="191" creationId="{F424A6DD-59C7-2A25-419A-6A2B086AB2B8}"/>
          </ac:spMkLst>
        </pc:spChg>
        <pc:spChg chg="del">
          <ac:chgData name="Antony Britto" userId="d1019b0b-29f6-4a1d-ad02-0d91a36ee451" providerId="ADAL" clId="{4F250547-3E32-4C59-A9FB-E006B25467D5}" dt="2022-11-23T18:25:56.054" v="2395" actId="21"/>
          <ac:spMkLst>
            <pc:docMk/>
            <pc:sldMk cId="1024977953" sldId="384"/>
            <ac:spMk id="192" creationId="{EA776EC6-D39D-2188-D84A-E0757F86B55F}"/>
          </ac:spMkLst>
        </pc:spChg>
        <pc:spChg chg="del">
          <ac:chgData name="Antony Britto" userId="d1019b0b-29f6-4a1d-ad02-0d91a36ee451" providerId="ADAL" clId="{4F250547-3E32-4C59-A9FB-E006B25467D5}" dt="2022-11-23T18:25:53.338" v="2394" actId="21"/>
          <ac:spMkLst>
            <pc:docMk/>
            <pc:sldMk cId="1024977953" sldId="384"/>
            <ac:spMk id="193" creationId="{8F56C84C-431C-CFF9-60EA-07F4B64D9DE7}"/>
          </ac:spMkLst>
        </pc:spChg>
        <pc:grpChg chg="add del mod">
          <ac:chgData name="Antony Britto" userId="d1019b0b-29f6-4a1d-ad02-0d91a36ee451" providerId="ADAL" clId="{4F250547-3E32-4C59-A9FB-E006B25467D5}" dt="2022-11-23T18:06:37.597" v="2280" actId="165"/>
          <ac:grpSpMkLst>
            <pc:docMk/>
            <pc:sldMk cId="1024977953" sldId="384"/>
            <ac:grpSpMk id="3" creationId="{648C9400-114C-CC54-D27D-D21485F7D1A8}"/>
          </ac:grpSpMkLst>
        </pc:grpChg>
        <pc:grpChg chg="add mod">
          <ac:chgData name="Antony Britto" userId="d1019b0b-29f6-4a1d-ad02-0d91a36ee451" providerId="ADAL" clId="{4F250547-3E32-4C59-A9FB-E006B25467D5}" dt="2022-11-23T18:07:17.110" v="2283" actId="1076"/>
          <ac:grpSpMkLst>
            <pc:docMk/>
            <pc:sldMk cId="1024977953" sldId="384"/>
            <ac:grpSpMk id="4" creationId="{5502B5AF-C3F0-30A2-8874-08D1EF355B71}"/>
          </ac:grpSpMkLst>
        </pc:grpChg>
        <pc:grpChg chg="add del mod">
          <ac:chgData name="Antony Britto" userId="d1019b0b-29f6-4a1d-ad02-0d91a36ee451" providerId="ADAL" clId="{4F250547-3E32-4C59-A9FB-E006B25467D5}" dt="2022-11-24T20:57:48.230" v="4823" actId="165"/>
          <ac:grpSpMkLst>
            <pc:docMk/>
            <pc:sldMk cId="1024977953" sldId="384"/>
            <ac:grpSpMk id="4" creationId="{827C01A4-2AF8-F6F5-77EE-AB646C5A180B}"/>
          </ac:grpSpMkLst>
        </pc:grpChg>
        <pc:grpChg chg="add mod">
          <ac:chgData name="Antony Britto" userId="d1019b0b-29f6-4a1d-ad02-0d91a36ee451" providerId="ADAL" clId="{4F250547-3E32-4C59-A9FB-E006B25467D5}" dt="2022-11-24T22:11:37.563" v="5145" actId="1076"/>
          <ac:grpSpMkLst>
            <pc:docMk/>
            <pc:sldMk cId="1024977953" sldId="384"/>
            <ac:grpSpMk id="7" creationId="{AD03A182-C9F1-F9D8-F10C-DBD59B9CDF8F}"/>
          </ac:grpSpMkLst>
        </pc:grpChg>
        <pc:graphicFrameChg chg="add del mod">
          <ac:chgData name="Antony Britto" userId="d1019b0b-29f6-4a1d-ad02-0d91a36ee451" providerId="ADAL" clId="{4F250547-3E32-4C59-A9FB-E006B25467D5}" dt="2022-11-24T01:20:21.198" v="2857"/>
          <ac:graphicFrameMkLst>
            <pc:docMk/>
            <pc:sldMk cId="1024977953" sldId="384"/>
            <ac:graphicFrameMk id="3" creationId="{17B54363-E697-D57A-740D-ADD929EAF677}"/>
          </ac:graphicFrameMkLst>
        </pc:graphicFrameChg>
        <pc:graphicFrameChg chg="add del mod">
          <ac:chgData name="Antony Britto" userId="d1019b0b-29f6-4a1d-ad02-0d91a36ee451" providerId="ADAL" clId="{4F250547-3E32-4C59-A9FB-E006B25467D5}" dt="2022-11-24T01:21:00.511" v="2861" actId="21"/>
          <ac:graphicFrameMkLst>
            <pc:docMk/>
            <pc:sldMk cId="1024977953" sldId="384"/>
            <ac:graphicFrameMk id="4" creationId="{616C54AB-F10B-C550-4DFE-38AA3DA17565}"/>
          </ac:graphicFrameMkLst>
        </pc:graphicFrameChg>
        <pc:graphicFrameChg chg="add del mod modGraphic">
          <ac:chgData name="Antony Britto" userId="d1019b0b-29f6-4a1d-ad02-0d91a36ee451" providerId="ADAL" clId="{4F250547-3E32-4C59-A9FB-E006B25467D5}" dt="2022-11-24T04:58:30.786" v="4205" actId="21"/>
          <ac:graphicFrameMkLst>
            <pc:docMk/>
            <pc:sldMk cId="1024977953" sldId="384"/>
            <ac:graphicFrameMk id="8" creationId="{C2AF3912-124F-4BCE-4E77-B5F1548990E9}"/>
          </ac:graphicFrameMkLst>
        </pc:graphicFrameChg>
        <pc:graphicFrameChg chg="add mod">
          <ac:chgData name="Antony Britto" userId="d1019b0b-29f6-4a1d-ad02-0d91a36ee451" providerId="ADAL" clId="{4F250547-3E32-4C59-A9FB-E006B25467D5}" dt="2022-11-24T22:26:55.774" v="5180" actId="1076"/>
          <ac:graphicFrameMkLst>
            <pc:docMk/>
            <pc:sldMk cId="1024977953" sldId="384"/>
            <ac:graphicFrameMk id="9" creationId="{21F7432A-F56F-B337-F4C4-88633C2D2ECF}"/>
          </ac:graphicFrameMkLst>
        </pc:graphicFrameChg>
        <pc:graphicFrameChg chg="add del mod">
          <ac:chgData name="Antony Britto" userId="d1019b0b-29f6-4a1d-ad02-0d91a36ee451" providerId="ADAL" clId="{4F250547-3E32-4C59-A9FB-E006B25467D5}" dt="2022-11-23T22:09:55.180" v="2767" actId="21"/>
          <ac:graphicFrameMkLst>
            <pc:docMk/>
            <pc:sldMk cId="1024977953" sldId="384"/>
            <ac:graphicFrameMk id="13" creationId="{0474A646-5924-77B3-D31D-0DBE716D4C56}"/>
          </ac:graphicFrameMkLst>
        </pc:graphicFrameChg>
        <pc:graphicFrameChg chg="add del mod">
          <ac:chgData name="Antony Britto" userId="d1019b0b-29f6-4a1d-ad02-0d91a36ee451" providerId="ADAL" clId="{4F250547-3E32-4C59-A9FB-E006B25467D5}" dt="2022-11-23T23:17:49.015" v="2777" actId="21"/>
          <ac:graphicFrameMkLst>
            <pc:docMk/>
            <pc:sldMk cId="1024977953" sldId="384"/>
            <ac:graphicFrameMk id="19" creationId="{6F74F7D0-8590-4CD9-9C0A-244158B037A4}"/>
          </ac:graphicFrameMkLst>
        </pc:graphicFrameChg>
        <pc:graphicFrameChg chg="add del modGraphic">
          <ac:chgData name="Antony Britto" userId="d1019b0b-29f6-4a1d-ad02-0d91a36ee451" providerId="ADAL" clId="{4F250547-3E32-4C59-A9FB-E006B25467D5}" dt="2022-11-17T19:37:40.455" v="663" actId="1032"/>
          <ac:graphicFrameMkLst>
            <pc:docMk/>
            <pc:sldMk cId="1024977953" sldId="384"/>
            <ac:graphicFrameMk id="37" creationId="{7C95AD0D-3A04-2F3E-2AB8-7466EED811FC}"/>
          </ac:graphicFrameMkLst>
        </pc:graphicFrameChg>
        <pc:graphicFrameChg chg="add del mod modGraphic">
          <ac:chgData name="Antony Britto" userId="d1019b0b-29f6-4a1d-ad02-0d91a36ee451" providerId="ADAL" clId="{4F250547-3E32-4C59-A9FB-E006B25467D5}" dt="2022-11-17T19:39:03.146" v="669" actId="1032"/>
          <ac:graphicFrameMkLst>
            <pc:docMk/>
            <pc:sldMk cId="1024977953" sldId="384"/>
            <ac:graphicFrameMk id="38" creationId="{0A2A5AA8-A687-7497-E476-9D6E0AAD1FBA}"/>
          </ac:graphicFrameMkLst>
        </pc:graphicFrameChg>
        <pc:graphicFrameChg chg="mod topLvl">
          <ac:chgData name="Antony Britto" userId="d1019b0b-29f6-4a1d-ad02-0d91a36ee451" providerId="ADAL" clId="{4F250547-3E32-4C59-A9FB-E006B25467D5}" dt="2022-11-23T18:07:17.110" v="2283" actId="1076"/>
          <ac:graphicFrameMkLst>
            <pc:docMk/>
            <pc:sldMk cId="1024977953" sldId="384"/>
            <ac:graphicFrameMk id="190" creationId="{1D5C1865-93DB-892F-8C85-4CAF5218A503}"/>
          </ac:graphicFrameMkLst>
        </pc:graphicFrameChg>
        <pc:picChg chg="add mod">
          <ac:chgData name="Antony Britto" userId="d1019b0b-29f6-4a1d-ad02-0d91a36ee451" providerId="ADAL" clId="{4F250547-3E32-4C59-A9FB-E006B25467D5}" dt="2022-11-24T21:21:29.908" v="5139" actId="1076"/>
          <ac:picMkLst>
            <pc:docMk/>
            <pc:sldMk cId="1024977953" sldId="384"/>
            <ac:picMk id="3" creationId="{86A2DC86-D9F5-26CF-C7AF-59F7A9B3B42B}"/>
          </ac:picMkLst>
        </pc:picChg>
        <pc:picChg chg="add del mod">
          <ac:chgData name="Antony Britto" userId="d1019b0b-29f6-4a1d-ad02-0d91a36ee451" providerId="ADAL" clId="{4F250547-3E32-4C59-A9FB-E006B25467D5}" dt="2022-11-20T17:45:33.534" v="2135" actId="21"/>
          <ac:picMkLst>
            <pc:docMk/>
            <pc:sldMk cId="1024977953" sldId="384"/>
            <ac:picMk id="4" creationId="{806BC20D-D7BB-F503-384D-44295E6505C3}"/>
          </ac:picMkLst>
        </pc:picChg>
        <pc:picChg chg="add del mod">
          <ac:chgData name="Antony Britto" userId="d1019b0b-29f6-4a1d-ad02-0d91a36ee451" providerId="ADAL" clId="{4F250547-3E32-4C59-A9FB-E006B25467D5}" dt="2022-11-20T17:40:44.321" v="2133" actId="21"/>
          <ac:picMkLst>
            <pc:docMk/>
            <pc:sldMk cId="1024977953" sldId="384"/>
            <ac:picMk id="19" creationId="{7428BBAF-202A-FD2B-21E5-3E8AE8E6EF72}"/>
          </ac:picMkLst>
        </pc:picChg>
        <pc:picChg chg="mod">
          <ac:chgData name="Antony Britto" userId="d1019b0b-29f6-4a1d-ad02-0d91a36ee451" providerId="ADAL" clId="{4F250547-3E32-4C59-A9FB-E006B25467D5}" dt="2022-11-24T22:27:01.070" v="5181" actId="1076"/>
          <ac:picMkLst>
            <pc:docMk/>
            <pc:sldMk cId="1024977953" sldId="384"/>
            <ac:picMk id="25" creationId="{8721EE94-BBF9-AD17-8656-C31B95BF522F}"/>
          </ac:picMkLst>
        </pc:picChg>
        <pc:picChg chg="add del mod">
          <ac:chgData name="Antony Britto" userId="d1019b0b-29f6-4a1d-ad02-0d91a36ee451" providerId="ADAL" clId="{4F250547-3E32-4C59-A9FB-E006B25467D5}" dt="2022-11-20T17:46:18.317" v="2136" actId="21"/>
          <ac:picMkLst>
            <pc:docMk/>
            <pc:sldMk cId="1024977953" sldId="384"/>
            <ac:picMk id="32" creationId="{BB98482E-2997-465D-8501-9CA49E10A6AB}"/>
          </ac:picMkLst>
        </pc:picChg>
        <pc:picChg chg="add del mod">
          <ac:chgData name="Antony Britto" userId="d1019b0b-29f6-4a1d-ad02-0d91a36ee451" providerId="ADAL" clId="{4F250547-3E32-4C59-A9FB-E006B25467D5}" dt="2022-11-20T17:45:25.243" v="2134" actId="21"/>
          <ac:picMkLst>
            <pc:docMk/>
            <pc:sldMk cId="1024977953" sldId="384"/>
            <ac:picMk id="34" creationId="{35E41DE1-42B7-18A8-8C61-AB2BD9FE510F}"/>
          </ac:picMkLst>
        </pc:picChg>
        <pc:picChg chg="add del mod">
          <ac:chgData name="Antony Britto" userId="d1019b0b-29f6-4a1d-ad02-0d91a36ee451" providerId="ADAL" clId="{4F250547-3E32-4C59-A9FB-E006B25467D5}" dt="2022-11-20T17:46:42.206" v="2137" actId="21"/>
          <ac:picMkLst>
            <pc:docMk/>
            <pc:sldMk cId="1024977953" sldId="384"/>
            <ac:picMk id="36" creationId="{718E0931-2862-E2B1-E49B-1E862CECFC1A}"/>
          </ac:picMkLst>
        </pc:picChg>
      </pc:sldChg>
      <pc:sldChg chg="new del">
        <pc:chgData name="Antony Britto" userId="d1019b0b-29f6-4a1d-ad02-0d91a36ee451" providerId="ADAL" clId="{4F250547-3E32-4C59-A9FB-E006B25467D5}" dt="2022-11-17T19:21:48.012" v="567" actId="680"/>
        <pc:sldMkLst>
          <pc:docMk/>
          <pc:sldMk cId="3802010542" sldId="384"/>
        </pc:sldMkLst>
      </pc:sldChg>
      <pc:sldChg chg="modSp mod">
        <pc:chgData name="Antony Britto" userId="d1019b0b-29f6-4a1d-ad02-0d91a36ee451" providerId="ADAL" clId="{4F250547-3E32-4C59-A9FB-E006B25467D5}" dt="2022-11-20T17:29:11.596" v="2040" actId="20577"/>
        <pc:sldMkLst>
          <pc:docMk/>
          <pc:sldMk cId="306393785" sldId="388"/>
        </pc:sldMkLst>
        <pc:spChg chg="mod">
          <ac:chgData name="Antony Britto" userId="d1019b0b-29f6-4a1d-ad02-0d91a36ee451" providerId="ADAL" clId="{4F250547-3E32-4C59-A9FB-E006B25467D5}" dt="2022-11-20T17:29:11.596" v="2040" actId="20577"/>
          <ac:spMkLst>
            <pc:docMk/>
            <pc:sldMk cId="306393785" sldId="388"/>
            <ac:spMk id="4" creationId="{419A56F2-33FC-B13B-F824-5320C14683F0}"/>
          </ac:spMkLst>
        </pc:spChg>
      </pc:sldChg>
      <pc:sldChg chg="modSp mod">
        <pc:chgData name="Antony Britto" userId="d1019b0b-29f6-4a1d-ad02-0d91a36ee451" providerId="ADAL" clId="{4F250547-3E32-4C59-A9FB-E006B25467D5}" dt="2022-11-25T06:12:45.091" v="5787" actId="20577"/>
        <pc:sldMkLst>
          <pc:docMk/>
          <pc:sldMk cId="4252749090" sldId="389"/>
        </pc:sldMkLst>
        <pc:spChg chg="mod">
          <ac:chgData name="Antony Britto" userId="d1019b0b-29f6-4a1d-ad02-0d91a36ee451" providerId="ADAL" clId="{4F250547-3E32-4C59-A9FB-E006B25467D5}" dt="2022-11-25T06:12:45.091" v="5787" actId="20577"/>
          <ac:spMkLst>
            <pc:docMk/>
            <pc:sldMk cId="4252749090" sldId="389"/>
            <ac:spMk id="5" creationId="{E92B169E-5FBF-2B86-33D6-3CD4FD95DA4A}"/>
          </ac:spMkLst>
        </pc:spChg>
        <pc:spChg chg="mod">
          <ac:chgData name="Antony Britto" userId="d1019b0b-29f6-4a1d-ad02-0d91a36ee451" providerId="ADAL" clId="{4F250547-3E32-4C59-A9FB-E006B25467D5}" dt="2022-11-24T03:17:34.308" v="4118" actId="20577"/>
          <ac:spMkLst>
            <pc:docMk/>
            <pc:sldMk cId="4252749090" sldId="389"/>
            <ac:spMk id="335" creationId="{950C7BE0-8B68-2FA6-1497-49433545EAD7}"/>
          </ac:spMkLst>
        </pc:spChg>
        <pc:graphicFrameChg chg="mod">
          <ac:chgData name="Antony Britto" userId="d1019b0b-29f6-4a1d-ad02-0d91a36ee451" providerId="ADAL" clId="{4F250547-3E32-4C59-A9FB-E006B25467D5}" dt="2022-11-24T03:18:02.298" v="4119"/>
          <ac:graphicFrameMkLst>
            <pc:docMk/>
            <pc:sldMk cId="4252749090" sldId="389"/>
            <ac:graphicFrameMk id="455" creationId="{D2C8D167-D2CC-1802-4372-B7950B95196F}"/>
          </ac:graphicFrameMkLst>
        </pc:graphicFrameChg>
        <pc:graphicFrameChg chg="mod">
          <ac:chgData name="Antony Britto" userId="d1019b0b-29f6-4a1d-ad02-0d91a36ee451" providerId="ADAL" clId="{4F250547-3E32-4C59-A9FB-E006B25467D5}" dt="2022-11-24T03:18:23.194" v="4123" actId="14100"/>
          <ac:graphicFrameMkLst>
            <pc:docMk/>
            <pc:sldMk cId="4252749090" sldId="389"/>
            <ac:graphicFrameMk id="459" creationId="{54853098-7D57-AD19-C18D-3E63B1C1EBE8}"/>
          </ac:graphicFrameMkLst>
        </pc:graphicFrameChg>
      </pc:sldChg>
      <pc:sldChg chg="modSp mod">
        <pc:chgData name="Antony Britto" userId="d1019b0b-29f6-4a1d-ad02-0d91a36ee451" providerId="ADAL" clId="{4F250547-3E32-4C59-A9FB-E006B25467D5}" dt="2022-11-24T03:00:15.283" v="4040" actId="1076"/>
        <pc:sldMkLst>
          <pc:docMk/>
          <pc:sldMk cId="840332457" sldId="391"/>
        </pc:sldMkLst>
        <pc:spChg chg="mod">
          <ac:chgData name="Antony Britto" userId="d1019b0b-29f6-4a1d-ad02-0d91a36ee451" providerId="ADAL" clId="{4F250547-3E32-4C59-A9FB-E006B25467D5}" dt="2022-11-24T03:00:15.283" v="4040" actId="1076"/>
          <ac:spMkLst>
            <pc:docMk/>
            <pc:sldMk cId="840332457" sldId="391"/>
            <ac:spMk id="2" creationId="{ED46F2C1-7E38-AFD9-11D1-985945A26A55}"/>
          </ac:spMkLst>
        </pc:spChg>
        <pc:spChg chg="mod">
          <ac:chgData name="Antony Britto" userId="d1019b0b-29f6-4a1d-ad02-0d91a36ee451" providerId="ADAL" clId="{4F250547-3E32-4C59-A9FB-E006B25467D5}" dt="2022-11-24T02:56:39.325" v="4019" actId="14100"/>
          <ac:spMkLst>
            <pc:docMk/>
            <pc:sldMk cId="840332457" sldId="391"/>
            <ac:spMk id="5" creationId="{64E62B09-B628-9390-D8F1-925831825F25}"/>
          </ac:spMkLst>
        </pc:spChg>
        <pc:picChg chg="mod">
          <ac:chgData name="Antony Britto" userId="d1019b0b-29f6-4a1d-ad02-0d91a36ee451" providerId="ADAL" clId="{4F250547-3E32-4C59-A9FB-E006B25467D5}" dt="2022-11-24T02:56:54.772" v="4021" actId="14100"/>
          <ac:picMkLst>
            <pc:docMk/>
            <pc:sldMk cId="840332457" sldId="391"/>
            <ac:picMk id="3" creationId="{E78D1940-ACA5-B09F-5619-8797478A3B0F}"/>
          </ac:picMkLst>
        </pc:picChg>
      </pc:sldChg>
      <pc:sldChg chg="modSp mod">
        <pc:chgData name="Antony Britto" userId="d1019b0b-29f6-4a1d-ad02-0d91a36ee451" providerId="ADAL" clId="{4F250547-3E32-4C59-A9FB-E006B25467D5}" dt="2022-11-24T02:59:01.245" v="4036" actId="14100"/>
        <pc:sldMkLst>
          <pc:docMk/>
          <pc:sldMk cId="3172311671" sldId="392"/>
        </pc:sldMkLst>
        <pc:spChg chg="mod">
          <ac:chgData name="Antony Britto" userId="d1019b0b-29f6-4a1d-ad02-0d91a36ee451" providerId="ADAL" clId="{4F250547-3E32-4C59-A9FB-E006B25467D5}" dt="2022-11-24T02:59:01.245" v="4036" actId="14100"/>
          <ac:spMkLst>
            <pc:docMk/>
            <pc:sldMk cId="3172311671" sldId="392"/>
            <ac:spMk id="3" creationId="{CE9F8312-CA7B-DA68-95FE-848748A3D2DB}"/>
          </ac:spMkLst>
        </pc:spChg>
        <pc:picChg chg="mod">
          <ac:chgData name="Antony Britto" userId="d1019b0b-29f6-4a1d-ad02-0d91a36ee451" providerId="ADAL" clId="{4F250547-3E32-4C59-A9FB-E006B25467D5}" dt="2022-11-24T02:57:38.748" v="4029" actId="1076"/>
          <ac:picMkLst>
            <pc:docMk/>
            <pc:sldMk cId="3172311671" sldId="392"/>
            <ac:picMk id="9" creationId="{9668BD5F-DC63-9428-BCDC-D180123B8814}"/>
          </ac:picMkLst>
        </pc:picChg>
      </pc:sldChg>
      <pc:sldChg chg="addSp delSp modSp mod modAnim">
        <pc:chgData name="Antony Britto" userId="d1019b0b-29f6-4a1d-ad02-0d91a36ee451" providerId="ADAL" clId="{4F250547-3E32-4C59-A9FB-E006B25467D5}" dt="2022-11-25T05:05:27.241" v="5765"/>
        <pc:sldMkLst>
          <pc:docMk/>
          <pc:sldMk cId="3159712418" sldId="396"/>
        </pc:sldMkLst>
        <pc:spChg chg="del">
          <ac:chgData name="Antony Britto" userId="d1019b0b-29f6-4a1d-ad02-0d91a36ee451" providerId="ADAL" clId="{4F250547-3E32-4C59-A9FB-E006B25467D5}" dt="2022-11-25T01:47:25.364" v="5511" actId="21"/>
          <ac:spMkLst>
            <pc:docMk/>
            <pc:sldMk cId="3159712418" sldId="396"/>
            <ac:spMk id="5" creationId="{64E62B09-B628-9390-D8F1-925831825F25}"/>
          </ac:spMkLst>
        </pc:spChg>
        <pc:spChg chg="mod">
          <ac:chgData name="Antony Britto" userId="d1019b0b-29f6-4a1d-ad02-0d91a36ee451" providerId="ADAL" clId="{4F250547-3E32-4C59-A9FB-E006B25467D5}" dt="2022-11-25T05:04:15.453" v="5756" actId="164"/>
          <ac:spMkLst>
            <pc:docMk/>
            <pc:sldMk cId="3159712418" sldId="396"/>
            <ac:spMk id="11" creationId="{0D621E1A-E389-5FD8-2B19-BC5B53085588}"/>
          </ac:spMkLst>
        </pc:spChg>
        <pc:spChg chg="mod">
          <ac:chgData name="Antony Britto" userId="d1019b0b-29f6-4a1d-ad02-0d91a36ee451" providerId="ADAL" clId="{4F250547-3E32-4C59-A9FB-E006B25467D5}" dt="2022-11-25T05:04:15.453" v="5756" actId="164"/>
          <ac:spMkLst>
            <pc:docMk/>
            <pc:sldMk cId="3159712418" sldId="396"/>
            <ac:spMk id="12" creationId="{C57BF379-B525-E505-9255-9591833361B3}"/>
          </ac:spMkLst>
        </pc:spChg>
        <pc:spChg chg="mod">
          <ac:chgData name="Antony Britto" userId="d1019b0b-29f6-4a1d-ad02-0d91a36ee451" providerId="ADAL" clId="{4F250547-3E32-4C59-A9FB-E006B25467D5}" dt="2022-11-25T05:04:41.017" v="5762" actId="164"/>
          <ac:spMkLst>
            <pc:docMk/>
            <pc:sldMk cId="3159712418" sldId="396"/>
            <ac:spMk id="13" creationId="{C277051E-ECD3-CFC0-1584-59AC52C06B11}"/>
          </ac:spMkLst>
        </pc:spChg>
        <pc:spChg chg="mod">
          <ac:chgData name="Antony Britto" userId="d1019b0b-29f6-4a1d-ad02-0d91a36ee451" providerId="ADAL" clId="{4F250547-3E32-4C59-A9FB-E006B25467D5}" dt="2022-11-25T05:04:41.017" v="5762" actId="164"/>
          <ac:spMkLst>
            <pc:docMk/>
            <pc:sldMk cId="3159712418" sldId="396"/>
            <ac:spMk id="15" creationId="{9FC9C2E9-1BF1-D248-6F58-E21BC965BF91}"/>
          </ac:spMkLst>
        </pc:spChg>
        <pc:spChg chg="mod">
          <ac:chgData name="Antony Britto" userId="d1019b0b-29f6-4a1d-ad02-0d91a36ee451" providerId="ADAL" clId="{4F250547-3E32-4C59-A9FB-E006B25467D5}" dt="2022-11-25T05:05:24.974" v="5764" actId="164"/>
          <ac:spMkLst>
            <pc:docMk/>
            <pc:sldMk cId="3159712418" sldId="396"/>
            <ac:spMk id="21" creationId="{25C3684B-4269-3B5C-955A-696386EF596C}"/>
          </ac:spMkLst>
        </pc:spChg>
        <pc:spChg chg="mod">
          <ac:chgData name="Antony Britto" userId="d1019b0b-29f6-4a1d-ad02-0d91a36ee451" providerId="ADAL" clId="{4F250547-3E32-4C59-A9FB-E006B25467D5}" dt="2022-11-25T05:05:24.974" v="5764" actId="164"/>
          <ac:spMkLst>
            <pc:docMk/>
            <pc:sldMk cId="3159712418" sldId="396"/>
            <ac:spMk id="22" creationId="{75016288-0938-29AA-6E49-0D33E1F721AB}"/>
          </ac:spMkLst>
        </pc:spChg>
        <pc:spChg chg="mod">
          <ac:chgData name="Antony Britto" userId="d1019b0b-29f6-4a1d-ad02-0d91a36ee451" providerId="ADAL" clId="{4F250547-3E32-4C59-A9FB-E006B25467D5}" dt="2022-11-25T05:04:15.453" v="5756" actId="164"/>
          <ac:spMkLst>
            <pc:docMk/>
            <pc:sldMk cId="3159712418" sldId="396"/>
            <ac:spMk id="23" creationId="{E35E67D5-DA1E-C305-610A-D00F487C6F9E}"/>
          </ac:spMkLst>
        </pc:spChg>
        <pc:spChg chg="mod">
          <ac:chgData name="Antony Britto" userId="d1019b0b-29f6-4a1d-ad02-0d91a36ee451" providerId="ADAL" clId="{4F250547-3E32-4C59-A9FB-E006B25467D5}" dt="2022-11-25T05:04:41.017" v="5762" actId="164"/>
          <ac:spMkLst>
            <pc:docMk/>
            <pc:sldMk cId="3159712418" sldId="396"/>
            <ac:spMk id="24" creationId="{9998CB2C-E0E7-A348-8E89-12E5D9FB5351}"/>
          </ac:spMkLst>
        </pc:spChg>
        <pc:spChg chg="mod">
          <ac:chgData name="Antony Britto" userId="d1019b0b-29f6-4a1d-ad02-0d91a36ee451" providerId="ADAL" clId="{4F250547-3E32-4C59-A9FB-E006B25467D5}" dt="2022-11-25T05:05:24.974" v="5764" actId="164"/>
          <ac:spMkLst>
            <pc:docMk/>
            <pc:sldMk cId="3159712418" sldId="396"/>
            <ac:spMk id="25" creationId="{ECD67E9D-435D-FCF0-B736-CB183BD718BD}"/>
          </ac:spMkLst>
        </pc:spChg>
        <pc:spChg chg="mod">
          <ac:chgData name="Antony Britto" userId="d1019b0b-29f6-4a1d-ad02-0d91a36ee451" providerId="ADAL" clId="{4F250547-3E32-4C59-A9FB-E006B25467D5}" dt="2022-11-24T23:57:28.852" v="5319" actId="20577"/>
          <ac:spMkLst>
            <pc:docMk/>
            <pc:sldMk cId="3159712418" sldId="396"/>
            <ac:spMk id="28" creationId="{D716D1FD-71E5-6123-730F-FD6E5C48772E}"/>
          </ac:spMkLst>
        </pc:spChg>
        <pc:spChg chg="mod">
          <ac:chgData name="Antony Britto" userId="d1019b0b-29f6-4a1d-ad02-0d91a36ee451" providerId="ADAL" clId="{4F250547-3E32-4C59-A9FB-E006B25467D5}" dt="2022-11-24T23:55:34.119" v="5277" actId="20577"/>
          <ac:spMkLst>
            <pc:docMk/>
            <pc:sldMk cId="3159712418" sldId="396"/>
            <ac:spMk id="48" creationId="{2D6B3B8D-1FC7-053B-9C39-E6C228AF06F1}"/>
          </ac:spMkLst>
        </pc:spChg>
        <pc:spChg chg="mod">
          <ac:chgData name="Antony Britto" userId="d1019b0b-29f6-4a1d-ad02-0d91a36ee451" providerId="ADAL" clId="{4F250547-3E32-4C59-A9FB-E006B25467D5}" dt="2022-11-24T23:56:34.810" v="5291" actId="20577"/>
          <ac:spMkLst>
            <pc:docMk/>
            <pc:sldMk cId="3159712418" sldId="396"/>
            <ac:spMk id="49" creationId="{67202597-0609-C9B1-D4F2-D92BC76205E2}"/>
          </ac:spMkLst>
        </pc:spChg>
        <pc:spChg chg="mod">
          <ac:chgData name="Antony Britto" userId="d1019b0b-29f6-4a1d-ad02-0d91a36ee451" providerId="ADAL" clId="{4F250547-3E32-4C59-A9FB-E006B25467D5}" dt="2022-11-24T23:55:18.556" v="5256" actId="20577"/>
          <ac:spMkLst>
            <pc:docMk/>
            <pc:sldMk cId="3159712418" sldId="396"/>
            <ac:spMk id="51" creationId="{A3ABC8BC-0B81-EB5E-6DA9-5CE6FDD15AC0}"/>
          </ac:spMkLst>
        </pc:spChg>
        <pc:spChg chg="mod">
          <ac:chgData name="Antony Britto" userId="d1019b0b-29f6-4a1d-ad02-0d91a36ee451" providerId="ADAL" clId="{4F250547-3E32-4C59-A9FB-E006B25467D5}" dt="2022-11-24T23:55:29.073" v="5270" actId="20577"/>
          <ac:spMkLst>
            <pc:docMk/>
            <pc:sldMk cId="3159712418" sldId="396"/>
            <ac:spMk id="52" creationId="{706919A8-C502-169C-2901-502D95D9DC72}"/>
          </ac:spMkLst>
        </pc:spChg>
        <pc:spChg chg="mod">
          <ac:chgData name="Antony Britto" userId="d1019b0b-29f6-4a1d-ad02-0d91a36ee451" providerId="ADAL" clId="{4F250547-3E32-4C59-A9FB-E006B25467D5}" dt="2022-11-24T23:56:39.599" v="5298" actId="20577"/>
          <ac:spMkLst>
            <pc:docMk/>
            <pc:sldMk cId="3159712418" sldId="396"/>
            <ac:spMk id="53" creationId="{C535897C-0E51-A7F0-EFF9-1AFA935DAA8D}"/>
          </ac:spMkLst>
        </pc:spChg>
        <pc:spChg chg="mod">
          <ac:chgData name="Antony Britto" userId="d1019b0b-29f6-4a1d-ad02-0d91a36ee451" providerId="ADAL" clId="{4F250547-3E32-4C59-A9FB-E006B25467D5}" dt="2022-11-24T23:55:23.680" v="5263" actId="20577"/>
          <ac:spMkLst>
            <pc:docMk/>
            <pc:sldMk cId="3159712418" sldId="396"/>
            <ac:spMk id="54" creationId="{F1CB8086-45BB-EBC3-A196-B7AFBE1BB234}"/>
          </ac:spMkLst>
        </pc:spChg>
        <pc:spChg chg="mod">
          <ac:chgData name="Antony Britto" userId="d1019b0b-29f6-4a1d-ad02-0d91a36ee451" providerId="ADAL" clId="{4F250547-3E32-4C59-A9FB-E006B25467D5}" dt="2022-11-24T23:55:38.370" v="5284" actId="20577"/>
          <ac:spMkLst>
            <pc:docMk/>
            <pc:sldMk cId="3159712418" sldId="396"/>
            <ac:spMk id="55" creationId="{2230DF80-00E9-F611-3BCE-8A635AB11447}"/>
          </ac:spMkLst>
        </pc:spChg>
        <pc:spChg chg="mod">
          <ac:chgData name="Antony Britto" userId="d1019b0b-29f6-4a1d-ad02-0d91a36ee451" providerId="ADAL" clId="{4F250547-3E32-4C59-A9FB-E006B25467D5}" dt="2022-11-24T23:57:13.905" v="5303" actId="20577"/>
          <ac:spMkLst>
            <pc:docMk/>
            <pc:sldMk cId="3159712418" sldId="396"/>
            <ac:spMk id="200" creationId="{1EA32728-4098-F571-AB68-67734B8EE541}"/>
          </ac:spMkLst>
        </pc:spChg>
        <pc:grpChg chg="add mod">
          <ac:chgData name="Antony Britto" userId="d1019b0b-29f6-4a1d-ad02-0d91a36ee451" providerId="ADAL" clId="{4F250547-3E32-4C59-A9FB-E006B25467D5}" dt="2022-11-25T05:04:15.453" v="5756" actId="164"/>
          <ac:grpSpMkLst>
            <pc:docMk/>
            <pc:sldMk cId="3159712418" sldId="396"/>
            <ac:grpSpMk id="5" creationId="{6F573042-454E-F8CA-38DE-7FC41AEF7B26}"/>
          </ac:grpSpMkLst>
        </pc:grpChg>
        <pc:grpChg chg="add mod">
          <ac:chgData name="Antony Britto" userId="d1019b0b-29f6-4a1d-ad02-0d91a36ee451" providerId="ADAL" clId="{4F250547-3E32-4C59-A9FB-E006B25467D5}" dt="2022-11-25T05:04:41.017" v="5762" actId="164"/>
          <ac:grpSpMkLst>
            <pc:docMk/>
            <pc:sldMk cId="3159712418" sldId="396"/>
            <ac:grpSpMk id="10" creationId="{AFD80B22-B922-0694-9105-4CFDE517A6EA}"/>
          </ac:grpSpMkLst>
        </pc:grpChg>
        <pc:grpChg chg="add mod">
          <ac:chgData name="Antony Britto" userId="d1019b0b-29f6-4a1d-ad02-0d91a36ee451" providerId="ADAL" clId="{4F250547-3E32-4C59-A9FB-E006B25467D5}" dt="2022-11-25T05:05:24.974" v="5764" actId="164"/>
          <ac:grpSpMkLst>
            <pc:docMk/>
            <pc:sldMk cId="3159712418" sldId="396"/>
            <ac:grpSpMk id="14" creationId="{B06F51EF-EDBD-35C5-227E-1BFF1AB21C07}"/>
          </ac:grpSpMkLst>
        </pc:grpChg>
        <pc:graphicFrameChg chg="mod">
          <ac:chgData name="Antony Britto" userId="d1019b0b-29f6-4a1d-ad02-0d91a36ee451" providerId="ADAL" clId="{4F250547-3E32-4C59-A9FB-E006B25467D5}" dt="2022-11-25T02:35:53.479" v="5604" actId="692"/>
          <ac:graphicFrameMkLst>
            <pc:docMk/>
            <pc:sldMk cId="3159712418" sldId="396"/>
            <ac:graphicFrameMk id="206" creationId="{6D6CA60F-D6B0-00B0-A318-0AB3A18DE004}"/>
          </ac:graphicFrameMkLst>
        </pc:graphicFrameChg>
      </pc:sldChg>
      <pc:sldChg chg="addSp delSp modSp mod modAnim">
        <pc:chgData name="Antony Britto" userId="d1019b0b-29f6-4a1d-ad02-0d91a36ee451" providerId="ADAL" clId="{4F250547-3E32-4C59-A9FB-E006B25467D5}" dt="2022-11-25T15:08:49.551" v="5914" actId="20577"/>
        <pc:sldMkLst>
          <pc:docMk/>
          <pc:sldMk cId="3505808948" sldId="399"/>
        </pc:sldMkLst>
        <pc:spChg chg="del">
          <ac:chgData name="Antony Britto" userId="d1019b0b-29f6-4a1d-ad02-0d91a36ee451" providerId="ADAL" clId="{4F250547-3E32-4C59-A9FB-E006B25467D5}" dt="2022-11-25T02:36:16.881" v="5605" actId="21"/>
          <ac:spMkLst>
            <pc:docMk/>
            <pc:sldMk cId="3505808948" sldId="399"/>
            <ac:spMk id="5" creationId="{64E62B09-B628-9390-D8F1-925831825F25}"/>
          </ac:spMkLst>
        </pc:spChg>
        <pc:spChg chg="mod">
          <ac:chgData name="Antony Britto" userId="d1019b0b-29f6-4a1d-ad02-0d91a36ee451" providerId="ADAL" clId="{4F250547-3E32-4C59-A9FB-E006B25467D5}" dt="2022-11-25T04:58:26.389" v="5743" actId="164"/>
          <ac:spMkLst>
            <pc:docMk/>
            <pc:sldMk cId="3505808948" sldId="399"/>
            <ac:spMk id="10" creationId="{24323348-6412-EF19-EA46-8CEA164E454F}"/>
          </ac:spMkLst>
        </pc:spChg>
        <pc:spChg chg="mod">
          <ac:chgData name="Antony Britto" userId="d1019b0b-29f6-4a1d-ad02-0d91a36ee451" providerId="ADAL" clId="{4F250547-3E32-4C59-A9FB-E006B25467D5}" dt="2022-11-25T04:58:26.389" v="5743" actId="164"/>
          <ac:spMkLst>
            <pc:docMk/>
            <pc:sldMk cId="3505808948" sldId="399"/>
            <ac:spMk id="15" creationId="{CC6A62E4-E6F0-2512-1FC2-33EE52B543C8}"/>
          </ac:spMkLst>
        </pc:spChg>
        <pc:spChg chg="mod">
          <ac:chgData name="Antony Britto" userId="d1019b0b-29f6-4a1d-ad02-0d91a36ee451" providerId="ADAL" clId="{4F250547-3E32-4C59-A9FB-E006B25467D5}" dt="2022-11-25T04:58:54.412" v="5746" actId="164"/>
          <ac:spMkLst>
            <pc:docMk/>
            <pc:sldMk cId="3505808948" sldId="399"/>
            <ac:spMk id="16" creationId="{1B2601E8-FC66-1C25-CFBB-3D42FB1F6895}"/>
          </ac:spMkLst>
        </pc:spChg>
        <pc:spChg chg="mod">
          <ac:chgData name="Antony Britto" userId="d1019b0b-29f6-4a1d-ad02-0d91a36ee451" providerId="ADAL" clId="{4F250547-3E32-4C59-A9FB-E006B25467D5}" dt="2022-11-25T04:58:54.412" v="5746" actId="164"/>
          <ac:spMkLst>
            <pc:docMk/>
            <pc:sldMk cId="3505808948" sldId="399"/>
            <ac:spMk id="18" creationId="{5DE6064C-8D86-64D0-17D5-5A318F259ACC}"/>
          </ac:spMkLst>
        </pc:spChg>
        <pc:spChg chg="mod">
          <ac:chgData name="Antony Britto" userId="d1019b0b-29f6-4a1d-ad02-0d91a36ee451" providerId="ADAL" clId="{4F250547-3E32-4C59-A9FB-E006B25467D5}" dt="2022-11-25T15:08:49.551" v="5914" actId="20577"/>
          <ac:spMkLst>
            <pc:docMk/>
            <pc:sldMk cId="3505808948" sldId="399"/>
            <ac:spMk id="22" creationId="{762FE224-4748-3330-47DC-F9776F9E94DE}"/>
          </ac:spMkLst>
        </pc:spChg>
        <pc:spChg chg="mod">
          <ac:chgData name="Antony Britto" userId="d1019b0b-29f6-4a1d-ad02-0d91a36ee451" providerId="ADAL" clId="{4F250547-3E32-4C59-A9FB-E006B25467D5}" dt="2022-11-25T04:59:08.468" v="5748" actId="164"/>
          <ac:spMkLst>
            <pc:docMk/>
            <pc:sldMk cId="3505808948" sldId="399"/>
            <ac:spMk id="39" creationId="{619A6EEA-7E7A-EEA8-1BF9-3041B09DCE2F}"/>
          </ac:spMkLst>
        </pc:spChg>
        <pc:spChg chg="mod">
          <ac:chgData name="Antony Britto" userId="d1019b0b-29f6-4a1d-ad02-0d91a36ee451" providerId="ADAL" clId="{4F250547-3E32-4C59-A9FB-E006B25467D5}" dt="2022-11-25T04:58:26.389" v="5743" actId="164"/>
          <ac:spMkLst>
            <pc:docMk/>
            <pc:sldMk cId="3505808948" sldId="399"/>
            <ac:spMk id="40" creationId="{CF7ED3B8-7EDA-E2AC-E1A6-07FE8FB367AE}"/>
          </ac:spMkLst>
        </pc:spChg>
        <pc:spChg chg="mod">
          <ac:chgData name="Antony Britto" userId="d1019b0b-29f6-4a1d-ad02-0d91a36ee451" providerId="ADAL" clId="{4F250547-3E32-4C59-A9FB-E006B25467D5}" dt="2022-11-25T04:58:54.412" v="5746" actId="164"/>
          <ac:spMkLst>
            <pc:docMk/>
            <pc:sldMk cId="3505808948" sldId="399"/>
            <ac:spMk id="42" creationId="{0C06680F-40FF-AB8F-DC29-414D19EA23ED}"/>
          </ac:spMkLst>
        </pc:spChg>
        <pc:spChg chg="mod">
          <ac:chgData name="Antony Britto" userId="d1019b0b-29f6-4a1d-ad02-0d91a36ee451" providerId="ADAL" clId="{4F250547-3E32-4C59-A9FB-E006B25467D5}" dt="2022-11-25T04:59:08.468" v="5748" actId="164"/>
          <ac:spMkLst>
            <pc:docMk/>
            <pc:sldMk cId="3505808948" sldId="399"/>
            <ac:spMk id="43" creationId="{5E0F6D59-4924-FA4E-D4A7-EF064A9D9D36}"/>
          </ac:spMkLst>
        </pc:spChg>
        <pc:spChg chg="mod">
          <ac:chgData name="Antony Britto" userId="d1019b0b-29f6-4a1d-ad02-0d91a36ee451" providerId="ADAL" clId="{4F250547-3E32-4C59-A9FB-E006B25467D5}" dt="2022-11-24T23:54:16.470" v="5215" actId="20577"/>
          <ac:spMkLst>
            <pc:docMk/>
            <pc:sldMk cId="3505808948" sldId="399"/>
            <ac:spMk id="63" creationId="{32C5D45C-4AD1-4627-129F-74EB9629B48C}"/>
          </ac:spMkLst>
        </pc:spChg>
        <pc:spChg chg="mod">
          <ac:chgData name="Antony Britto" userId="d1019b0b-29f6-4a1d-ad02-0d91a36ee451" providerId="ADAL" clId="{4F250547-3E32-4C59-A9FB-E006B25467D5}" dt="2022-11-24T23:54:38.544" v="5243" actId="20577"/>
          <ac:spMkLst>
            <pc:docMk/>
            <pc:sldMk cId="3505808948" sldId="399"/>
            <ac:spMk id="64" creationId="{3C9FEA9A-F3D6-C7A9-5253-E2BD75099F41}"/>
          </ac:spMkLst>
        </pc:spChg>
        <pc:spChg chg="mod">
          <ac:chgData name="Antony Britto" userId="d1019b0b-29f6-4a1d-ad02-0d91a36ee451" providerId="ADAL" clId="{4F250547-3E32-4C59-A9FB-E006B25467D5}" dt="2022-11-24T23:54:22.949" v="5222" actId="20577"/>
          <ac:spMkLst>
            <pc:docMk/>
            <pc:sldMk cId="3505808948" sldId="399"/>
            <ac:spMk id="65" creationId="{E182FC0B-9421-DA29-3FB2-2889D10FAA6E}"/>
          </ac:spMkLst>
        </pc:spChg>
        <pc:spChg chg="mod">
          <ac:chgData name="Antony Britto" userId="d1019b0b-29f6-4a1d-ad02-0d91a36ee451" providerId="ADAL" clId="{4F250547-3E32-4C59-A9FB-E006B25467D5}" dt="2022-11-24T23:54:44.074" v="5250" actId="20577"/>
          <ac:spMkLst>
            <pc:docMk/>
            <pc:sldMk cId="3505808948" sldId="399"/>
            <ac:spMk id="67" creationId="{55957967-307A-D766-F8FF-7836A2F07D03}"/>
          </ac:spMkLst>
        </pc:spChg>
        <pc:spChg chg="mod">
          <ac:chgData name="Antony Britto" userId="d1019b0b-29f6-4a1d-ad02-0d91a36ee451" providerId="ADAL" clId="{4F250547-3E32-4C59-A9FB-E006B25467D5}" dt="2022-11-24T23:54:33.250" v="5236" actId="20577"/>
          <ac:spMkLst>
            <pc:docMk/>
            <pc:sldMk cId="3505808948" sldId="399"/>
            <ac:spMk id="68" creationId="{387628E0-DF20-9A18-5AEA-3019A50D5D46}"/>
          </ac:spMkLst>
        </pc:spChg>
        <pc:spChg chg="mod">
          <ac:chgData name="Antony Britto" userId="d1019b0b-29f6-4a1d-ad02-0d91a36ee451" providerId="ADAL" clId="{4F250547-3E32-4C59-A9FB-E006B25467D5}" dt="2022-11-24T23:54:09.583" v="5208" actId="20577"/>
          <ac:spMkLst>
            <pc:docMk/>
            <pc:sldMk cId="3505808948" sldId="399"/>
            <ac:spMk id="69" creationId="{3C410A5A-8AC8-30DD-2387-DCE54A4234A7}"/>
          </ac:spMkLst>
        </pc:spChg>
        <pc:spChg chg="mod">
          <ac:chgData name="Antony Britto" userId="d1019b0b-29f6-4a1d-ad02-0d91a36ee451" providerId="ADAL" clId="{4F250547-3E32-4C59-A9FB-E006B25467D5}" dt="2022-11-24T23:54:28.168" v="5229" actId="20577"/>
          <ac:spMkLst>
            <pc:docMk/>
            <pc:sldMk cId="3505808948" sldId="399"/>
            <ac:spMk id="70" creationId="{A54A686E-F37D-B2A0-FE6E-5BE1C593E099}"/>
          </ac:spMkLst>
        </pc:spChg>
        <pc:spChg chg="mod">
          <ac:chgData name="Antony Britto" userId="d1019b0b-29f6-4a1d-ad02-0d91a36ee451" providerId="ADAL" clId="{4F250547-3E32-4C59-A9FB-E006B25467D5}" dt="2022-11-24T23:53:54.946" v="5202" actId="20577"/>
          <ac:spMkLst>
            <pc:docMk/>
            <pc:sldMk cId="3505808948" sldId="399"/>
            <ac:spMk id="175" creationId="{F3802B06-C1AA-0C88-86F6-EDDF9880D551}"/>
          </ac:spMkLst>
        </pc:spChg>
        <pc:spChg chg="mod">
          <ac:chgData name="Antony Britto" userId="d1019b0b-29f6-4a1d-ad02-0d91a36ee451" providerId="ADAL" clId="{4F250547-3E32-4C59-A9FB-E006B25467D5}" dt="2022-11-24T23:53:48.116" v="5197" actId="20577"/>
          <ac:spMkLst>
            <pc:docMk/>
            <pc:sldMk cId="3505808948" sldId="399"/>
            <ac:spMk id="195" creationId="{2A6039AD-6F32-1DEA-E7D9-D48659B0D5E8}"/>
          </ac:spMkLst>
        </pc:spChg>
        <pc:spChg chg="mod">
          <ac:chgData name="Antony Britto" userId="d1019b0b-29f6-4a1d-ad02-0d91a36ee451" providerId="ADAL" clId="{4F250547-3E32-4C59-A9FB-E006B25467D5}" dt="2022-11-24T23:53:42.953" v="5193" actId="20577"/>
          <ac:spMkLst>
            <pc:docMk/>
            <pc:sldMk cId="3505808948" sldId="399"/>
            <ac:spMk id="205" creationId="{4E7AE04D-3C9C-C81E-9117-4A8CDCC02673}"/>
          </ac:spMkLst>
        </pc:spChg>
        <pc:grpChg chg="add mod">
          <ac:chgData name="Antony Britto" userId="d1019b0b-29f6-4a1d-ad02-0d91a36ee451" providerId="ADAL" clId="{4F250547-3E32-4C59-A9FB-E006B25467D5}" dt="2022-11-25T04:58:26.389" v="5743" actId="164"/>
          <ac:grpSpMkLst>
            <pc:docMk/>
            <pc:sldMk cId="3505808948" sldId="399"/>
            <ac:grpSpMk id="2" creationId="{7388F1A4-CB08-FF3C-AD96-AB7FC9CDFFD3}"/>
          </ac:grpSpMkLst>
        </pc:grpChg>
        <pc:grpChg chg="add mod">
          <ac:chgData name="Antony Britto" userId="d1019b0b-29f6-4a1d-ad02-0d91a36ee451" providerId="ADAL" clId="{4F250547-3E32-4C59-A9FB-E006B25467D5}" dt="2022-11-25T04:58:54.412" v="5746" actId="164"/>
          <ac:grpSpMkLst>
            <pc:docMk/>
            <pc:sldMk cId="3505808948" sldId="399"/>
            <ac:grpSpMk id="5" creationId="{3939150E-701A-5A28-9F4D-5EEB1D9BFE14}"/>
          </ac:grpSpMkLst>
        </pc:grpChg>
        <pc:grpChg chg="add mod">
          <ac:chgData name="Antony Britto" userId="d1019b0b-29f6-4a1d-ad02-0d91a36ee451" providerId="ADAL" clId="{4F250547-3E32-4C59-A9FB-E006B25467D5}" dt="2022-11-25T04:59:08.468" v="5748" actId="164"/>
          <ac:grpSpMkLst>
            <pc:docMk/>
            <pc:sldMk cId="3505808948" sldId="399"/>
            <ac:grpSpMk id="11" creationId="{2C7C3E92-B9E1-A92F-636A-7187FCFF26F2}"/>
          </ac:grpSpMkLst>
        </pc:grpChg>
      </pc:sldChg>
      <pc:sldChg chg="addSp delSp modSp mod ord">
        <pc:chgData name="Antony Britto" userId="d1019b0b-29f6-4a1d-ad02-0d91a36ee451" providerId="ADAL" clId="{4F250547-3E32-4C59-A9FB-E006B25467D5}" dt="2022-11-24T17:54:25.726" v="4691" actId="313"/>
        <pc:sldMkLst>
          <pc:docMk/>
          <pc:sldMk cId="2323941003" sldId="400"/>
        </pc:sldMkLst>
        <pc:spChg chg="mod">
          <ac:chgData name="Antony Britto" userId="d1019b0b-29f6-4a1d-ad02-0d91a36ee451" providerId="ADAL" clId="{4F250547-3E32-4C59-A9FB-E006B25467D5}" dt="2022-11-23T20:47:03.812" v="2738" actId="1076"/>
          <ac:spMkLst>
            <pc:docMk/>
            <pc:sldMk cId="2323941003" sldId="400"/>
            <ac:spMk id="4" creationId="{7C1928D4-1E9A-9423-1877-D187D33FC819}"/>
          </ac:spMkLst>
        </pc:spChg>
        <pc:spChg chg="add mod ord">
          <ac:chgData name="Antony Britto" userId="d1019b0b-29f6-4a1d-ad02-0d91a36ee451" providerId="ADAL" clId="{4F250547-3E32-4C59-A9FB-E006B25467D5}" dt="2022-11-23T20:49:26.604" v="2762" actId="14100"/>
          <ac:spMkLst>
            <pc:docMk/>
            <pc:sldMk cId="2323941003" sldId="400"/>
            <ac:spMk id="13" creationId="{076E26C6-D731-202F-0643-CFAC343D11AF}"/>
          </ac:spMkLst>
        </pc:spChg>
        <pc:spChg chg="add mod ord">
          <ac:chgData name="Antony Britto" userId="d1019b0b-29f6-4a1d-ad02-0d91a36ee451" providerId="ADAL" clId="{4F250547-3E32-4C59-A9FB-E006B25467D5}" dt="2022-11-23T20:39:49.732" v="2676" actId="14100"/>
          <ac:spMkLst>
            <pc:docMk/>
            <pc:sldMk cId="2323941003" sldId="400"/>
            <ac:spMk id="14" creationId="{E0F71625-5368-E641-106B-D51100EF8F78}"/>
          </ac:spMkLst>
        </pc:spChg>
        <pc:spChg chg="add mod ord">
          <ac:chgData name="Antony Britto" userId="d1019b0b-29f6-4a1d-ad02-0d91a36ee451" providerId="ADAL" clId="{4F250547-3E32-4C59-A9FB-E006B25467D5}" dt="2022-11-23T20:41:20.977" v="2685" actId="14861"/>
          <ac:spMkLst>
            <pc:docMk/>
            <pc:sldMk cId="2323941003" sldId="400"/>
            <ac:spMk id="15" creationId="{89AC0A7F-093E-0B41-3D8E-895F6CA7D232}"/>
          </ac:spMkLst>
        </pc:spChg>
        <pc:spChg chg="add del mod ord topLvl">
          <ac:chgData name="Antony Britto" userId="d1019b0b-29f6-4a1d-ad02-0d91a36ee451" providerId="ADAL" clId="{4F250547-3E32-4C59-A9FB-E006B25467D5}" dt="2022-11-23T20:37:36.667" v="2661" actId="21"/>
          <ac:spMkLst>
            <pc:docMk/>
            <pc:sldMk cId="2323941003" sldId="400"/>
            <ac:spMk id="16" creationId="{94BE8B40-0AEC-78EE-45AD-FC82DB258101}"/>
          </ac:spMkLst>
        </pc:spChg>
        <pc:spChg chg="mod">
          <ac:chgData name="Antony Britto" userId="d1019b0b-29f6-4a1d-ad02-0d91a36ee451" providerId="ADAL" clId="{4F250547-3E32-4C59-A9FB-E006B25467D5}" dt="2022-11-23T20:24:19.272" v="2546" actId="14100"/>
          <ac:spMkLst>
            <pc:docMk/>
            <pc:sldMk cId="2323941003" sldId="400"/>
            <ac:spMk id="18" creationId="{B8A1A7CD-C78D-3E41-F8EC-35CF9C63961A}"/>
          </ac:spMkLst>
        </pc:spChg>
        <pc:spChg chg="mod">
          <ac:chgData name="Antony Britto" userId="d1019b0b-29f6-4a1d-ad02-0d91a36ee451" providerId="ADAL" clId="{4F250547-3E32-4C59-A9FB-E006B25467D5}" dt="2022-11-24T05:45:38.829" v="4390" actId="14100"/>
          <ac:spMkLst>
            <pc:docMk/>
            <pc:sldMk cId="2323941003" sldId="400"/>
            <ac:spMk id="19" creationId="{EA02BDB5-3DEF-E4EB-F30A-FF6A6B3252D3}"/>
          </ac:spMkLst>
        </pc:spChg>
        <pc:spChg chg="mod">
          <ac:chgData name="Antony Britto" userId="d1019b0b-29f6-4a1d-ad02-0d91a36ee451" providerId="ADAL" clId="{4F250547-3E32-4C59-A9FB-E006B25467D5}" dt="2022-11-24T05:45:34.641" v="4389" actId="14100"/>
          <ac:spMkLst>
            <pc:docMk/>
            <pc:sldMk cId="2323941003" sldId="400"/>
            <ac:spMk id="20" creationId="{4F8EA1BC-EF82-F23C-E19B-EE76500E9634}"/>
          </ac:spMkLst>
        </pc:spChg>
        <pc:spChg chg="add del mod">
          <ac:chgData name="Antony Britto" userId="d1019b0b-29f6-4a1d-ad02-0d91a36ee451" providerId="ADAL" clId="{4F250547-3E32-4C59-A9FB-E006B25467D5}" dt="2022-11-23T20:21:44.717" v="2529"/>
          <ac:spMkLst>
            <pc:docMk/>
            <pc:sldMk cId="2323941003" sldId="400"/>
            <ac:spMk id="21" creationId="{0C7B3B8D-2A10-0862-732C-84852457FCDF}"/>
          </ac:spMkLst>
        </pc:spChg>
        <pc:spChg chg="add del mod">
          <ac:chgData name="Antony Britto" userId="d1019b0b-29f6-4a1d-ad02-0d91a36ee451" providerId="ADAL" clId="{4F250547-3E32-4C59-A9FB-E006B25467D5}" dt="2022-11-23T20:21:44.435" v="2528"/>
          <ac:spMkLst>
            <pc:docMk/>
            <pc:sldMk cId="2323941003" sldId="400"/>
            <ac:spMk id="22" creationId="{44B17621-018E-C094-1F90-8F68B0C604FA}"/>
          </ac:spMkLst>
        </pc:spChg>
        <pc:spChg chg="add del mod">
          <ac:chgData name="Antony Britto" userId="d1019b0b-29f6-4a1d-ad02-0d91a36ee451" providerId="ADAL" clId="{4F250547-3E32-4C59-A9FB-E006B25467D5}" dt="2022-11-23T20:21:44.162" v="2527"/>
          <ac:spMkLst>
            <pc:docMk/>
            <pc:sldMk cId="2323941003" sldId="400"/>
            <ac:spMk id="23" creationId="{1D72890B-FD0A-894B-B8EB-51D27407350B}"/>
          </ac:spMkLst>
        </pc:spChg>
        <pc:spChg chg="add del mod">
          <ac:chgData name="Antony Britto" userId="d1019b0b-29f6-4a1d-ad02-0d91a36ee451" providerId="ADAL" clId="{4F250547-3E32-4C59-A9FB-E006B25467D5}" dt="2022-11-23T20:21:43.932" v="2526"/>
          <ac:spMkLst>
            <pc:docMk/>
            <pc:sldMk cId="2323941003" sldId="400"/>
            <ac:spMk id="24" creationId="{700B36E5-56DD-32DA-DD8D-D0E7AFA4E12A}"/>
          </ac:spMkLst>
        </pc:spChg>
        <pc:spChg chg="add del mod ord">
          <ac:chgData name="Antony Britto" userId="d1019b0b-29f6-4a1d-ad02-0d91a36ee451" providerId="ADAL" clId="{4F250547-3E32-4C59-A9FB-E006B25467D5}" dt="2022-11-23T20:21:43.659" v="2525"/>
          <ac:spMkLst>
            <pc:docMk/>
            <pc:sldMk cId="2323941003" sldId="400"/>
            <ac:spMk id="25" creationId="{2900C182-1225-B3B8-8159-5C0926FB41D0}"/>
          </ac:spMkLst>
        </pc:spChg>
        <pc:spChg chg="mod">
          <ac:chgData name="Antony Britto" userId="d1019b0b-29f6-4a1d-ad02-0d91a36ee451" providerId="ADAL" clId="{4F250547-3E32-4C59-A9FB-E006B25467D5}" dt="2022-11-24T05:45:41.708" v="4391" actId="14100"/>
          <ac:spMkLst>
            <pc:docMk/>
            <pc:sldMk cId="2323941003" sldId="400"/>
            <ac:spMk id="27" creationId="{8E8666EC-1061-5736-39EF-E3AE6AF60F25}"/>
          </ac:spMkLst>
        </pc:spChg>
        <pc:spChg chg="add mod ord">
          <ac:chgData name="Antony Britto" userId="d1019b0b-29f6-4a1d-ad02-0d91a36ee451" providerId="ADAL" clId="{4F250547-3E32-4C59-A9FB-E006B25467D5}" dt="2022-11-23T20:46:16.646" v="2735" actId="1076"/>
          <ac:spMkLst>
            <pc:docMk/>
            <pc:sldMk cId="2323941003" sldId="400"/>
            <ac:spMk id="28" creationId="{FD6B680D-EA08-6BF5-60B2-63FD86FBAD74}"/>
          </ac:spMkLst>
        </pc:spChg>
        <pc:spChg chg="mod">
          <ac:chgData name="Antony Britto" userId="d1019b0b-29f6-4a1d-ad02-0d91a36ee451" providerId="ADAL" clId="{4F250547-3E32-4C59-A9FB-E006B25467D5}" dt="2022-11-24T05:45:44.916" v="4392" actId="14100"/>
          <ac:spMkLst>
            <pc:docMk/>
            <pc:sldMk cId="2323941003" sldId="400"/>
            <ac:spMk id="32" creationId="{8FA9FC4A-00A0-B3BA-84E2-14F24621F933}"/>
          </ac:spMkLst>
        </pc:spChg>
        <pc:spChg chg="mod">
          <ac:chgData name="Antony Britto" userId="d1019b0b-29f6-4a1d-ad02-0d91a36ee451" providerId="ADAL" clId="{4F250547-3E32-4C59-A9FB-E006B25467D5}" dt="2022-11-24T05:45:48.967" v="4393" actId="14100"/>
          <ac:spMkLst>
            <pc:docMk/>
            <pc:sldMk cId="2323941003" sldId="400"/>
            <ac:spMk id="33" creationId="{B0F71808-06A3-463E-B968-0342E2B6CBBD}"/>
          </ac:spMkLst>
        </pc:spChg>
        <pc:spChg chg="mod">
          <ac:chgData name="Antony Britto" userId="d1019b0b-29f6-4a1d-ad02-0d91a36ee451" providerId="ADAL" clId="{4F250547-3E32-4C59-A9FB-E006B25467D5}" dt="2022-11-23T20:44:33.029" v="2716" actId="14861"/>
          <ac:spMkLst>
            <pc:docMk/>
            <pc:sldMk cId="2323941003" sldId="400"/>
            <ac:spMk id="34" creationId="{D60EAC67-7BE9-6B6D-333F-AF12E582A7C1}"/>
          </ac:spMkLst>
        </pc:spChg>
        <pc:spChg chg="mod topLvl">
          <ac:chgData name="Antony Britto" userId="d1019b0b-29f6-4a1d-ad02-0d91a36ee451" providerId="ADAL" clId="{4F250547-3E32-4C59-A9FB-E006B25467D5}" dt="2022-11-24T17:54:25.726" v="4691" actId="313"/>
          <ac:spMkLst>
            <pc:docMk/>
            <pc:sldMk cId="2323941003" sldId="400"/>
            <ac:spMk id="39" creationId="{68440B51-9FFC-7649-D3A1-08A363BDF304}"/>
          </ac:spMkLst>
        </pc:spChg>
        <pc:spChg chg="mod topLvl">
          <ac:chgData name="Antony Britto" userId="d1019b0b-29f6-4a1d-ad02-0d91a36ee451" providerId="ADAL" clId="{4F250547-3E32-4C59-A9FB-E006B25467D5}" dt="2022-11-24T02:39:26.640" v="3856" actId="165"/>
          <ac:spMkLst>
            <pc:docMk/>
            <pc:sldMk cId="2323941003" sldId="400"/>
            <ac:spMk id="40" creationId="{513778CF-3718-AC48-9E0F-551865BBB8F7}"/>
          </ac:spMkLst>
        </pc:spChg>
        <pc:spChg chg="mod topLvl">
          <ac:chgData name="Antony Britto" userId="d1019b0b-29f6-4a1d-ad02-0d91a36ee451" providerId="ADAL" clId="{4F250547-3E32-4C59-A9FB-E006B25467D5}" dt="2022-11-24T02:39:26.640" v="3856" actId="165"/>
          <ac:spMkLst>
            <pc:docMk/>
            <pc:sldMk cId="2323941003" sldId="400"/>
            <ac:spMk id="41" creationId="{596AFB13-AC4A-A459-8A61-B352F7458970}"/>
          </ac:spMkLst>
        </pc:spChg>
        <pc:spChg chg="mod topLvl">
          <ac:chgData name="Antony Britto" userId="d1019b0b-29f6-4a1d-ad02-0d91a36ee451" providerId="ADAL" clId="{4F250547-3E32-4C59-A9FB-E006B25467D5}" dt="2022-11-24T02:39:26.640" v="3856" actId="165"/>
          <ac:spMkLst>
            <pc:docMk/>
            <pc:sldMk cId="2323941003" sldId="400"/>
            <ac:spMk id="42" creationId="{97F4F787-AC23-DD81-197E-A3D143D6121D}"/>
          </ac:spMkLst>
        </pc:spChg>
        <pc:spChg chg="mod topLvl">
          <ac:chgData name="Antony Britto" userId="d1019b0b-29f6-4a1d-ad02-0d91a36ee451" providerId="ADAL" clId="{4F250547-3E32-4C59-A9FB-E006B25467D5}" dt="2022-11-24T02:39:26.640" v="3856" actId="165"/>
          <ac:spMkLst>
            <pc:docMk/>
            <pc:sldMk cId="2323941003" sldId="400"/>
            <ac:spMk id="43" creationId="{FD65BE6F-AFAB-34FF-2618-25E60839ABC4}"/>
          </ac:spMkLst>
        </pc:spChg>
        <pc:spChg chg="mod topLvl">
          <ac:chgData name="Antony Britto" userId="d1019b0b-29f6-4a1d-ad02-0d91a36ee451" providerId="ADAL" clId="{4F250547-3E32-4C59-A9FB-E006B25467D5}" dt="2022-11-24T02:39:26.640" v="3856" actId="165"/>
          <ac:spMkLst>
            <pc:docMk/>
            <pc:sldMk cId="2323941003" sldId="400"/>
            <ac:spMk id="44" creationId="{16829D75-5331-84ED-13CA-0B67AC2B6019}"/>
          </ac:spMkLst>
        </pc:spChg>
        <pc:spChg chg="mod topLvl">
          <ac:chgData name="Antony Britto" userId="d1019b0b-29f6-4a1d-ad02-0d91a36ee451" providerId="ADAL" clId="{4F250547-3E32-4C59-A9FB-E006B25467D5}" dt="2022-11-24T02:39:26.640" v="3856" actId="165"/>
          <ac:spMkLst>
            <pc:docMk/>
            <pc:sldMk cId="2323941003" sldId="400"/>
            <ac:spMk id="45" creationId="{B9E2ACCB-8C91-B3C8-E1D3-642B719C7CB5}"/>
          </ac:spMkLst>
        </pc:spChg>
        <pc:spChg chg="mod">
          <ac:chgData name="Antony Britto" userId="d1019b0b-29f6-4a1d-ad02-0d91a36ee451" providerId="ADAL" clId="{4F250547-3E32-4C59-A9FB-E006B25467D5}" dt="2022-11-23T20:47:28.174" v="2742" actId="1076"/>
          <ac:spMkLst>
            <pc:docMk/>
            <pc:sldMk cId="2323941003" sldId="400"/>
            <ac:spMk id="47" creationId="{1516E8C6-5875-D4FC-25F7-DCA6F095B3E6}"/>
          </ac:spMkLst>
        </pc:spChg>
        <pc:spChg chg="mod">
          <ac:chgData name="Antony Britto" userId="d1019b0b-29f6-4a1d-ad02-0d91a36ee451" providerId="ADAL" clId="{4F250547-3E32-4C59-A9FB-E006B25467D5}" dt="2022-11-23T20:48:03.604" v="2749" actId="14100"/>
          <ac:spMkLst>
            <pc:docMk/>
            <pc:sldMk cId="2323941003" sldId="400"/>
            <ac:spMk id="48" creationId="{F146EDC1-A29E-CCDB-8488-A7B5A61045A7}"/>
          </ac:spMkLst>
        </pc:spChg>
        <pc:spChg chg="mod">
          <ac:chgData name="Antony Britto" userId="d1019b0b-29f6-4a1d-ad02-0d91a36ee451" providerId="ADAL" clId="{4F250547-3E32-4C59-A9FB-E006B25467D5}" dt="2022-11-24T02:16:42.077" v="3167" actId="14100"/>
          <ac:spMkLst>
            <pc:docMk/>
            <pc:sldMk cId="2323941003" sldId="400"/>
            <ac:spMk id="49" creationId="{580F1F33-92D9-5B32-7D9E-3CB3B80EDA7E}"/>
          </ac:spMkLst>
        </pc:spChg>
        <pc:spChg chg="mod">
          <ac:chgData name="Antony Britto" userId="d1019b0b-29f6-4a1d-ad02-0d91a36ee451" providerId="ADAL" clId="{4F250547-3E32-4C59-A9FB-E006B25467D5}" dt="2022-11-23T20:28:11.575" v="2577" actId="1076"/>
          <ac:spMkLst>
            <pc:docMk/>
            <pc:sldMk cId="2323941003" sldId="400"/>
            <ac:spMk id="61" creationId="{EBFDBDBE-0F46-119B-54BD-2B1ECF803F01}"/>
          </ac:spMkLst>
        </pc:spChg>
        <pc:spChg chg="mod ord">
          <ac:chgData name="Antony Britto" userId="d1019b0b-29f6-4a1d-ad02-0d91a36ee451" providerId="ADAL" clId="{4F250547-3E32-4C59-A9FB-E006B25467D5}" dt="2022-11-23T20:46:19.565" v="2736" actId="14100"/>
          <ac:spMkLst>
            <pc:docMk/>
            <pc:sldMk cId="2323941003" sldId="400"/>
            <ac:spMk id="63" creationId="{6D37260F-0A1F-B81C-AE75-933B8B8749A1}"/>
          </ac:spMkLst>
        </pc:spChg>
        <pc:spChg chg="mod topLvl">
          <ac:chgData name="Antony Britto" userId="d1019b0b-29f6-4a1d-ad02-0d91a36ee451" providerId="ADAL" clId="{4F250547-3E32-4C59-A9FB-E006B25467D5}" dt="2022-11-24T16:04:41.790" v="4456" actId="123"/>
          <ac:spMkLst>
            <pc:docMk/>
            <pc:sldMk cId="2323941003" sldId="400"/>
            <ac:spMk id="64" creationId="{EEBEBB10-9C27-E90D-4268-6AFBD061FDD7}"/>
          </ac:spMkLst>
        </pc:spChg>
        <pc:grpChg chg="add del mod">
          <ac:chgData name="Antony Britto" userId="d1019b0b-29f6-4a1d-ad02-0d91a36ee451" providerId="ADAL" clId="{4F250547-3E32-4C59-A9FB-E006B25467D5}" dt="2022-11-23T20:37:36.667" v="2661" actId="21"/>
          <ac:grpSpMkLst>
            <pc:docMk/>
            <pc:sldMk cId="2323941003" sldId="400"/>
            <ac:grpSpMk id="26" creationId="{5D466E1A-94EB-CD09-D670-2893756C4739}"/>
          </ac:grpSpMkLst>
        </pc:grpChg>
        <pc:grpChg chg="mod">
          <ac:chgData name="Antony Britto" userId="d1019b0b-29f6-4a1d-ad02-0d91a36ee451" providerId="ADAL" clId="{4F250547-3E32-4C59-A9FB-E006B25467D5}" dt="2022-11-23T20:44:32.878" v="2715" actId="14100"/>
          <ac:grpSpMkLst>
            <pc:docMk/>
            <pc:sldMk cId="2323941003" sldId="400"/>
            <ac:grpSpMk id="59" creationId="{3EC6BBA0-382E-C5E9-57F4-9F45D891123A}"/>
          </ac:grpSpMkLst>
        </pc:grpChg>
        <pc:grpChg chg="del">
          <ac:chgData name="Antony Britto" userId="d1019b0b-29f6-4a1d-ad02-0d91a36ee451" providerId="ADAL" clId="{4F250547-3E32-4C59-A9FB-E006B25467D5}" dt="2022-11-24T02:39:26.640" v="3856" actId="165"/>
          <ac:grpSpMkLst>
            <pc:docMk/>
            <pc:sldMk cId="2323941003" sldId="400"/>
            <ac:grpSpMk id="67" creationId="{0672917E-0953-2C68-EFF3-5D14F2AE5078}"/>
          </ac:grpSpMkLst>
        </pc:grpChg>
        <pc:grpChg chg="mod">
          <ac:chgData name="Antony Britto" userId="d1019b0b-29f6-4a1d-ad02-0d91a36ee451" providerId="ADAL" clId="{4F250547-3E32-4C59-A9FB-E006B25467D5}" dt="2022-11-23T20:04:08.670" v="2419" actId="1076"/>
          <ac:grpSpMkLst>
            <pc:docMk/>
            <pc:sldMk cId="2323941003" sldId="400"/>
            <ac:grpSpMk id="68" creationId="{2A722A83-BAB8-79AA-6A53-531E99760C1C}"/>
          </ac:grpSpMkLst>
        </pc:grpChg>
        <pc:picChg chg="mod">
          <ac:chgData name="Antony Britto" userId="d1019b0b-29f6-4a1d-ad02-0d91a36ee451" providerId="ADAL" clId="{4F250547-3E32-4C59-A9FB-E006B25467D5}" dt="2022-11-24T02:14:20.025" v="3164" actId="1076"/>
          <ac:picMkLst>
            <pc:docMk/>
            <pc:sldMk cId="2323941003" sldId="400"/>
            <ac:picMk id="62" creationId="{B48C9A3D-40F3-6796-474A-CC1E69574BA7}"/>
          </ac:picMkLst>
        </pc:picChg>
      </pc:sldChg>
      <pc:sldChg chg="addSp delSp modSp mod">
        <pc:chgData name="Antony Britto" userId="d1019b0b-29f6-4a1d-ad02-0d91a36ee451" providerId="ADAL" clId="{4F250547-3E32-4C59-A9FB-E006B25467D5}" dt="2022-11-24T18:05:36.904" v="4708" actId="2711"/>
        <pc:sldMkLst>
          <pc:docMk/>
          <pc:sldMk cId="3705625387" sldId="402"/>
        </pc:sldMkLst>
        <pc:spChg chg="mod">
          <ac:chgData name="Antony Britto" userId="d1019b0b-29f6-4a1d-ad02-0d91a36ee451" providerId="ADAL" clId="{4F250547-3E32-4C59-A9FB-E006B25467D5}" dt="2022-11-24T18:05:36.904" v="4708" actId="2711"/>
          <ac:spMkLst>
            <pc:docMk/>
            <pc:sldMk cId="3705625387" sldId="402"/>
            <ac:spMk id="3" creationId="{4B23F066-78F6-ED99-A2E1-FCA243435AA8}"/>
          </ac:spMkLst>
        </pc:spChg>
        <pc:spChg chg="mod">
          <ac:chgData name="Antony Britto" userId="d1019b0b-29f6-4a1d-ad02-0d91a36ee451" providerId="ADAL" clId="{4F250547-3E32-4C59-A9FB-E006B25467D5}" dt="2022-11-24T03:16:48.849" v="4108" actId="1076"/>
          <ac:spMkLst>
            <pc:docMk/>
            <pc:sldMk cId="3705625387" sldId="402"/>
            <ac:spMk id="10" creationId="{A69180BC-3644-5C15-3220-B63028F819DB}"/>
          </ac:spMkLst>
        </pc:spChg>
        <pc:spChg chg="add mod">
          <ac:chgData name="Antony Britto" userId="d1019b0b-29f6-4a1d-ad02-0d91a36ee451" providerId="ADAL" clId="{4F250547-3E32-4C59-A9FB-E006B25467D5}" dt="2022-11-24T02:55:02.730" v="4003" actId="1076"/>
          <ac:spMkLst>
            <pc:docMk/>
            <pc:sldMk cId="3705625387" sldId="402"/>
            <ac:spMk id="11" creationId="{448C2F5B-7B56-EA81-7317-7C71BF8466D2}"/>
          </ac:spMkLst>
        </pc:spChg>
        <pc:spChg chg="mod">
          <ac:chgData name="Antony Britto" userId="d1019b0b-29f6-4a1d-ad02-0d91a36ee451" providerId="ADAL" clId="{4F250547-3E32-4C59-A9FB-E006B25467D5}" dt="2022-11-24T02:54:53.644" v="4001" actId="1076"/>
          <ac:spMkLst>
            <pc:docMk/>
            <pc:sldMk cId="3705625387" sldId="402"/>
            <ac:spMk id="14" creationId="{EBC22941-62DE-5516-18D5-C770B8E7D0D1}"/>
          </ac:spMkLst>
        </pc:spChg>
        <pc:spChg chg="mod">
          <ac:chgData name="Antony Britto" userId="d1019b0b-29f6-4a1d-ad02-0d91a36ee451" providerId="ADAL" clId="{4F250547-3E32-4C59-A9FB-E006B25467D5}" dt="2022-11-24T03:16:23.834" v="4103" actId="1076"/>
          <ac:spMkLst>
            <pc:docMk/>
            <pc:sldMk cId="3705625387" sldId="402"/>
            <ac:spMk id="55" creationId="{C6054ED8-FF62-C374-8C8A-6780AA98EC0C}"/>
          </ac:spMkLst>
        </pc:spChg>
        <pc:spChg chg="del mod">
          <ac:chgData name="Antony Britto" userId="d1019b0b-29f6-4a1d-ad02-0d91a36ee451" providerId="ADAL" clId="{4F250547-3E32-4C59-A9FB-E006B25467D5}" dt="2022-11-24T02:54:51.556" v="3999" actId="21"/>
          <ac:spMkLst>
            <pc:docMk/>
            <pc:sldMk cId="3705625387" sldId="402"/>
            <ac:spMk id="56" creationId="{60979BB9-A3E7-8FEF-97AC-1E8F9D7B7DD2}"/>
          </ac:spMkLst>
        </pc:spChg>
        <pc:spChg chg="mod">
          <ac:chgData name="Antony Britto" userId="d1019b0b-29f6-4a1d-ad02-0d91a36ee451" providerId="ADAL" clId="{4F250547-3E32-4C59-A9FB-E006B25467D5}" dt="2022-11-24T03:16:27.761" v="4104" actId="1076"/>
          <ac:spMkLst>
            <pc:docMk/>
            <pc:sldMk cId="3705625387" sldId="402"/>
            <ac:spMk id="57" creationId="{7217858D-E136-4BB8-FCFF-3BA1B0678971}"/>
          </ac:spMkLst>
        </pc:spChg>
        <pc:spChg chg="mod">
          <ac:chgData name="Antony Britto" userId="d1019b0b-29f6-4a1d-ad02-0d91a36ee451" providerId="ADAL" clId="{4F250547-3E32-4C59-A9FB-E006B25467D5}" dt="2022-11-24T03:16:32.898" v="4105" actId="1076"/>
          <ac:spMkLst>
            <pc:docMk/>
            <pc:sldMk cId="3705625387" sldId="402"/>
            <ac:spMk id="58" creationId="{F740993E-9611-1272-6044-5736E4D07B72}"/>
          </ac:spMkLst>
        </pc:spChg>
        <pc:graphicFrameChg chg="mod">
          <ac:chgData name="Antony Britto" userId="d1019b0b-29f6-4a1d-ad02-0d91a36ee451" providerId="ADAL" clId="{4F250547-3E32-4C59-A9FB-E006B25467D5}" dt="2022-11-24T03:16:17.632" v="4102" actId="1076"/>
          <ac:graphicFrameMkLst>
            <pc:docMk/>
            <pc:sldMk cId="3705625387" sldId="402"/>
            <ac:graphicFrameMk id="23" creationId="{E99A5D53-B8F8-E649-A181-4911DF5577C2}"/>
          </ac:graphicFrameMkLst>
        </pc:graphicFrameChg>
      </pc:sldChg>
      <pc:sldChg chg="new del">
        <pc:chgData name="Antony Britto" userId="d1019b0b-29f6-4a1d-ad02-0d91a36ee451" providerId="ADAL" clId="{4F250547-3E32-4C59-A9FB-E006B25467D5}" dt="2022-11-23T23:16:42.281" v="2773" actId="680"/>
        <pc:sldMkLst>
          <pc:docMk/>
          <pc:sldMk cId="1337065643" sldId="403"/>
        </pc:sldMkLst>
      </pc:sldChg>
      <pc:sldChg chg="addSp delSp modSp add mod ord modAnim">
        <pc:chgData name="Antony Britto" userId="d1019b0b-29f6-4a1d-ad02-0d91a36ee451" providerId="ADAL" clId="{4F250547-3E32-4C59-A9FB-E006B25467D5}" dt="2022-11-25T05:12:52.543" v="5779"/>
        <pc:sldMkLst>
          <pc:docMk/>
          <pc:sldMk cId="1842833113" sldId="403"/>
        </pc:sldMkLst>
        <pc:spChg chg="add mod ord">
          <ac:chgData name="Antony Britto" userId="d1019b0b-29f6-4a1d-ad02-0d91a36ee451" providerId="ADAL" clId="{4F250547-3E32-4C59-A9FB-E006B25467D5}" dt="2022-11-24T16:01:38.145" v="4438" actId="21"/>
          <ac:spMkLst>
            <pc:docMk/>
            <pc:sldMk cId="1842833113" sldId="403"/>
            <ac:spMk id="3" creationId="{77581DEE-340D-020C-2188-A89A56EA5B12}"/>
          </ac:spMkLst>
        </pc:spChg>
        <pc:spChg chg="add mod">
          <ac:chgData name="Antony Britto" userId="d1019b0b-29f6-4a1d-ad02-0d91a36ee451" providerId="ADAL" clId="{4F250547-3E32-4C59-A9FB-E006B25467D5}" dt="2022-11-24T18:11:51.179" v="4709" actId="20577"/>
          <ac:spMkLst>
            <pc:docMk/>
            <pc:sldMk cId="1842833113" sldId="403"/>
            <ac:spMk id="4" creationId="{B8C8B71D-0ACB-BA7D-ACF4-9F7184171D47}"/>
          </ac:spMkLst>
        </pc:spChg>
        <pc:spChg chg="del">
          <ac:chgData name="Antony Britto" userId="d1019b0b-29f6-4a1d-ad02-0d91a36ee451" providerId="ADAL" clId="{4F250547-3E32-4C59-A9FB-E006B25467D5}" dt="2022-11-23T23:18:02.564" v="2779" actId="21"/>
          <ac:spMkLst>
            <pc:docMk/>
            <pc:sldMk cId="1842833113" sldId="403"/>
            <ac:spMk id="7" creationId="{78976031-C76C-B285-330A-FCAAA56FEF99}"/>
          </ac:spMkLst>
        </pc:spChg>
        <pc:spChg chg="add del mod">
          <ac:chgData name="Antony Britto" userId="d1019b0b-29f6-4a1d-ad02-0d91a36ee451" providerId="ADAL" clId="{4F250547-3E32-4C59-A9FB-E006B25467D5}" dt="2022-11-24T16:02:01.012" v="4443" actId="21"/>
          <ac:spMkLst>
            <pc:docMk/>
            <pc:sldMk cId="1842833113" sldId="403"/>
            <ac:spMk id="8" creationId="{36CA3ACB-223D-0839-DB51-D9CA37EBDBA8}"/>
          </ac:spMkLst>
        </pc:spChg>
        <pc:spChg chg="add mod ord">
          <ac:chgData name="Antony Britto" userId="d1019b0b-29f6-4a1d-ad02-0d91a36ee451" providerId="ADAL" clId="{4F250547-3E32-4C59-A9FB-E006B25467D5}" dt="2022-11-24T16:27:01.892" v="4677" actId="14100"/>
          <ac:spMkLst>
            <pc:docMk/>
            <pc:sldMk cId="1842833113" sldId="403"/>
            <ac:spMk id="10" creationId="{9D5B2959-1566-EE9E-F783-316CA5EB6AEF}"/>
          </ac:spMkLst>
        </pc:spChg>
        <pc:spChg chg="del">
          <ac:chgData name="Antony Britto" userId="d1019b0b-29f6-4a1d-ad02-0d91a36ee451" providerId="ADAL" clId="{4F250547-3E32-4C59-A9FB-E006B25467D5}" dt="2022-11-23T23:18:05.187" v="2780" actId="21"/>
          <ac:spMkLst>
            <pc:docMk/>
            <pc:sldMk cId="1842833113" sldId="403"/>
            <ac:spMk id="11" creationId="{C31DE74C-7DB4-E899-811A-A760F6BDD154}"/>
          </ac:spMkLst>
        </pc:spChg>
        <pc:spChg chg="del">
          <ac:chgData name="Antony Britto" userId="d1019b0b-29f6-4a1d-ad02-0d91a36ee451" providerId="ADAL" clId="{4F250547-3E32-4C59-A9FB-E006B25467D5}" dt="2022-11-23T23:18:47.787" v="2785" actId="21"/>
          <ac:spMkLst>
            <pc:docMk/>
            <pc:sldMk cId="1842833113" sldId="403"/>
            <ac:spMk id="12" creationId="{3FD3EDC2-EEA9-3EA8-1C67-5CA194D15AC5}"/>
          </ac:spMkLst>
        </pc:spChg>
        <pc:spChg chg="mod">
          <ac:chgData name="Antony Britto" userId="d1019b0b-29f6-4a1d-ad02-0d91a36ee451" providerId="ADAL" clId="{4F250547-3E32-4C59-A9FB-E006B25467D5}" dt="2022-11-25T05:11:47.226" v="5771" actId="164"/>
          <ac:spMkLst>
            <pc:docMk/>
            <pc:sldMk cId="1842833113" sldId="403"/>
            <ac:spMk id="13" creationId="{4D409540-E67C-ED40-E625-A4F4400C81E2}"/>
          </ac:spMkLst>
        </pc:spChg>
        <pc:spChg chg="mod">
          <ac:chgData name="Antony Britto" userId="d1019b0b-29f6-4a1d-ad02-0d91a36ee451" providerId="ADAL" clId="{4F250547-3E32-4C59-A9FB-E006B25467D5}" dt="2022-11-25T05:12:12.667" v="5773" actId="1076"/>
          <ac:spMkLst>
            <pc:docMk/>
            <pc:sldMk cId="1842833113" sldId="403"/>
            <ac:spMk id="16" creationId="{D1506238-5D4D-1EA0-17E6-82FBAD48ED1B}"/>
          </ac:spMkLst>
        </pc:spChg>
        <pc:spChg chg="mod">
          <ac:chgData name="Antony Britto" userId="d1019b0b-29f6-4a1d-ad02-0d91a36ee451" providerId="ADAL" clId="{4F250547-3E32-4C59-A9FB-E006B25467D5}" dt="2022-11-25T05:12:26.645" v="5774" actId="164"/>
          <ac:spMkLst>
            <pc:docMk/>
            <pc:sldMk cId="1842833113" sldId="403"/>
            <ac:spMk id="18" creationId="{0E63121F-5DC2-9A14-7590-4D867BB6321E}"/>
          </ac:spMkLst>
        </pc:spChg>
        <pc:spChg chg="del">
          <ac:chgData name="Antony Britto" userId="d1019b0b-29f6-4a1d-ad02-0d91a36ee451" providerId="ADAL" clId="{4F250547-3E32-4C59-A9FB-E006B25467D5}" dt="2022-11-23T23:18:20.910" v="2782" actId="21"/>
          <ac:spMkLst>
            <pc:docMk/>
            <pc:sldMk cId="1842833113" sldId="403"/>
            <ac:spMk id="91" creationId="{2488374E-1A7F-6CB7-2306-E180F3E2B984}"/>
          </ac:spMkLst>
        </pc:spChg>
        <pc:spChg chg="del">
          <ac:chgData name="Antony Britto" userId="d1019b0b-29f6-4a1d-ad02-0d91a36ee451" providerId="ADAL" clId="{4F250547-3E32-4C59-A9FB-E006B25467D5}" dt="2022-11-23T23:18:20.910" v="2782" actId="21"/>
          <ac:spMkLst>
            <pc:docMk/>
            <pc:sldMk cId="1842833113" sldId="403"/>
            <ac:spMk id="92" creationId="{92413BEF-81F9-6798-C703-840CEB8F3E4A}"/>
          </ac:spMkLst>
        </pc:spChg>
        <pc:spChg chg="del">
          <ac:chgData name="Antony Britto" userId="d1019b0b-29f6-4a1d-ad02-0d91a36ee451" providerId="ADAL" clId="{4F250547-3E32-4C59-A9FB-E006B25467D5}" dt="2022-11-23T23:18:20.910" v="2782" actId="21"/>
          <ac:spMkLst>
            <pc:docMk/>
            <pc:sldMk cId="1842833113" sldId="403"/>
            <ac:spMk id="93" creationId="{E653F816-EA88-1C4E-B74F-058BEA9E2F26}"/>
          </ac:spMkLst>
        </pc:spChg>
        <pc:spChg chg="del">
          <ac:chgData name="Antony Britto" userId="d1019b0b-29f6-4a1d-ad02-0d91a36ee451" providerId="ADAL" clId="{4F250547-3E32-4C59-A9FB-E006B25467D5}" dt="2022-11-23T23:18:20.910" v="2782" actId="21"/>
          <ac:spMkLst>
            <pc:docMk/>
            <pc:sldMk cId="1842833113" sldId="403"/>
            <ac:spMk id="94" creationId="{7F96FD82-83CF-9E22-0D70-30F35672B873}"/>
          </ac:spMkLst>
        </pc:spChg>
        <pc:spChg chg="del">
          <ac:chgData name="Antony Britto" userId="d1019b0b-29f6-4a1d-ad02-0d91a36ee451" providerId="ADAL" clId="{4F250547-3E32-4C59-A9FB-E006B25467D5}" dt="2022-11-23T23:18:20.910" v="2782" actId="21"/>
          <ac:spMkLst>
            <pc:docMk/>
            <pc:sldMk cId="1842833113" sldId="403"/>
            <ac:spMk id="95" creationId="{59917969-F0A1-476D-E236-5BE0D29869AB}"/>
          </ac:spMkLst>
        </pc:spChg>
        <pc:spChg chg="del">
          <ac:chgData name="Antony Britto" userId="d1019b0b-29f6-4a1d-ad02-0d91a36ee451" providerId="ADAL" clId="{4F250547-3E32-4C59-A9FB-E006B25467D5}" dt="2022-11-23T23:18:09.755" v="2781" actId="21"/>
          <ac:spMkLst>
            <pc:docMk/>
            <pc:sldMk cId="1842833113" sldId="403"/>
            <ac:spMk id="96" creationId="{7727C674-B1E7-0476-EA43-E187048C5C89}"/>
          </ac:spMkLst>
        </pc:spChg>
        <pc:spChg chg="del">
          <ac:chgData name="Antony Britto" userId="d1019b0b-29f6-4a1d-ad02-0d91a36ee451" providerId="ADAL" clId="{4F250547-3E32-4C59-A9FB-E006B25467D5}" dt="2022-11-23T23:18:20.910" v="2782" actId="21"/>
          <ac:spMkLst>
            <pc:docMk/>
            <pc:sldMk cId="1842833113" sldId="403"/>
            <ac:spMk id="135" creationId="{28C08581-463A-7CFB-A735-BEF12C74D770}"/>
          </ac:spMkLst>
        </pc:spChg>
        <pc:spChg chg="del">
          <ac:chgData name="Antony Britto" userId="d1019b0b-29f6-4a1d-ad02-0d91a36ee451" providerId="ADAL" clId="{4F250547-3E32-4C59-A9FB-E006B25467D5}" dt="2022-11-23T23:18:20.910" v="2782" actId="21"/>
          <ac:spMkLst>
            <pc:docMk/>
            <pc:sldMk cId="1842833113" sldId="403"/>
            <ac:spMk id="136" creationId="{A2A9D9C2-AFA5-CE18-5E15-A2EFAE51B007}"/>
          </ac:spMkLst>
        </pc:spChg>
        <pc:spChg chg="del">
          <ac:chgData name="Antony Britto" userId="d1019b0b-29f6-4a1d-ad02-0d91a36ee451" providerId="ADAL" clId="{4F250547-3E32-4C59-A9FB-E006B25467D5}" dt="2022-11-23T23:18:24.837" v="2783" actId="21"/>
          <ac:spMkLst>
            <pc:docMk/>
            <pc:sldMk cId="1842833113" sldId="403"/>
            <ac:spMk id="137" creationId="{795A536F-1AAF-E534-F3D8-86EE7FFAF7D8}"/>
          </ac:spMkLst>
        </pc:spChg>
        <pc:spChg chg="del">
          <ac:chgData name="Antony Britto" userId="d1019b0b-29f6-4a1d-ad02-0d91a36ee451" providerId="ADAL" clId="{4F250547-3E32-4C59-A9FB-E006B25467D5}" dt="2022-11-23T23:18:20.910" v="2782" actId="21"/>
          <ac:spMkLst>
            <pc:docMk/>
            <pc:sldMk cId="1842833113" sldId="403"/>
            <ac:spMk id="138" creationId="{957E9661-3509-0936-AA4C-52D1F7ECA60A}"/>
          </ac:spMkLst>
        </pc:spChg>
        <pc:spChg chg="del">
          <ac:chgData name="Antony Britto" userId="d1019b0b-29f6-4a1d-ad02-0d91a36ee451" providerId="ADAL" clId="{4F250547-3E32-4C59-A9FB-E006B25467D5}" dt="2022-11-23T23:18:24.837" v="2783" actId="21"/>
          <ac:spMkLst>
            <pc:docMk/>
            <pc:sldMk cId="1842833113" sldId="403"/>
            <ac:spMk id="139" creationId="{38AD364F-4E04-C80E-C14C-9E432FCCD468}"/>
          </ac:spMkLst>
        </pc:spChg>
        <pc:spChg chg="del">
          <ac:chgData name="Antony Britto" userId="d1019b0b-29f6-4a1d-ad02-0d91a36ee451" providerId="ADAL" clId="{4F250547-3E32-4C59-A9FB-E006B25467D5}" dt="2022-11-23T23:18:20.910" v="2782" actId="21"/>
          <ac:spMkLst>
            <pc:docMk/>
            <pc:sldMk cId="1842833113" sldId="403"/>
            <ac:spMk id="140" creationId="{9116A221-2209-9521-974A-856C36EB0B07}"/>
          </ac:spMkLst>
        </pc:spChg>
        <pc:grpChg chg="add mod">
          <ac:chgData name="Antony Britto" userId="d1019b0b-29f6-4a1d-ad02-0d91a36ee451" providerId="ADAL" clId="{4F250547-3E32-4C59-A9FB-E006B25467D5}" dt="2022-11-25T05:12:26.645" v="5774" actId="164"/>
          <ac:grpSpMkLst>
            <pc:docMk/>
            <pc:sldMk cId="1842833113" sldId="403"/>
            <ac:grpSpMk id="4" creationId="{99903B7D-F043-5DCB-DB94-0C660137174D}"/>
          </ac:grpSpMkLst>
        </pc:grpChg>
        <pc:grpChg chg="add mod">
          <ac:chgData name="Antony Britto" userId="d1019b0b-29f6-4a1d-ad02-0d91a36ee451" providerId="ADAL" clId="{4F250547-3E32-4C59-A9FB-E006B25467D5}" dt="2022-11-25T05:12:26.645" v="5774" actId="164"/>
          <ac:grpSpMkLst>
            <pc:docMk/>
            <pc:sldMk cId="1842833113" sldId="403"/>
            <ac:grpSpMk id="7" creationId="{333E777D-1FB2-FBA3-B2DD-B992EE987C3F}"/>
          </ac:grpSpMkLst>
        </pc:grpChg>
        <pc:grpChg chg="add mod">
          <ac:chgData name="Antony Britto" userId="d1019b0b-29f6-4a1d-ad02-0d91a36ee451" providerId="ADAL" clId="{4F250547-3E32-4C59-A9FB-E006B25467D5}" dt="2022-11-24T16:29:28.062" v="4684" actId="14100"/>
          <ac:grpSpMkLst>
            <pc:docMk/>
            <pc:sldMk cId="1842833113" sldId="403"/>
            <ac:grpSpMk id="7" creationId="{A34FFCC6-E673-6E87-5221-71FC4BD03819}"/>
          </ac:grpSpMkLst>
        </pc:grpChg>
        <pc:grpChg chg="add mod">
          <ac:chgData name="Antony Britto" userId="d1019b0b-29f6-4a1d-ad02-0d91a36ee451" providerId="ADAL" clId="{4F250547-3E32-4C59-A9FB-E006B25467D5}" dt="2022-11-24T05:29:08.173" v="4254" actId="164"/>
          <ac:grpSpMkLst>
            <pc:docMk/>
            <pc:sldMk cId="1842833113" sldId="403"/>
            <ac:grpSpMk id="13" creationId="{B959C448-05DD-FE61-8EF0-C94D0E152427}"/>
          </ac:grpSpMkLst>
        </pc:grpChg>
        <pc:grpChg chg="add mod">
          <ac:chgData name="Antony Britto" userId="d1019b0b-29f6-4a1d-ad02-0d91a36ee451" providerId="ADAL" clId="{4F250547-3E32-4C59-A9FB-E006B25467D5}" dt="2022-11-24T05:30:31.342" v="4269" actId="164"/>
          <ac:grpSpMkLst>
            <pc:docMk/>
            <pc:sldMk cId="1842833113" sldId="403"/>
            <ac:grpSpMk id="15" creationId="{9A9A58E8-9181-977D-0E9C-E81A97C0B963}"/>
          </ac:grpSpMkLst>
        </pc:grpChg>
        <pc:graphicFrameChg chg="add mod">
          <ac:chgData name="Antony Britto" userId="d1019b0b-29f6-4a1d-ad02-0d91a36ee451" providerId="ADAL" clId="{4F250547-3E32-4C59-A9FB-E006B25467D5}" dt="2022-11-25T01:33:12.857" v="5493" actId="14100"/>
          <ac:graphicFrameMkLst>
            <pc:docMk/>
            <pc:sldMk cId="1842833113" sldId="403"/>
            <ac:graphicFrameMk id="9" creationId="{1B438C3A-1DA9-26BA-CA00-96EEA58522BD}"/>
          </ac:graphicFrameMkLst>
        </pc:graphicFrameChg>
        <pc:graphicFrameChg chg="del mod">
          <ac:chgData name="Antony Britto" userId="d1019b0b-29f6-4a1d-ad02-0d91a36ee451" providerId="ADAL" clId="{4F250547-3E32-4C59-A9FB-E006B25467D5}" dt="2022-11-24T04:41:15.784" v="4147" actId="21"/>
          <ac:graphicFrameMkLst>
            <pc:docMk/>
            <pc:sldMk cId="1842833113" sldId="403"/>
            <ac:graphicFrameMk id="19" creationId="{6F74F7D0-8590-4CD9-9C0A-244158B037A4}"/>
          </ac:graphicFrameMkLst>
        </pc:graphicFrameChg>
      </pc:sldChg>
      <pc:sldChg chg="add del">
        <pc:chgData name="Antony Britto" userId="d1019b0b-29f6-4a1d-ad02-0d91a36ee451" providerId="ADAL" clId="{4F250547-3E32-4C59-A9FB-E006B25467D5}" dt="2022-11-23T23:16:47.299" v="2775" actId="2890"/>
        <pc:sldMkLst>
          <pc:docMk/>
          <pc:sldMk cId="3908682953" sldId="403"/>
        </pc:sldMkLst>
      </pc:sldChg>
      <pc:sldChg chg="addSp delSp modSp mod">
        <pc:chgData name="Antony Britto" userId="d1019b0b-29f6-4a1d-ad02-0d91a36ee451" providerId="ADAL" clId="{4F250547-3E32-4C59-A9FB-E006B25467D5}" dt="2022-11-25T05:14:04.484" v="5780" actId="14100"/>
        <pc:sldMkLst>
          <pc:docMk/>
          <pc:sldMk cId="1652728258" sldId="404"/>
        </pc:sldMkLst>
        <pc:spChg chg="mod">
          <ac:chgData name="Antony Britto" userId="d1019b0b-29f6-4a1d-ad02-0d91a36ee451" providerId="ADAL" clId="{4F250547-3E32-4C59-A9FB-E006B25467D5}" dt="2022-11-25T05:14:04.484" v="5780" actId="14100"/>
          <ac:spMkLst>
            <pc:docMk/>
            <pc:sldMk cId="1652728258" sldId="404"/>
            <ac:spMk id="10" creationId="{A69180BC-3644-5C15-3220-B63028F819DB}"/>
          </ac:spMkLst>
        </pc:spChg>
        <pc:spChg chg="del">
          <ac:chgData name="Antony Britto" userId="d1019b0b-29f6-4a1d-ad02-0d91a36ee451" providerId="ADAL" clId="{4F250547-3E32-4C59-A9FB-E006B25467D5}" dt="2022-11-25T01:39:07.756" v="5504" actId="21"/>
          <ac:spMkLst>
            <pc:docMk/>
            <pc:sldMk cId="1652728258" sldId="404"/>
            <ac:spMk id="12" creationId="{8187FEDB-0DF5-2D56-8275-39632EFA81B9}"/>
          </ac:spMkLst>
        </pc:spChg>
        <pc:spChg chg="del mod">
          <ac:chgData name="Antony Britto" userId="d1019b0b-29f6-4a1d-ad02-0d91a36ee451" providerId="ADAL" clId="{4F250547-3E32-4C59-A9FB-E006B25467D5}" dt="2022-11-25T01:39:07.756" v="5504" actId="21"/>
          <ac:spMkLst>
            <pc:docMk/>
            <pc:sldMk cId="1652728258" sldId="404"/>
            <ac:spMk id="18" creationId="{51A28C8D-8FB5-AA80-CCE4-E59A68BF3C54}"/>
          </ac:spMkLst>
        </pc:spChg>
        <pc:spChg chg="del">
          <ac:chgData name="Antony Britto" userId="d1019b0b-29f6-4a1d-ad02-0d91a36ee451" providerId="ADAL" clId="{4F250547-3E32-4C59-A9FB-E006B25467D5}" dt="2022-11-25T01:39:07.756" v="5504" actId="21"/>
          <ac:spMkLst>
            <pc:docMk/>
            <pc:sldMk cId="1652728258" sldId="404"/>
            <ac:spMk id="19" creationId="{BF839A0E-B22A-8B64-AEC4-6E08892B2C2F}"/>
          </ac:spMkLst>
        </pc:spChg>
        <pc:spChg chg="del">
          <ac:chgData name="Antony Britto" userId="d1019b0b-29f6-4a1d-ad02-0d91a36ee451" providerId="ADAL" clId="{4F250547-3E32-4C59-A9FB-E006B25467D5}" dt="2022-11-25T01:39:07.756" v="5504" actId="21"/>
          <ac:spMkLst>
            <pc:docMk/>
            <pc:sldMk cId="1652728258" sldId="404"/>
            <ac:spMk id="20" creationId="{A41F3FA4-DBC7-F6C2-C305-C8D7FB46F1D0}"/>
          </ac:spMkLst>
        </pc:spChg>
        <pc:spChg chg="del">
          <ac:chgData name="Antony Britto" userId="d1019b0b-29f6-4a1d-ad02-0d91a36ee451" providerId="ADAL" clId="{4F250547-3E32-4C59-A9FB-E006B25467D5}" dt="2022-11-25T01:39:07.756" v="5504" actId="21"/>
          <ac:spMkLst>
            <pc:docMk/>
            <pc:sldMk cId="1652728258" sldId="404"/>
            <ac:spMk id="21" creationId="{1D820BBF-F784-AE05-2809-5C665F3540F7}"/>
          </ac:spMkLst>
        </pc:spChg>
        <pc:spChg chg="mod">
          <ac:chgData name="Antony Britto" userId="d1019b0b-29f6-4a1d-ad02-0d91a36ee451" providerId="ADAL" clId="{4F250547-3E32-4C59-A9FB-E006B25467D5}" dt="2022-11-24T23:57:56.661" v="5329" actId="20577"/>
          <ac:spMkLst>
            <pc:docMk/>
            <pc:sldMk cId="1652728258" sldId="404"/>
            <ac:spMk id="35" creationId="{E91ED981-2E93-2647-FF18-C5AACAB9A26B}"/>
          </ac:spMkLst>
        </pc:spChg>
        <pc:spChg chg="mod">
          <ac:chgData name="Antony Britto" userId="d1019b0b-29f6-4a1d-ad02-0d91a36ee451" providerId="ADAL" clId="{4F250547-3E32-4C59-A9FB-E006B25467D5}" dt="2022-11-24T23:57:48.837" v="5323" actId="20577"/>
          <ac:spMkLst>
            <pc:docMk/>
            <pc:sldMk cId="1652728258" sldId="404"/>
            <ac:spMk id="38" creationId="{4BD4F8F4-8842-5BA2-0E09-BD18F46AE267}"/>
          </ac:spMkLst>
        </pc:spChg>
        <pc:spChg chg="mod">
          <ac:chgData name="Antony Britto" userId="d1019b0b-29f6-4a1d-ad02-0d91a36ee451" providerId="ADAL" clId="{4F250547-3E32-4C59-A9FB-E006B25467D5}" dt="2022-11-25T01:39:32.205" v="5506" actId="164"/>
          <ac:spMkLst>
            <pc:docMk/>
            <pc:sldMk cId="1652728258" sldId="404"/>
            <ac:spMk id="40" creationId="{8953AF93-30CF-F8B2-9012-6801387C2179}"/>
          </ac:spMkLst>
        </pc:spChg>
        <pc:spChg chg="mod">
          <ac:chgData name="Antony Britto" userId="d1019b0b-29f6-4a1d-ad02-0d91a36ee451" providerId="ADAL" clId="{4F250547-3E32-4C59-A9FB-E006B25467D5}" dt="2022-11-25T01:39:32.205" v="5506" actId="164"/>
          <ac:spMkLst>
            <pc:docMk/>
            <pc:sldMk cId="1652728258" sldId="404"/>
            <ac:spMk id="42" creationId="{5C95FB60-2EF5-E315-9D15-460009A108DC}"/>
          </ac:spMkLst>
        </pc:spChg>
        <pc:spChg chg="mod">
          <ac:chgData name="Antony Britto" userId="d1019b0b-29f6-4a1d-ad02-0d91a36ee451" providerId="ADAL" clId="{4F250547-3E32-4C59-A9FB-E006B25467D5}" dt="2022-11-25T01:39:32.205" v="5506" actId="164"/>
          <ac:spMkLst>
            <pc:docMk/>
            <pc:sldMk cId="1652728258" sldId="404"/>
            <ac:spMk id="43" creationId="{F0D535F8-1CF6-1D85-16E7-8E4787D4287E}"/>
          </ac:spMkLst>
        </pc:spChg>
        <pc:spChg chg="mod">
          <ac:chgData name="Antony Britto" userId="d1019b0b-29f6-4a1d-ad02-0d91a36ee451" providerId="ADAL" clId="{4F250547-3E32-4C59-A9FB-E006B25467D5}" dt="2022-11-25T01:39:32.205" v="5506" actId="164"/>
          <ac:spMkLst>
            <pc:docMk/>
            <pc:sldMk cId="1652728258" sldId="404"/>
            <ac:spMk id="44" creationId="{B6AE3E2F-04A8-FBD4-49A6-9E85BC4A4092}"/>
          </ac:spMkLst>
        </pc:spChg>
        <pc:spChg chg="mod">
          <ac:chgData name="Antony Britto" userId="d1019b0b-29f6-4a1d-ad02-0d91a36ee451" providerId="ADAL" clId="{4F250547-3E32-4C59-A9FB-E006B25467D5}" dt="2022-11-25T01:39:32.205" v="5506" actId="164"/>
          <ac:spMkLst>
            <pc:docMk/>
            <pc:sldMk cId="1652728258" sldId="404"/>
            <ac:spMk id="45" creationId="{FECC4799-D77E-26FB-0B38-F9CFAA26E813}"/>
          </ac:spMkLst>
        </pc:spChg>
        <pc:grpChg chg="add mod">
          <ac:chgData name="Antony Britto" userId="d1019b0b-29f6-4a1d-ad02-0d91a36ee451" providerId="ADAL" clId="{4F250547-3E32-4C59-A9FB-E006B25467D5}" dt="2022-11-25T01:39:41.466" v="5508" actId="1076"/>
          <ac:grpSpMkLst>
            <pc:docMk/>
            <pc:sldMk cId="1652728258" sldId="404"/>
            <ac:grpSpMk id="3" creationId="{11ECC9E5-6DF7-E7A6-44D1-846DEEAF00A4}"/>
          </ac:grpSpMkLst>
        </pc:grpChg>
        <pc:graphicFrameChg chg="mod">
          <ac:chgData name="Antony Britto" userId="d1019b0b-29f6-4a1d-ad02-0d91a36ee451" providerId="ADAL" clId="{4F250547-3E32-4C59-A9FB-E006B25467D5}" dt="2022-11-25T01:39:14.630" v="5505" actId="1076"/>
          <ac:graphicFrameMkLst>
            <pc:docMk/>
            <pc:sldMk cId="1652728258" sldId="404"/>
            <ac:graphicFrameMk id="83" creationId="{EBB7D2B1-6671-0DA6-F56A-831B5935DD8D}"/>
          </ac:graphicFrameMkLst>
        </pc:graphicFrameChg>
      </pc:sldChg>
      <pc:sldChg chg="addSp delSp modSp mod">
        <pc:chgData name="Antony Britto" userId="d1019b0b-29f6-4a1d-ad02-0d91a36ee451" providerId="ADAL" clId="{4F250547-3E32-4C59-A9FB-E006B25467D5}" dt="2022-11-25T02:33:03.698" v="5575" actId="14100"/>
        <pc:sldMkLst>
          <pc:docMk/>
          <pc:sldMk cId="764108997" sldId="405"/>
        </pc:sldMkLst>
        <pc:spChg chg="mod">
          <ac:chgData name="Antony Britto" userId="d1019b0b-29f6-4a1d-ad02-0d91a36ee451" providerId="ADAL" clId="{4F250547-3E32-4C59-A9FB-E006B25467D5}" dt="2022-11-25T01:54:54.502" v="5523" actId="20577"/>
          <ac:spMkLst>
            <pc:docMk/>
            <pc:sldMk cId="764108997" sldId="405"/>
            <ac:spMk id="5" creationId="{FB1521A7-E973-8781-4339-C3EB06CC1CE6}"/>
          </ac:spMkLst>
        </pc:spChg>
        <pc:spChg chg="add mod">
          <ac:chgData name="Antony Britto" userId="d1019b0b-29f6-4a1d-ad02-0d91a36ee451" providerId="ADAL" clId="{4F250547-3E32-4C59-A9FB-E006B25467D5}" dt="2022-11-25T02:31:10.253" v="5556" actId="113"/>
          <ac:spMkLst>
            <pc:docMk/>
            <pc:sldMk cId="764108997" sldId="405"/>
            <ac:spMk id="26" creationId="{29378D53-D0D8-5997-6D75-FE873CB20F44}"/>
          </ac:spMkLst>
        </pc:spChg>
        <pc:spChg chg="add mod">
          <ac:chgData name="Antony Britto" userId="d1019b0b-29f6-4a1d-ad02-0d91a36ee451" providerId="ADAL" clId="{4F250547-3E32-4C59-A9FB-E006B25467D5}" dt="2022-11-25T02:33:03.698" v="5575" actId="14100"/>
          <ac:spMkLst>
            <pc:docMk/>
            <pc:sldMk cId="764108997" sldId="405"/>
            <ac:spMk id="30" creationId="{CC3719DF-4EA1-00B4-4F08-7C3266F9B2B5}"/>
          </ac:spMkLst>
        </pc:spChg>
        <pc:spChg chg="del">
          <ac:chgData name="Antony Britto" userId="d1019b0b-29f6-4a1d-ad02-0d91a36ee451" providerId="ADAL" clId="{4F250547-3E32-4C59-A9FB-E006B25467D5}" dt="2022-11-25T02:32:24.110" v="5567" actId="21"/>
          <ac:spMkLst>
            <pc:docMk/>
            <pc:sldMk cId="764108997" sldId="405"/>
            <ac:spMk id="45" creationId="{A192995B-9D3E-E540-2FB3-4F8D7419C3AA}"/>
          </ac:spMkLst>
        </pc:spChg>
        <pc:spChg chg="del">
          <ac:chgData name="Antony Britto" userId="d1019b0b-29f6-4a1d-ad02-0d91a36ee451" providerId="ADAL" clId="{4F250547-3E32-4C59-A9FB-E006B25467D5}" dt="2022-11-25T02:32:20.271" v="5566" actId="21"/>
          <ac:spMkLst>
            <pc:docMk/>
            <pc:sldMk cId="764108997" sldId="405"/>
            <ac:spMk id="46" creationId="{5D723E7D-6C34-5187-7D20-2F5BCFE24E51}"/>
          </ac:spMkLst>
        </pc:spChg>
        <pc:spChg chg="del">
          <ac:chgData name="Antony Britto" userId="d1019b0b-29f6-4a1d-ad02-0d91a36ee451" providerId="ADAL" clId="{4F250547-3E32-4C59-A9FB-E006B25467D5}" dt="2022-11-25T02:32:27.198" v="5568" actId="21"/>
          <ac:spMkLst>
            <pc:docMk/>
            <pc:sldMk cId="764108997" sldId="405"/>
            <ac:spMk id="47" creationId="{C449F2A9-44EC-4820-86E8-AD53644C7A57}"/>
          </ac:spMkLst>
        </pc:spChg>
        <pc:spChg chg="mod">
          <ac:chgData name="Antony Britto" userId="d1019b0b-29f6-4a1d-ad02-0d91a36ee451" providerId="ADAL" clId="{4F250547-3E32-4C59-A9FB-E006B25467D5}" dt="2022-11-25T02:29:37.815" v="5531" actId="1076"/>
          <ac:spMkLst>
            <pc:docMk/>
            <pc:sldMk cId="764108997" sldId="405"/>
            <ac:spMk id="64" creationId="{2C83D311-B780-BE8E-4490-70D46F7ECC59}"/>
          </ac:spMkLst>
        </pc:spChg>
        <pc:spChg chg="mod">
          <ac:chgData name="Antony Britto" userId="d1019b0b-29f6-4a1d-ad02-0d91a36ee451" providerId="ADAL" clId="{4F250547-3E32-4C59-A9FB-E006B25467D5}" dt="2022-11-25T02:29:42.754" v="5532" actId="1076"/>
          <ac:spMkLst>
            <pc:docMk/>
            <pc:sldMk cId="764108997" sldId="405"/>
            <ac:spMk id="65" creationId="{11CAD2A2-86C9-7DB0-FBBA-E0749CBB57F0}"/>
          </ac:spMkLst>
        </pc:spChg>
        <pc:spChg chg="mod">
          <ac:chgData name="Antony Britto" userId="d1019b0b-29f6-4a1d-ad02-0d91a36ee451" providerId="ADAL" clId="{4F250547-3E32-4C59-A9FB-E006B25467D5}" dt="2022-11-25T02:29:51.256" v="5533" actId="1076"/>
          <ac:spMkLst>
            <pc:docMk/>
            <pc:sldMk cId="764108997" sldId="405"/>
            <ac:spMk id="66" creationId="{F247B305-C8DD-5D49-6A81-CB9FA2D0A5EA}"/>
          </ac:spMkLst>
        </pc:spChg>
        <pc:spChg chg="del">
          <ac:chgData name="Antony Britto" userId="d1019b0b-29f6-4a1d-ad02-0d91a36ee451" providerId="ADAL" clId="{4F250547-3E32-4C59-A9FB-E006B25467D5}" dt="2022-11-25T02:32:30.730" v="5569" actId="21"/>
          <ac:spMkLst>
            <pc:docMk/>
            <pc:sldMk cId="764108997" sldId="405"/>
            <ac:spMk id="1940" creationId="{DA4E2485-907A-8644-EFEF-4C27FA91C2AA}"/>
          </ac:spMkLst>
        </pc:spChg>
        <pc:spChg chg="del">
          <ac:chgData name="Antony Britto" userId="d1019b0b-29f6-4a1d-ad02-0d91a36ee451" providerId="ADAL" clId="{4F250547-3E32-4C59-A9FB-E006B25467D5}" dt="2022-11-25T02:32:34.310" v="5570" actId="21"/>
          <ac:spMkLst>
            <pc:docMk/>
            <pc:sldMk cId="764108997" sldId="405"/>
            <ac:spMk id="1946" creationId="{B94F65D4-1A55-A124-0BF2-6115FB24543D}"/>
          </ac:spMkLst>
        </pc:spChg>
        <pc:spChg chg="del mod">
          <ac:chgData name="Antony Britto" userId="d1019b0b-29f6-4a1d-ad02-0d91a36ee451" providerId="ADAL" clId="{4F250547-3E32-4C59-A9FB-E006B25467D5}" dt="2022-11-25T02:32:43.688" v="5572" actId="21"/>
          <ac:spMkLst>
            <pc:docMk/>
            <pc:sldMk cId="764108997" sldId="405"/>
            <ac:spMk id="1951" creationId="{9E82E0DD-5718-F69C-359D-2F2B27BACB64}"/>
          </ac:spMkLst>
        </pc:spChg>
        <pc:spChg chg="mod">
          <ac:chgData name="Antony Britto" userId="d1019b0b-29f6-4a1d-ad02-0d91a36ee451" providerId="ADAL" clId="{4F250547-3E32-4C59-A9FB-E006B25467D5}" dt="2022-11-25T02:29:05.735" v="5528" actId="1076"/>
          <ac:spMkLst>
            <pc:docMk/>
            <pc:sldMk cId="764108997" sldId="405"/>
            <ac:spMk id="1981" creationId="{15D6A983-0F1E-9F92-C0F7-CE738691772C}"/>
          </ac:spMkLst>
        </pc:spChg>
        <pc:spChg chg="mod">
          <ac:chgData name="Antony Britto" userId="d1019b0b-29f6-4a1d-ad02-0d91a36ee451" providerId="ADAL" clId="{4F250547-3E32-4C59-A9FB-E006B25467D5}" dt="2022-11-25T02:29:14.839" v="5529" actId="1076"/>
          <ac:spMkLst>
            <pc:docMk/>
            <pc:sldMk cId="764108997" sldId="405"/>
            <ac:spMk id="1982" creationId="{906D4B9A-ED4B-CCC3-B835-8C7D2491E3B3}"/>
          </ac:spMkLst>
        </pc:spChg>
        <pc:spChg chg="mod">
          <ac:chgData name="Antony Britto" userId="d1019b0b-29f6-4a1d-ad02-0d91a36ee451" providerId="ADAL" clId="{4F250547-3E32-4C59-A9FB-E006B25467D5}" dt="2022-11-25T02:29:21.408" v="5530" actId="1076"/>
          <ac:spMkLst>
            <pc:docMk/>
            <pc:sldMk cId="764108997" sldId="405"/>
            <ac:spMk id="1983" creationId="{BBE2D43E-5BFA-0E7B-D394-8EA9A4D02660}"/>
          </ac:spMkLst>
        </pc:spChg>
        <pc:spChg chg="mod">
          <ac:chgData name="Antony Britto" userId="d1019b0b-29f6-4a1d-ad02-0d91a36ee451" providerId="ADAL" clId="{4F250547-3E32-4C59-A9FB-E006B25467D5}" dt="2022-11-25T01:54:48.383" v="5522" actId="14100"/>
          <ac:spMkLst>
            <pc:docMk/>
            <pc:sldMk cId="764108997" sldId="405"/>
            <ac:spMk id="2169" creationId="{D5312260-CB52-B673-3B12-FA866611CD17}"/>
          </ac:spMkLst>
        </pc:spChg>
        <pc:graphicFrameChg chg="mod modGraphic">
          <ac:chgData name="Antony Britto" userId="d1019b0b-29f6-4a1d-ad02-0d91a36ee451" providerId="ADAL" clId="{4F250547-3E32-4C59-A9FB-E006B25467D5}" dt="2022-11-25T02:30:38.604" v="5547" actId="20577"/>
          <ac:graphicFrameMkLst>
            <pc:docMk/>
            <pc:sldMk cId="764108997" sldId="405"/>
            <ac:graphicFrameMk id="106" creationId="{E66C2E99-0798-F9D4-6281-67116FDC7C55}"/>
          </ac:graphicFrameMkLst>
        </pc:graphicFrameChg>
      </pc:sldChg>
      <pc:sldChg chg="addSp modSp mod">
        <pc:chgData name="Antony Britto" userId="d1019b0b-29f6-4a1d-ad02-0d91a36ee451" providerId="ADAL" clId="{4F250547-3E32-4C59-A9FB-E006B25467D5}" dt="2022-11-25T06:19:38.671" v="5908" actId="20577"/>
        <pc:sldMkLst>
          <pc:docMk/>
          <pc:sldMk cId="2192655461" sldId="406"/>
        </pc:sldMkLst>
        <pc:spChg chg="mod">
          <ac:chgData name="Antony Britto" userId="d1019b0b-29f6-4a1d-ad02-0d91a36ee451" providerId="ADAL" clId="{4F250547-3E32-4C59-A9FB-E006B25467D5}" dt="2022-11-25T02:37:17.165" v="5611" actId="20577"/>
          <ac:spMkLst>
            <pc:docMk/>
            <pc:sldMk cId="2192655461" sldId="406"/>
            <ac:spMk id="7" creationId="{A3B75CFF-8241-49EF-6927-1019D6AC9966}"/>
          </ac:spMkLst>
        </pc:spChg>
        <pc:spChg chg="mod">
          <ac:chgData name="Antony Britto" userId="d1019b0b-29f6-4a1d-ad02-0d91a36ee451" providerId="ADAL" clId="{4F250547-3E32-4C59-A9FB-E006B25467D5}" dt="2022-11-25T06:14:57.628" v="5835" actId="1076"/>
          <ac:spMkLst>
            <pc:docMk/>
            <pc:sldMk cId="2192655461" sldId="406"/>
            <ac:spMk id="13" creationId="{876B2BC4-F43D-2820-FA93-E9067B085B6C}"/>
          </ac:spMkLst>
        </pc:spChg>
        <pc:spChg chg="mod">
          <ac:chgData name="Antony Britto" userId="d1019b0b-29f6-4a1d-ad02-0d91a36ee451" providerId="ADAL" clId="{4F250547-3E32-4C59-A9FB-E006B25467D5}" dt="2022-11-25T06:15:32.078" v="5856" actId="20577"/>
          <ac:spMkLst>
            <pc:docMk/>
            <pc:sldMk cId="2192655461" sldId="406"/>
            <ac:spMk id="14" creationId="{82AC1B6D-D73A-07C3-8428-BF34F06908EA}"/>
          </ac:spMkLst>
        </pc:spChg>
        <pc:spChg chg="mod">
          <ac:chgData name="Antony Britto" userId="d1019b0b-29f6-4a1d-ad02-0d91a36ee451" providerId="ADAL" clId="{4F250547-3E32-4C59-A9FB-E006B25467D5}" dt="2022-11-25T06:13:30.848" v="5798" actId="1076"/>
          <ac:spMkLst>
            <pc:docMk/>
            <pc:sldMk cId="2192655461" sldId="406"/>
            <ac:spMk id="111" creationId="{A5C2468F-4CD1-D0CE-8449-5B8321AAA353}"/>
          </ac:spMkLst>
        </pc:spChg>
        <pc:spChg chg="mod">
          <ac:chgData name="Antony Britto" userId="d1019b0b-29f6-4a1d-ad02-0d91a36ee451" providerId="ADAL" clId="{4F250547-3E32-4C59-A9FB-E006B25467D5}" dt="2022-11-25T06:19:01.443" v="5904" actId="1076"/>
          <ac:spMkLst>
            <pc:docMk/>
            <pc:sldMk cId="2192655461" sldId="406"/>
            <ac:spMk id="113" creationId="{877BF9B6-8FDF-43CE-3D52-A43682AB7789}"/>
          </ac:spMkLst>
        </pc:spChg>
        <pc:spChg chg="mod">
          <ac:chgData name="Antony Britto" userId="d1019b0b-29f6-4a1d-ad02-0d91a36ee451" providerId="ADAL" clId="{4F250547-3E32-4C59-A9FB-E006B25467D5}" dt="2022-11-25T06:19:24.227" v="5907" actId="1076"/>
          <ac:spMkLst>
            <pc:docMk/>
            <pc:sldMk cId="2192655461" sldId="406"/>
            <ac:spMk id="114" creationId="{C66DC188-DA06-A1B8-4F5F-59B4DF04D553}"/>
          </ac:spMkLst>
        </pc:spChg>
        <pc:spChg chg="mod">
          <ac:chgData name="Antony Britto" userId="d1019b0b-29f6-4a1d-ad02-0d91a36ee451" providerId="ADAL" clId="{4F250547-3E32-4C59-A9FB-E006B25467D5}" dt="2022-11-25T06:18:21.506" v="5895" actId="1076"/>
          <ac:spMkLst>
            <pc:docMk/>
            <pc:sldMk cId="2192655461" sldId="406"/>
            <ac:spMk id="197" creationId="{0B9CF22E-D322-5FD9-2EC4-16CDBA3B4441}"/>
          </ac:spMkLst>
        </pc:spChg>
        <pc:spChg chg="mod">
          <ac:chgData name="Antony Britto" userId="d1019b0b-29f6-4a1d-ad02-0d91a36ee451" providerId="ADAL" clId="{4F250547-3E32-4C59-A9FB-E006B25467D5}" dt="2022-11-25T06:17:06.499" v="5887" actId="1076"/>
          <ac:spMkLst>
            <pc:docMk/>
            <pc:sldMk cId="2192655461" sldId="406"/>
            <ac:spMk id="199" creationId="{C2647A23-3944-2E48-A0B7-80164F38B5CD}"/>
          </ac:spMkLst>
        </pc:spChg>
        <pc:spChg chg="mod">
          <ac:chgData name="Antony Britto" userId="d1019b0b-29f6-4a1d-ad02-0d91a36ee451" providerId="ADAL" clId="{4F250547-3E32-4C59-A9FB-E006B25467D5}" dt="2022-11-25T06:18:17.011" v="5894" actId="1076"/>
          <ac:spMkLst>
            <pc:docMk/>
            <pc:sldMk cId="2192655461" sldId="406"/>
            <ac:spMk id="201" creationId="{D0812E38-082E-C56E-0570-11550BC44C96}"/>
          </ac:spMkLst>
        </pc:spChg>
        <pc:spChg chg="mod">
          <ac:chgData name="Antony Britto" userId="d1019b0b-29f6-4a1d-ad02-0d91a36ee451" providerId="ADAL" clId="{4F250547-3E32-4C59-A9FB-E006B25467D5}" dt="2022-11-25T06:16:08.831" v="5869" actId="1076"/>
          <ac:spMkLst>
            <pc:docMk/>
            <pc:sldMk cId="2192655461" sldId="406"/>
            <ac:spMk id="202" creationId="{0C5D58BB-A65C-1319-9FA9-A111269ECBF6}"/>
          </ac:spMkLst>
        </pc:spChg>
        <pc:spChg chg="mod">
          <ac:chgData name="Antony Britto" userId="d1019b0b-29f6-4a1d-ad02-0d91a36ee451" providerId="ADAL" clId="{4F250547-3E32-4C59-A9FB-E006B25467D5}" dt="2022-11-25T02:36:58.759" v="5606" actId="20577"/>
          <ac:spMkLst>
            <pc:docMk/>
            <pc:sldMk cId="2192655461" sldId="406"/>
            <ac:spMk id="455" creationId="{BDEF7E5E-AF2D-8440-3862-ABEF4445B469}"/>
          </ac:spMkLst>
        </pc:spChg>
        <pc:spChg chg="mod">
          <ac:chgData name="Antony Britto" userId="d1019b0b-29f6-4a1d-ad02-0d91a36ee451" providerId="ADAL" clId="{4F250547-3E32-4C59-A9FB-E006B25467D5}" dt="2022-11-25T02:37:00.374" v="5607" actId="20577"/>
          <ac:spMkLst>
            <pc:docMk/>
            <pc:sldMk cId="2192655461" sldId="406"/>
            <ac:spMk id="456" creationId="{78480057-3273-2A41-B9B1-D2E35D63AD8F}"/>
          </ac:spMkLst>
        </pc:spChg>
        <pc:spChg chg="mod">
          <ac:chgData name="Antony Britto" userId="d1019b0b-29f6-4a1d-ad02-0d91a36ee451" providerId="ADAL" clId="{4F250547-3E32-4C59-A9FB-E006B25467D5}" dt="2022-11-25T02:37:02.007" v="5608" actId="20577"/>
          <ac:spMkLst>
            <pc:docMk/>
            <pc:sldMk cId="2192655461" sldId="406"/>
            <ac:spMk id="457" creationId="{E02997C6-131C-E4ED-8DBD-798E61891091}"/>
          </ac:spMkLst>
        </pc:spChg>
        <pc:spChg chg="mod">
          <ac:chgData name="Antony Britto" userId="d1019b0b-29f6-4a1d-ad02-0d91a36ee451" providerId="ADAL" clId="{4F250547-3E32-4C59-A9FB-E006B25467D5}" dt="2022-11-25T02:37:03.370" v="5609" actId="20577"/>
          <ac:spMkLst>
            <pc:docMk/>
            <pc:sldMk cId="2192655461" sldId="406"/>
            <ac:spMk id="458" creationId="{1DC1D10B-51AF-5D0D-425B-CCE959E0637B}"/>
          </ac:spMkLst>
        </pc:spChg>
        <pc:spChg chg="mod">
          <ac:chgData name="Antony Britto" userId="d1019b0b-29f6-4a1d-ad02-0d91a36ee451" providerId="ADAL" clId="{4F250547-3E32-4C59-A9FB-E006B25467D5}" dt="2022-11-25T02:37:04.622" v="5610" actId="20577"/>
          <ac:spMkLst>
            <pc:docMk/>
            <pc:sldMk cId="2192655461" sldId="406"/>
            <ac:spMk id="459" creationId="{B0F08882-A5AE-9B59-E3CB-FB0419BF5275}"/>
          </ac:spMkLst>
        </pc:spChg>
        <pc:spChg chg="mod">
          <ac:chgData name="Antony Britto" userId="d1019b0b-29f6-4a1d-ad02-0d91a36ee451" providerId="ADAL" clId="{4F250547-3E32-4C59-A9FB-E006B25467D5}" dt="2022-11-25T00:11:03.009" v="5340" actId="20577"/>
          <ac:spMkLst>
            <pc:docMk/>
            <pc:sldMk cId="2192655461" sldId="406"/>
            <ac:spMk id="491" creationId="{15864351-0DAA-E18A-D298-973068F6BE6B}"/>
          </ac:spMkLst>
        </pc:spChg>
        <pc:spChg chg="mod">
          <ac:chgData name="Antony Britto" userId="d1019b0b-29f6-4a1d-ad02-0d91a36ee451" providerId="ADAL" clId="{4F250547-3E32-4C59-A9FB-E006B25467D5}" dt="2022-11-25T06:16:53.301" v="5884" actId="1076"/>
          <ac:spMkLst>
            <pc:docMk/>
            <pc:sldMk cId="2192655461" sldId="406"/>
            <ac:spMk id="720" creationId="{FB30818D-9DAF-73E4-7BBB-03732C1A36F9}"/>
          </ac:spMkLst>
        </pc:spChg>
        <pc:spChg chg="mod">
          <ac:chgData name="Antony Britto" userId="d1019b0b-29f6-4a1d-ad02-0d91a36ee451" providerId="ADAL" clId="{4F250547-3E32-4C59-A9FB-E006B25467D5}" dt="2022-11-25T06:19:38.671" v="5908" actId="20577"/>
          <ac:spMkLst>
            <pc:docMk/>
            <pc:sldMk cId="2192655461" sldId="406"/>
            <ac:spMk id="810" creationId="{35D18E38-4528-C822-4288-C8ABAD59E62F}"/>
          </ac:spMkLst>
        </pc:spChg>
        <pc:spChg chg="mod">
          <ac:chgData name="Antony Britto" userId="d1019b0b-29f6-4a1d-ad02-0d91a36ee451" providerId="ADAL" clId="{4F250547-3E32-4C59-A9FB-E006B25467D5}" dt="2022-11-25T00:11:08.415" v="5343" actId="20577"/>
          <ac:spMkLst>
            <pc:docMk/>
            <pc:sldMk cId="2192655461" sldId="406"/>
            <ac:spMk id="853" creationId="{5D10E0BE-59B9-6416-0974-F82FD7B4AA53}"/>
          </ac:spMkLst>
        </pc:spChg>
        <pc:spChg chg="mod">
          <ac:chgData name="Antony Britto" userId="d1019b0b-29f6-4a1d-ad02-0d91a36ee451" providerId="ADAL" clId="{4F250547-3E32-4C59-A9FB-E006B25467D5}" dt="2022-11-25T00:11:11.209" v="5344" actId="20577"/>
          <ac:spMkLst>
            <pc:docMk/>
            <pc:sldMk cId="2192655461" sldId="406"/>
            <ac:spMk id="854" creationId="{61D00A93-932B-D633-083F-C00C836E683A}"/>
          </ac:spMkLst>
        </pc:spChg>
        <pc:spChg chg="mod">
          <ac:chgData name="Antony Britto" userId="d1019b0b-29f6-4a1d-ad02-0d91a36ee451" providerId="ADAL" clId="{4F250547-3E32-4C59-A9FB-E006B25467D5}" dt="2022-11-25T00:11:14.371" v="5347" actId="20577"/>
          <ac:spMkLst>
            <pc:docMk/>
            <pc:sldMk cId="2192655461" sldId="406"/>
            <ac:spMk id="855" creationId="{1E51611C-3455-16C1-39BE-A7C24EC67F60}"/>
          </ac:spMkLst>
        </pc:spChg>
        <pc:spChg chg="mod">
          <ac:chgData name="Antony Britto" userId="d1019b0b-29f6-4a1d-ad02-0d91a36ee451" providerId="ADAL" clId="{4F250547-3E32-4C59-A9FB-E006B25467D5}" dt="2022-11-25T00:11:16.380" v="5348" actId="20577"/>
          <ac:spMkLst>
            <pc:docMk/>
            <pc:sldMk cId="2192655461" sldId="406"/>
            <ac:spMk id="856" creationId="{D1419DD8-CE5D-E097-53A6-98C7824F3AA3}"/>
          </ac:spMkLst>
        </pc:spChg>
        <pc:spChg chg="mod">
          <ac:chgData name="Antony Britto" userId="d1019b0b-29f6-4a1d-ad02-0d91a36ee451" providerId="ADAL" clId="{4F250547-3E32-4C59-A9FB-E006B25467D5}" dt="2022-11-25T00:11:20.653" v="5352" actId="20577"/>
          <ac:spMkLst>
            <pc:docMk/>
            <pc:sldMk cId="2192655461" sldId="406"/>
            <ac:spMk id="857" creationId="{9A1BD233-6E0B-8F88-97FE-BAA9ACEC1EB4}"/>
          </ac:spMkLst>
        </pc:spChg>
        <pc:graphicFrameChg chg="mod">
          <ac:chgData name="Antony Britto" userId="d1019b0b-29f6-4a1d-ad02-0d91a36ee451" providerId="ADAL" clId="{4F250547-3E32-4C59-A9FB-E006B25467D5}" dt="2022-11-25T03:14:43.573" v="5635" actId="692"/>
          <ac:graphicFrameMkLst>
            <pc:docMk/>
            <pc:sldMk cId="2192655461" sldId="406"/>
            <ac:graphicFrameMk id="733" creationId="{DAFBDA4A-1465-2492-E2EB-797FE42BB33F}"/>
          </ac:graphicFrameMkLst>
        </pc:graphicFrameChg>
        <pc:graphicFrameChg chg="mod">
          <ac:chgData name="Antony Britto" userId="d1019b0b-29f6-4a1d-ad02-0d91a36ee451" providerId="ADAL" clId="{4F250547-3E32-4C59-A9FB-E006B25467D5}" dt="2022-11-25T03:14:28.264" v="5628" actId="692"/>
          <ac:graphicFrameMkLst>
            <pc:docMk/>
            <pc:sldMk cId="2192655461" sldId="406"/>
            <ac:graphicFrameMk id="882" creationId="{E51AF77C-BCE1-03A6-A126-C13281024BB8}"/>
          </ac:graphicFrameMkLst>
        </pc:graphicFrameChg>
        <pc:graphicFrameChg chg="mod">
          <ac:chgData name="Antony Britto" userId="d1019b0b-29f6-4a1d-ad02-0d91a36ee451" providerId="ADAL" clId="{4F250547-3E32-4C59-A9FB-E006B25467D5}" dt="2022-11-25T06:17:31.427" v="5891"/>
          <ac:graphicFrameMkLst>
            <pc:docMk/>
            <pc:sldMk cId="2192655461" sldId="406"/>
            <ac:graphicFrameMk id="998" creationId="{005A4D09-490A-A6B8-8C50-415CDD55CCFC}"/>
          </ac:graphicFrameMkLst>
        </pc:graphicFrameChg>
        <pc:cxnChg chg="add mod">
          <ac:chgData name="Antony Britto" userId="d1019b0b-29f6-4a1d-ad02-0d91a36ee451" providerId="ADAL" clId="{4F250547-3E32-4C59-A9FB-E006B25467D5}" dt="2022-11-25T06:17:08.768" v="5888" actId="14100"/>
          <ac:cxnSpMkLst>
            <pc:docMk/>
            <pc:sldMk cId="2192655461" sldId="406"/>
            <ac:cxnSpMk id="2" creationId="{B00938FD-31F4-0A53-B265-F906D1569945}"/>
          </ac:cxnSpMkLst>
        </pc:cxnChg>
        <pc:cxnChg chg="add mod">
          <ac:chgData name="Antony Britto" userId="d1019b0b-29f6-4a1d-ad02-0d91a36ee451" providerId="ADAL" clId="{4F250547-3E32-4C59-A9FB-E006B25467D5}" dt="2022-11-25T06:13:44.291" v="5801" actId="14100"/>
          <ac:cxnSpMkLst>
            <pc:docMk/>
            <pc:sldMk cId="2192655461" sldId="406"/>
            <ac:cxnSpMk id="4" creationId="{C5EE5B9F-F679-2F44-B168-A4149808F8D5}"/>
          </ac:cxnSpMkLst>
        </pc:cxnChg>
        <pc:cxnChg chg="add mod">
          <ac:chgData name="Antony Britto" userId="d1019b0b-29f6-4a1d-ad02-0d91a36ee451" providerId="ADAL" clId="{4F250547-3E32-4C59-A9FB-E006B25467D5}" dt="2022-11-25T06:19:03.910" v="5905" actId="14100"/>
          <ac:cxnSpMkLst>
            <pc:docMk/>
            <pc:sldMk cId="2192655461" sldId="406"/>
            <ac:cxnSpMk id="12" creationId="{5ED90000-F4BF-22C4-F103-070B7A10B5E8}"/>
          </ac:cxnSpMkLst>
        </pc:cxnChg>
        <pc:cxnChg chg="add mod">
          <ac:chgData name="Antony Britto" userId="d1019b0b-29f6-4a1d-ad02-0d91a36ee451" providerId="ADAL" clId="{4F250547-3E32-4C59-A9FB-E006B25467D5}" dt="2022-11-25T06:18:32.110" v="5899" actId="14100"/>
          <ac:cxnSpMkLst>
            <pc:docMk/>
            <pc:sldMk cId="2192655461" sldId="406"/>
            <ac:cxnSpMk id="26" creationId="{DD76E73C-5FF2-EABD-D1B7-5C42CD899D86}"/>
          </ac:cxnSpMkLst>
        </pc:cxnChg>
        <pc:cxnChg chg="mod">
          <ac:chgData name="Antony Britto" userId="d1019b0b-29f6-4a1d-ad02-0d91a36ee451" providerId="ADAL" clId="{4F250547-3E32-4C59-A9FB-E006B25467D5}" dt="2022-11-25T06:18:23.865" v="5896" actId="14100"/>
          <ac:cxnSpMkLst>
            <pc:docMk/>
            <pc:sldMk cId="2192655461" sldId="406"/>
            <ac:cxnSpMk id="731" creationId="{D1FB16BB-DB94-F6A6-FBB7-9E2916D36F03}"/>
          </ac:cxnSpMkLst>
        </pc:cxnChg>
        <pc:cxnChg chg="mod">
          <ac:chgData name="Antony Britto" userId="d1019b0b-29f6-4a1d-ad02-0d91a36ee451" providerId="ADAL" clId="{4F250547-3E32-4C59-A9FB-E006B25467D5}" dt="2022-11-25T06:16:57.701" v="5885" actId="14100"/>
          <ac:cxnSpMkLst>
            <pc:docMk/>
            <pc:sldMk cId="2192655461" sldId="406"/>
            <ac:cxnSpMk id="732" creationId="{9D2A3E45-DD94-21D2-D901-F48D4D96987D}"/>
          </ac:cxnSpMkLst>
        </pc:cxnChg>
        <pc:cxnChg chg="mod">
          <ac:chgData name="Antony Britto" userId="d1019b0b-29f6-4a1d-ad02-0d91a36ee451" providerId="ADAL" clId="{4F250547-3E32-4C59-A9FB-E006B25467D5}" dt="2022-11-25T06:17:47.305" v="5893" actId="14100"/>
          <ac:cxnSpMkLst>
            <pc:docMk/>
            <pc:sldMk cId="2192655461" sldId="406"/>
            <ac:cxnSpMk id="821" creationId="{7009260E-DA89-0D72-2021-657758A2AF78}"/>
          </ac:cxnSpMkLst>
        </pc:cxnChg>
        <pc:cxnChg chg="mod">
          <ac:chgData name="Antony Britto" userId="d1019b0b-29f6-4a1d-ad02-0d91a36ee451" providerId="ADAL" clId="{4F250547-3E32-4C59-A9FB-E006B25467D5}" dt="2022-11-25T06:13:24.766" v="5797" actId="14100"/>
          <ac:cxnSpMkLst>
            <pc:docMk/>
            <pc:sldMk cId="2192655461" sldId="406"/>
            <ac:cxnSpMk id="822" creationId="{7605AC4E-BA30-89EF-E7CC-0F686F9AD831}"/>
          </ac:cxnSpMkLst>
        </pc:cxnChg>
      </pc:sldChg>
      <pc:sldChg chg="modSp mod modAnim">
        <pc:chgData name="Antony Britto" userId="d1019b0b-29f6-4a1d-ad02-0d91a36ee451" providerId="ADAL" clId="{4F250547-3E32-4C59-A9FB-E006B25467D5}" dt="2022-11-25T05:11:07.335" v="5770"/>
        <pc:sldMkLst>
          <pc:docMk/>
          <pc:sldMk cId="3238663224" sldId="407"/>
        </pc:sldMkLst>
        <pc:spChg chg="mod">
          <ac:chgData name="Antony Britto" userId="d1019b0b-29f6-4a1d-ad02-0d91a36ee451" providerId="ADAL" clId="{4F250547-3E32-4C59-A9FB-E006B25467D5}" dt="2022-11-25T01:28:50.981" v="5477" actId="20577"/>
          <ac:spMkLst>
            <pc:docMk/>
            <pc:sldMk cId="3238663224" sldId="407"/>
            <ac:spMk id="13" creationId="{911DC44D-23D0-88EF-735A-B59187964850}"/>
          </ac:spMkLst>
        </pc:spChg>
        <pc:grpChg chg="mod">
          <ac:chgData name="Antony Britto" userId="d1019b0b-29f6-4a1d-ad02-0d91a36ee451" providerId="ADAL" clId="{4F250547-3E32-4C59-A9FB-E006B25467D5}" dt="2022-11-25T01:34:10.225" v="5495" actId="14100"/>
          <ac:grpSpMkLst>
            <pc:docMk/>
            <pc:sldMk cId="3238663224" sldId="407"/>
            <ac:grpSpMk id="7" creationId="{AD03A182-C9F1-F9D8-F10C-DBD59B9CDF8F}"/>
          </ac:grpSpMkLst>
        </pc:grpChg>
        <pc:graphicFrameChg chg="mod">
          <ac:chgData name="Antony Britto" userId="d1019b0b-29f6-4a1d-ad02-0d91a36ee451" providerId="ADAL" clId="{4F250547-3E32-4C59-A9FB-E006B25467D5}" dt="2022-11-25T01:30:27.194" v="5483" actId="14100"/>
          <ac:graphicFrameMkLst>
            <pc:docMk/>
            <pc:sldMk cId="3238663224" sldId="407"/>
            <ac:graphicFrameMk id="9" creationId="{21F7432A-F56F-B337-F4C4-88633C2D2ECF}"/>
          </ac:graphicFrameMkLst>
        </pc:graphicFrameChg>
        <pc:picChg chg="mod">
          <ac:chgData name="Antony Britto" userId="d1019b0b-29f6-4a1d-ad02-0d91a36ee451" providerId="ADAL" clId="{4F250547-3E32-4C59-A9FB-E006B25467D5}" dt="2022-11-25T01:31:20.057" v="5486" actId="1076"/>
          <ac:picMkLst>
            <pc:docMk/>
            <pc:sldMk cId="3238663224" sldId="407"/>
            <ac:picMk id="25" creationId="{8721EE94-BBF9-AD17-8656-C31B95BF522F}"/>
          </ac:picMkLst>
        </pc:picChg>
      </pc:sldChg>
      <pc:sldChg chg="delSp mod ord">
        <pc:chgData name="Antony Britto" userId="d1019b0b-29f6-4a1d-ad02-0d91a36ee451" providerId="ADAL" clId="{4F250547-3E32-4C59-A9FB-E006B25467D5}" dt="2022-11-25T02:28:45.309" v="5527"/>
        <pc:sldMkLst>
          <pc:docMk/>
          <pc:sldMk cId="3623898369" sldId="408"/>
        </pc:sldMkLst>
        <pc:spChg chg="del">
          <ac:chgData name="Antony Britto" userId="d1019b0b-29f6-4a1d-ad02-0d91a36ee451" providerId="ADAL" clId="{4F250547-3E32-4C59-A9FB-E006B25467D5}" dt="2022-11-25T01:31:52.261" v="5487" actId="21"/>
          <ac:spMkLst>
            <pc:docMk/>
            <pc:sldMk cId="3623898369" sldId="408"/>
            <ac:spMk id="71" creationId="{D7C9CB6C-5BC1-CEC1-BCFE-A71B04E29F24}"/>
          </ac:spMkLst>
        </pc:spChg>
      </pc:sldChg>
      <pc:sldChg chg="addSp delSp modSp mod">
        <pc:chgData name="Antony Britto" userId="d1019b0b-29f6-4a1d-ad02-0d91a36ee451" providerId="ADAL" clId="{4F250547-3E32-4C59-A9FB-E006B25467D5}" dt="2022-11-25T15:06:36.764" v="5910" actId="14861"/>
        <pc:sldMkLst>
          <pc:docMk/>
          <pc:sldMk cId="729331847" sldId="409"/>
        </pc:sldMkLst>
        <pc:spChg chg="mod">
          <ac:chgData name="Antony Britto" userId="d1019b0b-29f6-4a1d-ad02-0d91a36ee451" providerId="ADAL" clId="{4F250547-3E32-4C59-A9FB-E006B25467D5}" dt="2022-11-25T04:43:53.623" v="5651" actId="21"/>
          <ac:spMkLst>
            <pc:docMk/>
            <pc:sldMk cId="729331847" sldId="409"/>
            <ac:spMk id="4" creationId="{CBBCF139-E7AA-C5C8-DAB6-86C35BDBFF92}"/>
          </ac:spMkLst>
        </pc:spChg>
        <pc:spChg chg="mod">
          <ac:chgData name="Antony Britto" userId="d1019b0b-29f6-4a1d-ad02-0d91a36ee451" providerId="ADAL" clId="{4F250547-3E32-4C59-A9FB-E006B25467D5}" dt="2022-11-25T04:46:15.979" v="5665" actId="21"/>
          <ac:spMkLst>
            <pc:docMk/>
            <pc:sldMk cId="729331847" sldId="409"/>
            <ac:spMk id="5" creationId="{DEA13EB4-83A6-3CFC-C843-470F5190CB62}"/>
          </ac:spMkLst>
        </pc:spChg>
        <pc:spChg chg="mod">
          <ac:chgData name="Antony Britto" userId="d1019b0b-29f6-4a1d-ad02-0d91a36ee451" providerId="ADAL" clId="{4F250547-3E32-4C59-A9FB-E006B25467D5}" dt="2022-11-25T04:46:09.929" v="5662" actId="21"/>
          <ac:spMkLst>
            <pc:docMk/>
            <pc:sldMk cId="729331847" sldId="409"/>
            <ac:spMk id="6" creationId="{09975C54-DA64-2537-DB3C-3C3ACC6B2A05}"/>
          </ac:spMkLst>
        </pc:spChg>
        <pc:spChg chg="add mod">
          <ac:chgData name="Antony Britto" userId="d1019b0b-29f6-4a1d-ad02-0d91a36ee451" providerId="ADAL" clId="{4F250547-3E32-4C59-A9FB-E006B25467D5}" dt="2022-11-25T04:57:21.936" v="5742" actId="1076"/>
          <ac:spMkLst>
            <pc:docMk/>
            <pc:sldMk cId="729331847" sldId="409"/>
            <ac:spMk id="12" creationId="{E30D62BF-3E99-7577-9E75-D221749B51B0}"/>
          </ac:spMkLst>
        </pc:spChg>
        <pc:spChg chg="add mod">
          <ac:chgData name="Antony Britto" userId="d1019b0b-29f6-4a1d-ad02-0d91a36ee451" providerId="ADAL" clId="{4F250547-3E32-4C59-A9FB-E006B25467D5}" dt="2022-11-25T04:56:34.009" v="5735" actId="1076"/>
          <ac:spMkLst>
            <pc:docMk/>
            <pc:sldMk cId="729331847" sldId="409"/>
            <ac:spMk id="13" creationId="{EBC6598F-22AE-971C-4A03-B2005F143D78}"/>
          </ac:spMkLst>
        </pc:spChg>
        <pc:spChg chg="add mod">
          <ac:chgData name="Antony Britto" userId="d1019b0b-29f6-4a1d-ad02-0d91a36ee451" providerId="ADAL" clId="{4F250547-3E32-4C59-A9FB-E006B25467D5}" dt="2022-11-25T04:57:09.441" v="5740" actId="1076"/>
          <ac:spMkLst>
            <pc:docMk/>
            <pc:sldMk cId="729331847" sldId="409"/>
            <ac:spMk id="14" creationId="{2801881B-EFEE-02CE-51E8-805009AD27FD}"/>
          </ac:spMkLst>
        </pc:spChg>
        <pc:grpChg chg="del">
          <ac:chgData name="Antony Britto" userId="d1019b0b-29f6-4a1d-ad02-0d91a36ee451" providerId="ADAL" clId="{4F250547-3E32-4C59-A9FB-E006B25467D5}" dt="2022-11-25T04:46:35.990" v="5668" actId="21"/>
          <ac:grpSpMkLst>
            <pc:docMk/>
            <pc:sldMk cId="729331847" sldId="409"/>
            <ac:grpSpMk id="17" creationId="{D2612C2F-643F-D0DE-C079-BAA20C7DF338}"/>
          </ac:grpSpMkLst>
        </pc:grpChg>
        <pc:grpChg chg="del">
          <ac:chgData name="Antony Britto" userId="d1019b0b-29f6-4a1d-ad02-0d91a36ee451" providerId="ADAL" clId="{4F250547-3E32-4C59-A9FB-E006B25467D5}" dt="2022-11-25T04:46:41.171" v="5670" actId="21"/>
          <ac:grpSpMkLst>
            <pc:docMk/>
            <pc:sldMk cId="729331847" sldId="409"/>
            <ac:grpSpMk id="18" creationId="{DC7B2302-5342-5AF0-8DC4-8A7C8DD0F9B8}"/>
          </ac:grpSpMkLst>
        </pc:grpChg>
        <pc:grpChg chg="del">
          <ac:chgData name="Antony Britto" userId="d1019b0b-29f6-4a1d-ad02-0d91a36ee451" providerId="ADAL" clId="{4F250547-3E32-4C59-A9FB-E006B25467D5}" dt="2022-11-25T04:46:45.441" v="5671" actId="21"/>
          <ac:grpSpMkLst>
            <pc:docMk/>
            <pc:sldMk cId="729331847" sldId="409"/>
            <ac:grpSpMk id="19" creationId="{A815E50A-4865-6CDD-1BDB-64E720F96F59}"/>
          </ac:grpSpMkLst>
        </pc:grpChg>
        <pc:graphicFrameChg chg="add mod modGraphic">
          <ac:chgData name="Antony Britto" userId="d1019b0b-29f6-4a1d-ad02-0d91a36ee451" providerId="ADAL" clId="{4F250547-3E32-4C59-A9FB-E006B25467D5}" dt="2022-11-25T04:57:13.968" v="5741" actId="14100"/>
          <ac:graphicFrameMkLst>
            <pc:docMk/>
            <pc:sldMk cId="729331847" sldId="409"/>
            <ac:graphicFrameMk id="7" creationId="{1A26A88D-4952-026B-DDF5-1C9837202002}"/>
          </ac:graphicFrameMkLst>
        </pc:graphicFrameChg>
        <pc:graphicFrameChg chg="add mod">
          <ac:chgData name="Antony Britto" userId="d1019b0b-29f6-4a1d-ad02-0d91a36ee451" providerId="ADAL" clId="{4F250547-3E32-4C59-A9FB-E006B25467D5}" dt="2022-11-25T04:45:47.626" v="5659"/>
          <ac:graphicFrameMkLst>
            <pc:docMk/>
            <pc:sldMk cId="729331847" sldId="409"/>
            <ac:graphicFrameMk id="9" creationId="{DCCB87A0-02B6-E5E7-C19D-0B15A982682D}"/>
          </ac:graphicFrameMkLst>
        </pc:graphicFrameChg>
        <pc:picChg chg="add del mod">
          <ac:chgData name="Antony Britto" userId="d1019b0b-29f6-4a1d-ad02-0d91a36ee451" providerId="ADAL" clId="{4F250547-3E32-4C59-A9FB-E006B25467D5}" dt="2022-11-25T04:56:01.360" v="5729" actId="21"/>
          <ac:picMkLst>
            <pc:docMk/>
            <pc:sldMk cId="729331847" sldId="409"/>
            <ac:picMk id="1026" creationId="{504462FE-74B0-1ADF-6F89-9C1DF3125B30}"/>
          </ac:picMkLst>
        </pc:picChg>
        <pc:picChg chg="add del mod">
          <ac:chgData name="Antony Britto" userId="d1019b0b-29f6-4a1d-ad02-0d91a36ee451" providerId="ADAL" clId="{4F250547-3E32-4C59-A9FB-E006B25467D5}" dt="2022-11-25T15:06:36.764" v="5910" actId="14861"/>
          <ac:picMkLst>
            <pc:docMk/>
            <pc:sldMk cId="729331847" sldId="409"/>
            <ac:picMk id="1028" creationId="{270975FF-9CCC-1414-26A4-4B1196516D65}"/>
          </ac:picMkLst>
        </pc:picChg>
      </pc:sldChg>
      <pc:sldChg chg="new del">
        <pc:chgData name="Antony Britto" userId="d1019b0b-29f6-4a1d-ad02-0d91a36ee451" providerId="ADAL" clId="{4F250547-3E32-4C59-A9FB-E006B25467D5}" dt="2022-11-25T02:22:59.914" v="5525" actId="680"/>
        <pc:sldMkLst>
          <pc:docMk/>
          <pc:sldMk cId="699355453" sldId="410"/>
        </pc:sldMkLst>
      </pc:sldChg>
    </pc:docChg>
  </pc:docChgLst>
  <pc:docChgLst>
    <pc:chgData name="Vladislav Perevalov" userId="S::perevalv@mcmaster.ca::a15fb574-8ef9-405d-8c7c-f1245b7d35a7" providerId="AD" clId="Web-{C6B67EBF-53C9-43CE-A3DC-FDFC5CCE5D40}"/>
    <pc:docChg chg="modSld">
      <pc:chgData name="Vladislav Perevalov" userId="S::perevalv@mcmaster.ca::a15fb574-8ef9-405d-8c7c-f1245b7d35a7" providerId="AD" clId="Web-{C6B67EBF-53C9-43CE-A3DC-FDFC5CCE5D40}" dt="2022-11-24T01:44:11.550" v="3" actId="14100"/>
      <pc:docMkLst>
        <pc:docMk/>
      </pc:docMkLst>
      <pc:sldChg chg="addSp modSp">
        <pc:chgData name="Vladislav Perevalov" userId="S::perevalv@mcmaster.ca::a15fb574-8ef9-405d-8c7c-f1245b7d35a7" providerId="AD" clId="Web-{C6B67EBF-53C9-43CE-A3DC-FDFC5CCE5D40}" dt="2022-11-24T01:44:11.550" v="3" actId="14100"/>
        <pc:sldMkLst>
          <pc:docMk/>
          <pc:sldMk cId="4050223877" sldId="397"/>
        </pc:sldMkLst>
        <pc:picChg chg="add mod">
          <ac:chgData name="Vladislav Perevalov" userId="S::perevalv@mcmaster.ca::a15fb574-8ef9-405d-8c7c-f1245b7d35a7" providerId="AD" clId="Web-{C6B67EBF-53C9-43CE-A3DC-FDFC5CCE5D40}" dt="2022-11-24T01:44:11.550" v="3" actId="14100"/>
          <ac:picMkLst>
            <pc:docMk/>
            <pc:sldMk cId="4050223877" sldId="397"/>
            <ac:picMk id="3" creationId="{9E2E92C8-B4E5-7ADD-BD5A-B6B84D3F6E0F}"/>
          </ac:picMkLst>
        </pc:picChg>
      </pc:sldChg>
    </pc:docChg>
  </pc:docChgLst>
  <pc:docChgLst>
    <pc:chgData name="Vladislav Perevalov" userId="S::perevalv@mcmaster.ca::a15fb574-8ef9-405d-8c7c-f1245b7d35a7" providerId="AD" clId="Web-{97BD9286-6BED-4789-82F5-D261A45BAA61}"/>
    <pc:docChg chg="addSld modSld modSection">
      <pc:chgData name="Vladislav Perevalov" userId="S::perevalv@mcmaster.ca::a15fb574-8ef9-405d-8c7c-f1245b7d35a7" providerId="AD" clId="Web-{97BD9286-6BED-4789-82F5-D261A45BAA61}" dt="2022-11-23T16:21:28.554" v="357" actId="20577"/>
      <pc:docMkLst>
        <pc:docMk/>
      </pc:docMkLst>
      <pc:sldChg chg="modSp">
        <pc:chgData name="Vladislav Perevalov" userId="S::perevalv@mcmaster.ca::a15fb574-8ef9-405d-8c7c-f1245b7d35a7" providerId="AD" clId="Web-{97BD9286-6BED-4789-82F5-D261A45BAA61}" dt="2022-11-23T15:20:06.729" v="40" actId="1076"/>
        <pc:sldMkLst>
          <pc:docMk/>
          <pc:sldMk cId="2343338353" sldId="360"/>
        </pc:sldMkLst>
        <pc:spChg chg="mod">
          <ac:chgData name="Vladislav Perevalov" userId="S::perevalv@mcmaster.ca::a15fb574-8ef9-405d-8c7c-f1245b7d35a7" providerId="AD" clId="Web-{97BD9286-6BED-4789-82F5-D261A45BAA61}" dt="2022-11-23T15:20:06.729" v="40" actId="1076"/>
          <ac:spMkLst>
            <pc:docMk/>
            <pc:sldMk cId="2343338353" sldId="360"/>
            <ac:spMk id="5" creationId="{6B4121D2-EF3E-8EC1-EB6D-E018C09281B7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19:53.995" v="38" actId="1076"/>
          <ac:spMkLst>
            <pc:docMk/>
            <pc:sldMk cId="2343338353" sldId="360"/>
            <ac:spMk id="9" creationId="{57D99DBF-7509-23AC-4322-EDB991ECB64C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0:01.229" v="39" actId="1076"/>
          <ac:spMkLst>
            <pc:docMk/>
            <pc:sldMk cId="2343338353" sldId="360"/>
            <ac:spMk id="14" creationId="{0314A110-BFD1-A9F9-DE53-1448F1AA8ADB}"/>
          </ac:spMkLst>
        </pc:spChg>
        <pc:picChg chg="mod">
          <ac:chgData name="Vladislav Perevalov" userId="S::perevalv@mcmaster.ca::a15fb574-8ef9-405d-8c7c-f1245b7d35a7" providerId="AD" clId="Web-{97BD9286-6BED-4789-82F5-D261A45BAA61}" dt="2022-11-23T15:19:36.401" v="35" actId="1076"/>
          <ac:picMkLst>
            <pc:docMk/>
            <pc:sldMk cId="2343338353" sldId="360"/>
            <ac:picMk id="6" creationId="{EC69A034-94C2-AFC5-A58A-FBB0E86276CE}"/>
          </ac:picMkLst>
        </pc:picChg>
        <pc:picChg chg="mod">
          <ac:chgData name="Vladislav Perevalov" userId="S::perevalv@mcmaster.ca::a15fb574-8ef9-405d-8c7c-f1245b7d35a7" providerId="AD" clId="Web-{97BD9286-6BED-4789-82F5-D261A45BAA61}" dt="2022-11-23T15:19:42.651" v="37"/>
          <ac:picMkLst>
            <pc:docMk/>
            <pc:sldMk cId="2343338353" sldId="360"/>
            <ac:picMk id="10" creationId="{70724DDC-A086-DD59-0982-FED69771C18C}"/>
          </ac:picMkLst>
        </pc:picChg>
      </pc:sldChg>
      <pc:sldChg chg="delSp modSp">
        <pc:chgData name="Vladislav Perevalov" userId="S::perevalv@mcmaster.ca::a15fb574-8ef9-405d-8c7c-f1245b7d35a7" providerId="AD" clId="Web-{97BD9286-6BED-4789-82F5-D261A45BAA61}" dt="2022-11-23T15:37:59.947" v="318" actId="20577"/>
        <pc:sldMkLst>
          <pc:docMk/>
          <pc:sldMk cId="2029170211" sldId="364"/>
        </pc:sldMkLst>
        <pc:spChg chg="mod">
          <ac:chgData name="Vladislav Perevalov" userId="S::perevalv@mcmaster.ca::a15fb574-8ef9-405d-8c7c-f1245b7d35a7" providerId="AD" clId="Web-{97BD9286-6BED-4789-82F5-D261A45BAA61}" dt="2022-11-23T15:37:59.947" v="318" actId="20577"/>
          <ac:spMkLst>
            <pc:docMk/>
            <pc:sldMk cId="2029170211" sldId="364"/>
            <ac:spMk id="3" creationId="{4B23F066-78F6-ED99-A2E1-FCA243435AA8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0:43.806" v="55" actId="20577"/>
          <ac:spMkLst>
            <pc:docMk/>
            <pc:sldMk cId="2029170211" sldId="364"/>
            <ac:spMk id="4" creationId="{419A56F2-33FC-B13B-F824-5320C14683F0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65" actId="14100"/>
          <ac:spMkLst>
            <pc:docMk/>
            <pc:sldMk cId="2029170211" sldId="364"/>
            <ac:spMk id="9" creationId="{2E678CB3-6BF2-2C9B-867D-B0E0FC69D6D7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0:52.634" v="56"/>
          <ac:spMkLst>
            <pc:docMk/>
            <pc:sldMk cId="2029170211" sldId="364"/>
            <ac:spMk id="11" creationId="{F245124F-355D-7DD4-0A03-7A7282A5BF34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53" actId="14100"/>
          <ac:spMkLst>
            <pc:docMk/>
            <pc:sldMk cId="2029170211" sldId="364"/>
            <ac:spMk id="12" creationId="{8187FEDB-0DF5-2D56-8275-39632EFA81B9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54" actId="14100"/>
          <ac:spMkLst>
            <pc:docMk/>
            <pc:sldMk cId="2029170211" sldId="364"/>
            <ac:spMk id="14" creationId="{EBC22941-62DE-5516-18D5-C770B8E7D0D1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58" actId="14100"/>
          <ac:spMkLst>
            <pc:docMk/>
            <pc:sldMk cId="2029170211" sldId="364"/>
            <ac:spMk id="18" creationId="{51A28C8D-8FB5-AA80-CCE4-E59A68BF3C54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56" actId="14100"/>
          <ac:spMkLst>
            <pc:docMk/>
            <pc:sldMk cId="2029170211" sldId="364"/>
            <ac:spMk id="19" creationId="{BF839A0E-B22A-8B64-AEC4-6E08892B2C2F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57" actId="14100"/>
          <ac:spMkLst>
            <pc:docMk/>
            <pc:sldMk cId="2029170211" sldId="364"/>
            <ac:spMk id="20" creationId="{A41F3FA4-DBC7-F6C2-C305-C8D7FB46F1D0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55" actId="14100"/>
          <ac:spMkLst>
            <pc:docMk/>
            <pc:sldMk cId="2029170211" sldId="364"/>
            <ac:spMk id="21" creationId="{1D820BBF-F784-AE05-2809-5C665F3540F7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61" actId="14100"/>
          <ac:spMkLst>
            <pc:docMk/>
            <pc:sldMk cId="2029170211" sldId="364"/>
            <ac:spMk id="40" creationId="{8953AF93-30CF-F8B2-9012-6801387C2179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62" actId="14100"/>
          <ac:spMkLst>
            <pc:docMk/>
            <pc:sldMk cId="2029170211" sldId="364"/>
            <ac:spMk id="41" creationId="{EF6BCFA0-1144-3D7C-FFC3-8669D01E3F24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60" actId="14100"/>
          <ac:spMkLst>
            <pc:docMk/>
            <pc:sldMk cId="2029170211" sldId="364"/>
            <ac:spMk id="42" creationId="{5C95FB60-2EF5-E315-9D15-460009A108DC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63" actId="14100"/>
          <ac:spMkLst>
            <pc:docMk/>
            <pc:sldMk cId="2029170211" sldId="364"/>
            <ac:spMk id="43" creationId="{F0D535F8-1CF6-1D85-16E7-8E4787D4287E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59" actId="14100"/>
          <ac:spMkLst>
            <pc:docMk/>
            <pc:sldMk cId="2029170211" sldId="364"/>
            <ac:spMk id="44" creationId="{B6AE3E2F-04A8-FBD4-49A6-9E85BC4A4092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42.991" v="164" actId="14100"/>
          <ac:spMkLst>
            <pc:docMk/>
            <pc:sldMk cId="2029170211" sldId="364"/>
            <ac:spMk id="45" creationId="{FECC4799-D77E-26FB-0B38-F9CFAA26E813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2:44.883" v="117" actId="1076"/>
          <ac:spMkLst>
            <pc:docMk/>
            <pc:sldMk cId="2029170211" sldId="364"/>
            <ac:spMk id="55" creationId="{C6054ED8-FF62-C374-8C8A-6780AA98EC0C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2:52.601" v="118" actId="1076"/>
          <ac:spMkLst>
            <pc:docMk/>
            <pc:sldMk cId="2029170211" sldId="364"/>
            <ac:spMk id="56" creationId="{60979BB9-A3E7-8FEF-97AC-1E8F9D7B7DD2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3:00.273" v="119" actId="1076"/>
          <ac:spMkLst>
            <pc:docMk/>
            <pc:sldMk cId="2029170211" sldId="364"/>
            <ac:spMk id="57" creationId="{7217858D-E136-4BB8-FCFF-3BA1B0678971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22:34.977" v="115" actId="1076"/>
          <ac:spMkLst>
            <pc:docMk/>
            <pc:sldMk cId="2029170211" sldId="364"/>
            <ac:spMk id="58" creationId="{F740993E-9611-1272-6044-5736E4D07B72}"/>
          </ac:spMkLst>
        </pc:spChg>
        <pc:graphicFrameChg chg="mod">
          <ac:chgData name="Vladislav Perevalov" userId="S::perevalv@mcmaster.ca::a15fb574-8ef9-405d-8c7c-f1245b7d35a7" providerId="AD" clId="Web-{97BD9286-6BED-4789-82F5-D261A45BAA61}" dt="2022-11-23T15:22:30.227" v="114" actId="1076"/>
          <ac:graphicFrameMkLst>
            <pc:docMk/>
            <pc:sldMk cId="2029170211" sldId="364"/>
            <ac:graphicFrameMk id="27" creationId="{565D2ADE-586E-9B16-F321-DFA2C3043E36}"/>
          </ac:graphicFrameMkLst>
        </pc:graphicFrameChg>
      </pc:sldChg>
      <pc:sldChg chg="delSp modSp add replId">
        <pc:chgData name="Vladislav Perevalov" userId="S::perevalv@mcmaster.ca::a15fb574-8ef9-405d-8c7c-f1245b7d35a7" providerId="AD" clId="Web-{97BD9286-6BED-4789-82F5-D261A45BAA61}" dt="2022-11-23T05:06:13.189" v="32"/>
        <pc:sldMkLst>
          <pc:docMk/>
          <pc:sldMk cId="96659264" sldId="390"/>
        </pc:sldMkLst>
        <pc:spChg chg="mod">
          <ac:chgData name="Vladislav Perevalov" userId="S::perevalv@mcmaster.ca::a15fb574-8ef9-405d-8c7c-f1245b7d35a7" providerId="AD" clId="Web-{97BD9286-6BED-4789-82F5-D261A45BAA61}" dt="2022-11-23T05:05:46.611" v="12" actId="20577"/>
          <ac:spMkLst>
            <pc:docMk/>
            <pc:sldMk cId="96659264" sldId="390"/>
            <ac:spMk id="4" creationId="{419A56F2-33FC-B13B-F824-5320C14683F0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6:13.189" v="32"/>
          <ac:spMkLst>
            <pc:docMk/>
            <pc:sldMk cId="96659264" sldId="390"/>
            <ac:spMk id="5" creationId="{64E62B09-B628-9390-D8F1-925831825F25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3.127" v="18"/>
          <ac:spMkLst>
            <pc:docMk/>
            <pc:sldMk cId="96659264" sldId="390"/>
            <ac:spMk id="9" creationId="{2E678CB3-6BF2-2C9B-867D-B0E0FC69D6D7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6:09.221" v="31"/>
          <ac:spMkLst>
            <pc:docMk/>
            <pc:sldMk cId="96659264" sldId="390"/>
            <ac:spMk id="11" creationId="{F245124F-355D-7DD4-0A03-7A7282A5BF34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6.080" v="19"/>
          <ac:spMkLst>
            <pc:docMk/>
            <pc:sldMk cId="96659264" sldId="390"/>
            <ac:spMk id="12" creationId="{8187FEDB-0DF5-2D56-8275-39632EFA81B9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6.080" v="20"/>
          <ac:spMkLst>
            <pc:docMk/>
            <pc:sldMk cId="96659264" sldId="390"/>
            <ac:spMk id="14" creationId="{EBC22941-62DE-5516-18D5-C770B8E7D0D1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6.080" v="24"/>
          <ac:spMkLst>
            <pc:docMk/>
            <pc:sldMk cId="96659264" sldId="390"/>
            <ac:spMk id="18" creationId="{51A28C8D-8FB5-AA80-CCE4-E59A68BF3C54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6.080" v="22"/>
          <ac:spMkLst>
            <pc:docMk/>
            <pc:sldMk cId="96659264" sldId="390"/>
            <ac:spMk id="19" creationId="{BF839A0E-B22A-8B64-AEC4-6E08892B2C2F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6.080" v="23"/>
          <ac:spMkLst>
            <pc:docMk/>
            <pc:sldMk cId="96659264" sldId="390"/>
            <ac:spMk id="20" creationId="{A41F3FA4-DBC7-F6C2-C305-C8D7FB46F1D0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6.080" v="21"/>
          <ac:spMkLst>
            <pc:docMk/>
            <pc:sldMk cId="96659264" sldId="390"/>
            <ac:spMk id="21" creationId="{1D820BBF-F784-AE05-2809-5C665F3540F7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6:04.783" v="27"/>
          <ac:spMkLst>
            <pc:docMk/>
            <pc:sldMk cId="96659264" sldId="390"/>
            <ac:spMk id="40" creationId="{8953AF93-30CF-F8B2-9012-6801387C2179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6:04.783" v="28"/>
          <ac:spMkLst>
            <pc:docMk/>
            <pc:sldMk cId="96659264" sldId="390"/>
            <ac:spMk id="41" creationId="{EF6BCFA0-1144-3D7C-FFC3-8669D01E3F24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6:04.783" v="26"/>
          <ac:spMkLst>
            <pc:docMk/>
            <pc:sldMk cId="96659264" sldId="390"/>
            <ac:spMk id="42" creationId="{5C95FB60-2EF5-E315-9D15-460009A108DC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6:04.783" v="29"/>
          <ac:spMkLst>
            <pc:docMk/>
            <pc:sldMk cId="96659264" sldId="390"/>
            <ac:spMk id="43" creationId="{F0D535F8-1CF6-1D85-16E7-8E4787D4287E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6:04.783" v="25"/>
          <ac:spMkLst>
            <pc:docMk/>
            <pc:sldMk cId="96659264" sldId="390"/>
            <ac:spMk id="44" creationId="{B6AE3E2F-04A8-FBD4-49A6-9E85BC4A4092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6:04.783" v="30"/>
          <ac:spMkLst>
            <pc:docMk/>
            <pc:sldMk cId="96659264" sldId="390"/>
            <ac:spMk id="45" creationId="{FECC4799-D77E-26FB-0B38-F9CFAA26E813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3.127" v="14"/>
          <ac:spMkLst>
            <pc:docMk/>
            <pc:sldMk cId="96659264" sldId="390"/>
            <ac:spMk id="55" creationId="{C6054ED8-FF62-C374-8C8A-6780AA98EC0C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3.127" v="15"/>
          <ac:spMkLst>
            <pc:docMk/>
            <pc:sldMk cId="96659264" sldId="390"/>
            <ac:spMk id="56" creationId="{60979BB9-A3E7-8FEF-97AC-1E8F9D7B7DD2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3.127" v="17"/>
          <ac:spMkLst>
            <pc:docMk/>
            <pc:sldMk cId="96659264" sldId="390"/>
            <ac:spMk id="57" creationId="{7217858D-E136-4BB8-FCFF-3BA1B0678971}"/>
          </ac:spMkLst>
        </pc:spChg>
        <pc:spChg chg="del">
          <ac:chgData name="Vladislav Perevalov" userId="S::perevalv@mcmaster.ca::a15fb574-8ef9-405d-8c7c-f1245b7d35a7" providerId="AD" clId="Web-{97BD9286-6BED-4789-82F5-D261A45BAA61}" dt="2022-11-23T05:05:53.127" v="16"/>
          <ac:spMkLst>
            <pc:docMk/>
            <pc:sldMk cId="96659264" sldId="390"/>
            <ac:spMk id="58" creationId="{F740993E-9611-1272-6044-5736E4D07B72}"/>
          </ac:spMkLst>
        </pc:spChg>
        <pc:graphicFrameChg chg="del">
          <ac:chgData name="Vladislav Perevalov" userId="S::perevalv@mcmaster.ca::a15fb574-8ef9-405d-8c7c-f1245b7d35a7" providerId="AD" clId="Web-{97BD9286-6BED-4789-82F5-D261A45BAA61}" dt="2022-11-23T05:05:49.111" v="13"/>
          <ac:graphicFrameMkLst>
            <pc:docMk/>
            <pc:sldMk cId="96659264" sldId="390"/>
            <ac:graphicFrameMk id="27" creationId="{565D2ADE-586E-9B16-F321-DFA2C3043E36}"/>
          </ac:graphicFrameMkLst>
        </pc:graphicFrameChg>
      </pc:sldChg>
      <pc:sldChg chg="addSp delSp modSp add replId">
        <pc:chgData name="Vladislav Perevalov" userId="S::perevalv@mcmaster.ca::a15fb574-8ef9-405d-8c7c-f1245b7d35a7" providerId="AD" clId="Web-{97BD9286-6BED-4789-82F5-D261A45BAA61}" dt="2022-11-23T15:37:42.760" v="317"/>
        <pc:sldMkLst>
          <pc:docMk/>
          <pc:sldMk cId="840332457" sldId="391"/>
        </pc:sldMkLst>
        <pc:spChg chg="del">
          <ac:chgData name="Vladislav Perevalov" userId="S::perevalv@mcmaster.ca::a15fb574-8ef9-405d-8c7c-f1245b7d35a7" providerId="AD" clId="Web-{97BD9286-6BED-4789-82F5-D261A45BAA61}" dt="2022-11-23T15:25:14.880" v="254"/>
          <ac:spMkLst>
            <pc:docMk/>
            <pc:sldMk cId="840332457" sldId="391"/>
            <ac:spMk id="2" creationId="{EBDD7A3D-4F52-3DE2-F933-8449D83DCF02}"/>
          </ac:spMkLst>
        </pc:spChg>
        <pc:spChg chg="del mod">
          <ac:chgData name="Vladislav Perevalov" userId="S::perevalv@mcmaster.ca::a15fb574-8ef9-405d-8c7c-f1245b7d35a7" providerId="AD" clId="Web-{97BD9286-6BED-4789-82F5-D261A45BAA61}" dt="2022-11-23T15:37:42.760" v="317"/>
          <ac:spMkLst>
            <pc:docMk/>
            <pc:sldMk cId="840332457" sldId="391"/>
            <ac:spMk id="3" creationId="{4B23F066-78F6-ED99-A2E1-FCA243435AA8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5:37:01.010" v="314" actId="20577"/>
          <ac:spMkLst>
            <pc:docMk/>
            <pc:sldMk cId="840332457" sldId="391"/>
            <ac:spMk id="5" creationId="{64E62B09-B628-9390-D8F1-925831825F25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40.661" v="271"/>
          <ac:spMkLst>
            <pc:docMk/>
            <pc:sldMk cId="840332457" sldId="391"/>
            <ac:spMk id="9" creationId="{2E678CB3-6BF2-2C9B-867D-B0E0FC69D6D7}"/>
          </ac:spMkLst>
        </pc:spChg>
        <pc:spChg chg="add del">
          <ac:chgData name="Vladislav Perevalov" userId="S::perevalv@mcmaster.ca::a15fb574-8ef9-405d-8c7c-f1245b7d35a7" providerId="AD" clId="Web-{97BD9286-6BED-4789-82F5-D261A45BAA61}" dt="2022-11-23T15:36:03.027" v="274"/>
          <ac:spMkLst>
            <pc:docMk/>
            <pc:sldMk cId="840332457" sldId="391"/>
            <ac:spMk id="10" creationId="{B8987749-46D3-32A1-A94A-8516322D7407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7.958" v="260"/>
          <ac:spMkLst>
            <pc:docMk/>
            <pc:sldMk cId="840332457" sldId="391"/>
            <ac:spMk id="12" creationId="{8187FEDB-0DF5-2D56-8275-39632EFA81B9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43.192" v="272"/>
          <ac:spMkLst>
            <pc:docMk/>
            <pc:sldMk cId="840332457" sldId="391"/>
            <ac:spMk id="14" creationId="{EBC22941-62DE-5516-18D5-C770B8E7D0D1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7.958" v="261"/>
          <ac:spMkLst>
            <pc:docMk/>
            <pc:sldMk cId="840332457" sldId="391"/>
            <ac:spMk id="18" creationId="{51A28C8D-8FB5-AA80-CCE4-E59A68BF3C54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40.661" v="269"/>
          <ac:spMkLst>
            <pc:docMk/>
            <pc:sldMk cId="840332457" sldId="391"/>
            <ac:spMk id="19" creationId="{BF839A0E-B22A-8B64-AEC4-6E08892B2C2F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40.661" v="270"/>
          <ac:spMkLst>
            <pc:docMk/>
            <pc:sldMk cId="840332457" sldId="391"/>
            <ac:spMk id="20" creationId="{A41F3FA4-DBC7-F6C2-C305-C8D7FB46F1D0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40.661" v="268"/>
          <ac:spMkLst>
            <pc:docMk/>
            <pc:sldMk cId="840332457" sldId="391"/>
            <ac:spMk id="21" creationId="{1D820BBF-F784-AE05-2809-5C665F3540F7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7.958" v="264"/>
          <ac:spMkLst>
            <pc:docMk/>
            <pc:sldMk cId="840332457" sldId="391"/>
            <ac:spMk id="40" creationId="{8953AF93-30CF-F8B2-9012-6801387C2179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7.958" v="265"/>
          <ac:spMkLst>
            <pc:docMk/>
            <pc:sldMk cId="840332457" sldId="391"/>
            <ac:spMk id="41" creationId="{EF6BCFA0-1144-3D7C-FFC3-8669D01E3F24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7.958" v="263"/>
          <ac:spMkLst>
            <pc:docMk/>
            <pc:sldMk cId="840332457" sldId="391"/>
            <ac:spMk id="42" creationId="{5C95FB60-2EF5-E315-9D15-460009A108DC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7.974" v="266"/>
          <ac:spMkLst>
            <pc:docMk/>
            <pc:sldMk cId="840332457" sldId="391"/>
            <ac:spMk id="43" creationId="{F0D535F8-1CF6-1D85-16E7-8E4787D4287E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7.958" v="262"/>
          <ac:spMkLst>
            <pc:docMk/>
            <pc:sldMk cId="840332457" sldId="391"/>
            <ac:spMk id="44" creationId="{B6AE3E2F-04A8-FBD4-49A6-9E85BC4A4092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7.974" v="267"/>
          <ac:spMkLst>
            <pc:docMk/>
            <pc:sldMk cId="840332457" sldId="391"/>
            <ac:spMk id="45" creationId="{FECC4799-D77E-26FB-0B38-F9CFAA26E813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5.364" v="256"/>
          <ac:spMkLst>
            <pc:docMk/>
            <pc:sldMk cId="840332457" sldId="391"/>
            <ac:spMk id="55" creationId="{C6054ED8-FF62-C374-8C8A-6780AA98EC0C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5.364" v="257"/>
          <ac:spMkLst>
            <pc:docMk/>
            <pc:sldMk cId="840332457" sldId="391"/>
            <ac:spMk id="56" creationId="{60979BB9-A3E7-8FEF-97AC-1E8F9D7B7DD2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5.364" v="259"/>
          <ac:spMkLst>
            <pc:docMk/>
            <pc:sldMk cId="840332457" sldId="391"/>
            <ac:spMk id="57" creationId="{7217858D-E136-4BB8-FCFF-3BA1B0678971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5:25:35.364" v="258"/>
          <ac:spMkLst>
            <pc:docMk/>
            <pc:sldMk cId="840332457" sldId="391"/>
            <ac:spMk id="58" creationId="{F740993E-9611-1272-6044-5736E4D07B72}"/>
          </ac:spMkLst>
        </pc:spChg>
        <pc:graphicFrameChg chg="del">
          <ac:chgData name="Vladislav Perevalov" userId="S::perevalv@mcmaster.ca::a15fb574-8ef9-405d-8c7c-f1245b7d35a7" providerId="AD" clId="Web-{97BD9286-6BED-4789-82F5-D261A45BAA61}" dt="2022-11-23T15:25:31.943" v="255"/>
          <ac:graphicFrameMkLst>
            <pc:docMk/>
            <pc:sldMk cId="840332457" sldId="391"/>
            <ac:graphicFrameMk id="27" creationId="{565D2ADE-586E-9B16-F321-DFA2C3043E36}"/>
          </ac:graphicFrameMkLst>
        </pc:graphicFrameChg>
        <pc:picChg chg="add mod">
          <ac:chgData name="Vladislav Perevalov" userId="S::perevalv@mcmaster.ca::a15fb574-8ef9-405d-8c7c-f1245b7d35a7" providerId="AD" clId="Web-{97BD9286-6BED-4789-82F5-D261A45BAA61}" dt="2022-11-23T15:37:39.588" v="316" actId="14100"/>
          <ac:picMkLst>
            <pc:docMk/>
            <pc:sldMk cId="840332457" sldId="391"/>
            <ac:picMk id="11" creationId="{AC82803B-C5F8-473B-8205-24ACD04EE7D4}"/>
          </ac:picMkLst>
        </pc:picChg>
      </pc:sldChg>
      <pc:sldChg chg="addSp delSp modSp add replId">
        <pc:chgData name="Vladislav Perevalov" userId="S::perevalv@mcmaster.ca::a15fb574-8ef9-405d-8c7c-f1245b7d35a7" providerId="AD" clId="Web-{97BD9286-6BED-4789-82F5-D261A45BAA61}" dt="2022-11-23T16:21:28.554" v="357" actId="20577"/>
        <pc:sldMkLst>
          <pc:docMk/>
          <pc:sldMk cId="3172311671" sldId="392"/>
        </pc:sldMkLst>
        <pc:spChg chg="del">
          <ac:chgData name="Vladislav Perevalov" userId="S::perevalv@mcmaster.ca::a15fb574-8ef9-405d-8c7c-f1245b7d35a7" providerId="AD" clId="Web-{97BD9286-6BED-4789-82F5-D261A45BAA61}" dt="2022-11-23T16:20:43.523" v="319"/>
          <ac:spMkLst>
            <pc:docMk/>
            <pc:sldMk cId="3172311671" sldId="392"/>
            <ac:spMk id="3" creationId="{4B23F066-78F6-ED99-A2E1-FCA243435AA8}"/>
          </ac:spMkLst>
        </pc:spChg>
        <pc:spChg chg="mod">
          <ac:chgData name="Vladislav Perevalov" userId="S::perevalv@mcmaster.ca::a15fb574-8ef9-405d-8c7c-f1245b7d35a7" providerId="AD" clId="Web-{97BD9286-6BED-4789-82F5-D261A45BAA61}" dt="2022-11-23T16:21:28.554" v="357" actId="20577"/>
          <ac:spMkLst>
            <pc:docMk/>
            <pc:sldMk cId="3172311671" sldId="392"/>
            <ac:spMk id="5" creationId="{64E62B09-B628-9390-D8F1-925831825F25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37"/>
          <ac:spMkLst>
            <pc:docMk/>
            <pc:sldMk cId="3172311671" sldId="392"/>
            <ac:spMk id="9" creationId="{2E678CB3-6BF2-2C9B-867D-B0E0FC69D6D7}"/>
          </ac:spMkLst>
        </pc:spChg>
        <pc:spChg chg="add del mod">
          <ac:chgData name="Vladislav Perevalov" userId="S::perevalv@mcmaster.ca::a15fb574-8ef9-405d-8c7c-f1245b7d35a7" providerId="AD" clId="Web-{97BD9286-6BED-4789-82F5-D261A45BAA61}" dt="2022-11-23T16:20:57.241" v="338"/>
          <ac:spMkLst>
            <pc:docMk/>
            <pc:sldMk cId="3172311671" sldId="392"/>
            <ac:spMk id="11" creationId="{B1248384-58E0-0AAD-0DA9-1D045FE4A6C8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25"/>
          <ac:spMkLst>
            <pc:docMk/>
            <pc:sldMk cId="3172311671" sldId="392"/>
            <ac:spMk id="12" creationId="{8187FEDB-0DF5-2D56-8275-39632EFA81B9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26"/>
          <ac:spMkLst>
            <pc:docMk/>
            <pc:sldMk cId="3172311671" sldId="392"/>
            <ac:spMk id="14" creationId="{EBC22941-62DE-5516-18D5-C770B8E7D0D1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30"/>
          <ac:spMkLst>
            <pc:docMk/>
            <pc:sldMk cId="3172311671" sldId="392"/>
            <ac:spMk id="18" creationId="{51A28C8D-8FB5-AA80-CCE4-E59A68BF3C54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28"/>
          <ac:spMkLst>
            <pc:docMk/>
            <pc:sldMk cId="3172311671" sldId="392"/>
            <ac:spMk id="19" creationId="{BF839A0E-B22A-8B64-AEC4-6E08892B2C2F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29"/>
          <ac:spMkLst>
            <pc:docMk/>
            <pc:sldMk cId="3172311671" sldId="392"/>
            <ac:spMk id="20" creationId="{A41F3FA4-DBC7-F6C2-C305-C8D7FB46F1D0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27"/>
          <ac:spMkLst>
            <pc:docMk/>
            <pc:sldMk cId="3172311671" sldId="392"/>
            <ac:spMk id="21" creationId="{1D820BBF-F784-AE05-2809-5C665F3540F7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33"/>
          <ac:spMkLst>
            <pc:docMk/>
            <pc:sldMk cId="3172311671" sldId="392"/>
            <ac:spMk id="40" creationId="{8953AF93-30CF-F8B2-9012-6801387C2179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34"/>
          <ac:spMkLst>
            <pc:docMk/>
            <pc:sldMk cId="3172311671" sldId="392"/>
            <ac:spMk id="41" creationId="{EF6BCFA0-1144-3D7C-FFC3-8669D01E3F24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32"/>
          <ac:spMkLst>
            <pc:docMk/>
            <pc:sldMk cId="3172311671" sldId="392"/>
            <ac:spMk id="42" creationId="{5C95FB60-2EF5-E315-9D15-460009A108DC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35"/>
          <ac:spMkLst>
            <pc:docMk/>
            <pc:sldMk cId="3172311671" sldId="392"/>
            <ac:spMk id="43" creationId="{F0D535F8-1CF6-1D85-16E7-8E4787D4287E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31"/>
          <ac:spMkLst>
            <pc:docMk/>
            <pc:sldMk cId="3172311671" sldId="392"/>
            <ac:spMk id="44" creationId="{B6AE3E2F-04A8-FBD4-49A6-9E85BC4A4092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52.335" v="336"/>
          <ac:spMkLst>
            <pc:docMk/>
            <pc:sldMk cId="3172311671" sldId="392"/>
            <ac:spMk id="45" creationId="{FECC4799-D77E-26FB-0B38-F9CFAA26E813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48.272" v="321"/>
          <ac:spMkLst>
            <pc:docMk/>
            <pc:sldMk cId="3172311671" sldId="392"/>
            <ac:spMk id="55" creationId="{C6054ED8-FF62-C374-8C8A-6780AA98EC0C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48.272" v="322"/>
          <ac:spMkLst>
            <pc:docMk/>
            <pc:sldMk cId="3172311671" sldId="392"/>
            <ac:spMk id="56" creationId="{60979BB9-A3E7-8FEF-97AC-1E8F9D7B7DD2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48.272" v="324"/>
          <ac:spMkLst>
            <pc:docMk/>
            <pc:sldMk cId="3172311671" sldId="392"/>
            <ac:spMk id="57" creationId="{7217858D-E136-4BB8-FCFF-3BA1B0678971}"/>
          </ac:spMkLst>
        </pc:spChg>
        <pc:spChg chg="del">
          <ac:chgData name="Vladislav Perevalov" userId="S::perevalv@mcmaster.ca::a15fb574-8ef9-405d-8c7c-f1245b7d35a7" providerId="AD" clId="Web-{97BD9286-6BED-4789-82F5-D261A45BAA61}" dt="2022-11-23T16:20:48.272" v="323"/>
          <ac:spMkLst>
            <pc:docMk/>
            <pc:sldMk cId="3172311671" sldId="392"/>
            <ac:spMk id="58" creationId="{F740993E-9611-1272-6044-5736E4D07B72}"/>
          </ac:spMkLst>
        </pc:spChg>
        <pc:graphicFrameChg chg="del">
          <ac:chgData name="Vladislav Perevalov" userId="S::perevalv@mcmaster.ca::a15fb574-8ef9-405d-8c7c-f1245b7d35a7" providerId="AD" clId="Web-{97BD9286-6BED-4789-82F5-D261A45BAA61}" dt="2022-11-23T16:20:43.944" v="320"/>
          <ac:graphicFrameMkLst>
            <pc:docMk/>
            <pc:sldMk cId="3172311671" sldId="392"/>
            <ac:graphicFrameMk id="27" creationId="{565D2ADE-586E-9B16-F321-DFA2C3043E36}"/>
          </ac:graphicFrameMkLst>
        </pc:graphicFrameChg>
        <pc:picChg chg="add mod">
          <ac:chgData name="Vladislav Perevalov" userId="S::perevalv@mcmaster.ca::a15fb574-8ef9-405d-8c7c-f1245b7d35a7" providerId="AD" clId="Web-{97BD9286-6BED-4789-82F5-D261A45BAA61}" dt="2022-11-23T16:21:17.694" v="342" actId="1076"/>
          <ac:picMkLst>
            <pc:docMk/>
            <pc:sldMk cId="3172311671" sldId="392"/>
            <ac:picMk id="13" creationId="{BC6F92B1-A752-6A7C-7AEB-CE01AF843BC3}"/>
          </ac:picMkLst>
        </pc:picChg>
      </pc:sldChg>
    </pc:docChg>
  </pc:docChgLst>
  <pc:docChgLst>
    <pc:chgData name="Antony Britto" userId="S::britta2@mcmaster.ca::d1019b0b-29f6-4a1d-ad02-0d91a36ee451" providerId="AD" clId="Web-{6905B6A0-84C1-444D-A83D-CD93536C74BA}"/>
    <pc:docChg chg="addSld delSld modSld modSection">
      <pc:chgData name="Antony Britto" userId="S::britta2@mcmaster.ca::d1019b0b-29f6-4a1d-ad02-0d91a36ee451" providerId="AD" clId="Web-{6905B6A0-84C1-444D-A83D-CD93536C74BA}" dt="2022-11-24T23:43:35.430" v="32"/>
      <pc:docMkLst>
        <pc:docMk/>
      </pc:docMkLst>
      <pc:sldChg chg="del">
        <pc:chgData name="Antony Britto" userId="S::britta2@mcmaster.ca::d1019b0b-29f6-4a1d-ad02-0d91a36ee451" providerId="AD" clId="Web-{6905B6A0-84C1-444D-A83D-CD93536C74BA}" dt="2022-11-24T23:43:35.430" v="32"/>
        <pc:sldMkLst>
          <pc:docMk/>
          <pc:sldMk cId="2323941003" sldId="400"/>
        </pc:sldMkLst>
      </pc:sldChg>
      <pc:sldChg chg="delSp modSp">
        <pc:chgData name="Antony Britto" userId="S::britta2@mcmaster.ca::d1019b0b-29f6-4a1d-ad02-0d91a36ee451" providerId="AD" clId="Web-{6905B6A0-84C1-444D-A83D-CD93536C74BA}" dt="2022-11-24T23:43:12.195" v="30" actId="14100"/>
        <pc:sldMkLst>
          <pc:docMk/>
          <pc:sldMk cId="3238663224" sldId="407"/>
        </pc:sldMkLst>
        <pc:spChg chg="mod">
          <ac:chgData name="Antony Britto" userId="S::britta2@mcmaster.ca::d1019b0b-29f6-4a1d-ad02-0d91a36ee451" providerId="AD" clId="Web-{6905B6A0-84C1-444D-A83D-CD93536C74BA}" dt="2022-11-24T23:39:15.284" v="12" actId="1076"/>
          <ac:spMkLst>
            <pc:docMk/>
            <pc:sldMk cId="3238663224" sldId="407"/>
            <ac:spMk id="10" creationId="{48276BC7-5063-8C09-3C45-D89ABCA94F1B}"/>
          </ac:spMkLst>
        </pc:spChg>
        <pc:spChg chg="mod">
          <ac:chgData name="Antony Britto" userId="S::britta2@mcmaster.ca::d1019b0b-29f6-4a1d-ad02-0d91a36ee451" providerId="AD" clId="Web-{6905B6A0-84C1-444D-A83D-CD93536C74BA}" dt="2022-11-24T23:42:56.820" v="28" actId="14100"/>
          <ac:spMkLst>
            <pc:docMk/>
            <pc:sldMk cId="3238663224" sldId="407"/>
            <ac:spMk id="13" creationId="{911DC44D-23D0-88EF-735A-B59187964850}"/>
          </ac:spMkLst>
        </pc:spChg>
        <pc:spChg chg="del">
          <ac:chgData name="Antony Britto" userId="S::britta2@mcmaster.ca::d1019b0b-29f6-4a1d-ad02-0d91a36ee451" providerId="AD" clId="Web-{6905B6A0-84C1-444D-A83D-CD93536C74BA}" dt="2022-11-24T23:39:36.253" v="14"/>
          <ac:spMkLst>
            <pc:docMk/>
            <pc:sldMk cId="3238663224" sldId="407"/>
            <ac:spMk id="27" creationId="{A69E3645-4E23-F78C-E281-C80CDCB738EF}"/>
          </ac:spMkLst>
        </pc:spChg>
        <pc:grpChg chg="mod">
          <ac:chgData name="Antony Britto" userId="S::britta2@mcmaster.ca::d1019b0b-29f6-4a1d-ad02-0d91a36ee451" providerId="AD" clId="Web-{6905B6A0-84C1-444D-A83D-CD93536C74BA}" dt="2022-11-24T23:43:12.195" v="30" actId="14100"/>
          <ac:grpSpMkLst>
            <pc:docMk/>
            <pc:sldMk cId="3238663224" sldId="407"/>
            <ac:grpSpMk id="7" creationId="{AD03A182-C9F1-F9D8-F10C-DBD59B9CDF8F}"/>
          </ac:grpSpMkLst>
        </pc:grpChg>
        <pc:graphicFrameChg chg="mod">
          <ac:chgData name="Antony Britto" userId="S::britta2@mcmaster.ca::d1019b0b-29f6-4a1d-ad02-0d91a36ee451" providerId="AD" clId="Web-{6905B6A0-84C1-444D-A83D-CD93536C74BA}" dt="2022-11-24T23:42:49.663" v="27" actId="1076"/>
          <ac:graphicFrameMkLst>
            <pc:docMk/>
            <pc:sldMk cId="3238663224" sldId="407"/>
            <ac:graphicFrameMk id="9" creationId="{21F7432A-F56F-B337-F4C4-88633C2D2ECF}"/>
          </ac:graphicFrameMkLst>
        </pc:graphicFrameChg>
        <pc:picChg chg="mod">
          <ac:chgData name="Antony Britto" userId="S::britta2@mcmaster.ca::d1019b0b-29f6-4a1d-ad02-0d91a36ee451" providerId="AD" clId="Web-{6905B6A0-84C1-444D-A83D-CD93536C74BA}" dt="2022-11-24T23:41:37.521" v="25" actId="1076"/>
          <ac:picMkLst>
            <pc:docMk/>
            <pc:sldMk cId="3238663224" sldId="407"/>
            <ac:picMk id="25" creationId="{8721EE94-BBF9-AD17-8656-C31B95BF522F}"/>
          </ac:picMkLst>
        </pc:picChg>
      </pc:sldChg>
      <pc:sldChg chg="add">
        <pc:chgData name="Antony Britto" userId="S::britta2@mcmaster.ca::d1019b0b-29f6-4a1d-ad02-0d91a36ee451" providerId="AD" clId="Web-{6905B6A0-84C1-444D-A83D-CD93536C74BA}" dt="2022-11-24T23:43:28.023" v="31"/>
        <pc:sldMkLst>
          <pc:docMk/>
          <pc:sldMk cId="3623898369" sldId="408"/>
        </pc:sldMkLst>
      </pc:sldChg>
    </pc:docChg>
  </pc:docChgLst>
  <pc:docChgLst>
    <pc:chgData name="Antony Britto" userId="S::britta2@mcmaster.ca::d1019b0b-29f6-4a1d-ad02-0d91a36ee451" providerId="AD" clId="Web-{BE54790C-23EC-4560-A1D4-6416E1B50097}"/>
    <pc:docChg chg="addSld delSld modSld modSection">
      <pc:chgData name="Antony Britto" userId="S::britta2@mcmaster.ca::d1019b0b-29f6-4a1d-ad02-0d91a36ee451" providerId="AD" clId="Web-{BE54790C-23EC-4560-A1D4-6416E1B50097}" dt="2022-11-24T23:05:23.679" v="54" actId="14100"/>
      <pc:docMkLst>
        <pc:docMk/>
      </pc:docMkLst>
      <pc:sldChg chg="addSp delSp modSp del">
        <pc:chgData name="Antony Britto" userId="S::britta2@mcmaster.ca::d1019b0b-29f6-4a1d-ad02-0d91a36ee451" providerId="AD" clId="Web-{BE54790C-23EC-4560-A1D4-6416E1B50097}" dt="2022-11-24T23:04:40.678" v="52"/>
        <pc:sldMkLst>
          <pc:docMk/>
          <pc:sldMk cId="1024977953" sldId="384"/>
        </pc:sldMkLst>
        <pc:spChg chg="add del mod">
          <ac:chgData name="Antony Britto" userId="S::britta2@mcmaster.ca::d1019b0b-29f6-4a1d-ad02-0d91a36ee451" providerId="AD" clId="Web-{BE54790C-23EC-4560-A1D4-6416E1B50097}" dt="2022-11-24T22:05:01.478" v="14"/>
          <ac:spMkLst>
            <pc:docMk/>
            <pc:sldMk cId="1024977953" sldId="384"/>
            <ac:spMk id="3" creationId="{075A15F2-17CA-A963-1835-B11960E4F8F1}"/>
          </ac:spMkLst>
        </pc:spChg>
        <pc:spChg chg="mod">
          <ac:chgData name="Antony Britto" userId="S::britta2@mcmaster.ca::d1019b0b-29f6-4a1d-ad02-0d91a36ee451" providerId="AD" clId="Web-{BE54790C-23EC-4560-A1D4-6416E1B50097}" dt="2022-11-24T22:07:00.163" v="25" actId="1076"/>
          <ac:spMkLst>
            <pc:docMk/>
            <pc:sldMk cId="1024977953" sldId="384"/>
            <ac:spMk id="22" creationId="{1767D460-74C1-5B80-D892-D592A48217DE}"/>
          </ac:spMkLst>
        </pc:spChg>
        <pc:spChg chg="mod">
          <ac:chgData name="Antony Britto" userId="S::britta2@mcmaster.ca::d1019b0b-29f6-4a1d-ad02-0d91a36ee451" providerId="AD" clId="Web-{BE54790C-23EC-4560-A1D4-6416E1B50097}" dt="2022-11-24T22:06:57.132" v="24" actId="14100"/>
          <ac:spMkLst>
            <pc:docMk/>
            <pc:sldMk cId="1024977953" sldId="384"/>
            <ac:spMk id="23" creationId="{B9A991BD-E3D1-73D2-CB2F-C2E5C6284AD6}"/>
          </ac:spMkLst>
        </pc:spChg>
        <pc:spChg chg="mod">
          <ac:chgData name="Antony Britto" userId="S::britta2@mcmaster.ca::d1019b0b-29f6-4a1d-ad02-0d91a36ee451" providerId="AD" clId="Web-{BE54790C-23EC-4560-A1D4-6416E1B50097}" dt="2022-11-24T22:07:07.866" v="26" actId="1076"/>
          <ac:spMkLst>
            <pc:docMk/>
            <pc:sldMk cId="1024977953" sldId="384"/>
            <ac:spMk id="26" creationId="{A75897ED-FBF4-1438-A824-0BC0B3484DC8}"/>
          </ac:spMkLst>
        </pc:spChg>
        <pc:picChg chg="mod">
          <ac:chgData name="Antony Britto" userId="S::britta2@mcmaster.ca::d1019b0b-29f6-4a1d-ad02-0d91a36ee451" providerId="AD" clId="Web-{BE54790C-23EC-4560-A1D4-6416E1B50097}" dt="2022-11-24T22:06:46.570" v="22" actId="1076"/>
          <ac:picMkLst>
            <pc:docMk/>
            <pc:sldMk cId="1024977953" sldId="384"/>
            <ac:picMk id="25" creationId="{8721EE94-BBF9-AD17-8656-C31B95BF522F}"/>
          </ac:picMkLst>
        </pc:picChg>
      </pc:sldChg>
      <pc:sldChg chg="modSp">
        <pc:chgData name="Antony Britto" userId="S::britta2@mcmaster.ca::d1019b0b-29f6-4a1d-ad02-0d91a36ee451" providerId="AD" clId="Web-{BE54790C-23EC-4560-A1D4-6416E1B50097}" dt="2022-11-24T22:10:03.379" v="50" actId="1076"/>
        <pc:sldMkLst>
          <pc:docMk/>
          <pc:sldMk cId="1842833113" sldId="403"/>
        </pc:sldMkLst>
        <pc:spChg chg="mod">
          <ac:chgData name="Antony Britto" userId="S::britta2@mcmaster.ca::d1019b0b-29f6-4a1d-ad02-0d91a36ee451" providerId="AD" clId="Web-{BE54790C-23EC-4560-A1D4-6416E1B50097}" dt="2022-11-24T22:09:55.083" v="48" actId="1076"/>
          <ac:spMkLst>
            <pc:docMk/>
            <pc:sldMk cId="1842833113" sldId="403"/>
            <ac:spMk id="13" creationId="{4D409540-E67C-ED40-E625-A4F4400C81E2}"/>
          </ac:spMkLst>
        </pc:spChg>
        <pc:spChg chg="mod">
          <ac:chgData name="Antony Britto" userId="S::britta2@mcmaster.ca::d1019b0b-29f6-4a1d-ad02-0d91a36ee451" providerId="AD" clId="Web-{BE54790C-23EC-4560-A1D4-6416E1B50097}" dt="2022-11-24T22:09:59.661" v="49" actId="1076"/>
          <ac:spMkLst>
            <pc:docMk/>
            <pc:sldMk cId="1842833113" sldId="403"/>
            <ac:spMk id="16" creationId="{D1506238-5D4D-1EA0-17E6-82FBAD48ED1B}"/>
          </ac:spMkLst>
        </pc:spChg>
        <pc:spChg chg="mod">
          <ac:chgData name="Antony Britto" userId="S::britta2@mcmaster.ca::d1019b0b-29f6-4a1d-ad02-0d91a36ee451" providerId="AD" clId="Web-{BE54790C-23EC-4560-A1D4-6416E1B50097}" dt="2022-11-24T22:10:03.379" v="50" actId="1076"/>
          <ac:spMkLst>
            <pc:docMk/>
            <pc:sldMk cId="1842833113" sldId="403"/>
            <ac:spMk id="18" creationId="{0E63121F-5DC2-9A14-7590-4D867BB6321E}"/>
          </ac:spMkLst>
        </pc:spChg>
      </pc:sldChg>
      <pc:sldChg chg="modSp add">
        <pc:chgData name="Antony Britto" userId="S::britta2@mcmaster.ca::d1019b0b-29f6-4a1d-ad02-0d91a36ee451" providerId="AD" clId="Web-{BE54790C-23EC-4560-A1D4-6416E1B50097}" dt="2022-11-24T23:05:23.679" v="54" actId="14100"/>
        <pc:sldMkLst>
          <pc:docMk/>
          <pc:sldMk cId="3238663224" sldId="407"/>
        </pc:sldMkLst>
        <pc:spChg chg="mod">
          <ac:chgData name="Antony Britto" userId="S::britta2@mcmaster.ca::d1019b0b-29f6-4a1d-ad02-0d91a36ee451" providerId="AD" clId="Web-{BE54790C-23EC-4560-A1D4-6416E1B50097}" dt="2022-11-24T23:05:23.679" v="54" actId="14100"/>
          <ac:spMkLst>
            <pc:docMk/>
            <pc:sldMk cId="3238663224" sldId="407"/>
            <ac:spMk id="10" creationId="{48276BC7-5063-8C09-3C45-D89ABCA94F1B}"/>
          </ac:spMkLst>
        </pc:spChg>
        <pc:spChg chg="mod">
          <ac:chgData name="Antony Britto" userId="S::britta2@mcmaster.ca::d1019b0b-29f6-4a1d-ad02-0d91a36ee451" providerId="AD" clId="Web-{BE54790C-23EC-4560-A1D4-6416E1B50097}" dt="2022-11-24T23:05:14.460" v="53" actId="14100"/>
          <ac:spMkLst>
            <pc:docMk/>
            <pc:sldMk cId="3238663224" sldId="407"/>
            <ac:spMk id="13" creationId="{911DC44D-23D0-88EF-735A-B59187964850}"/>
          </ac:spMkLst>
        </pc:spChg>
      </pc:sldChg>
    </pc:docChg>
  </pc:docChgLst>
  <pc:docChgLst>
    <pc:chgData name="Vladislav Perevalov" userId="S::perevalv@mcmaster.ca::a15fb574-8ef9-405d-8c7c-f1245b7d35a7" providerId="AD" clId="Web-{70E9E12B-D658-4441-A1BB-154C48D1B49A}"/>
    <pc:docChg chg="modSld">
      <pc:chgData name="Vladislav Perevalov" userId="S::perevalv@mcmaster.ca::a15fb574-8ef9-405d-8c7c-f1245b7d35a7" providerId="AD" clId="Web-{70E9E12B-D658-4441-A1BB-154C48D1B49A}" dt="2022-11-24T00:35:39.379" v="1" actId="20577"/>
      <pc:docMkLst>
        <pc:docMk/>
      </pc:docMkLst>
      <pc:sldChg chg="modSp">
        <pc:chgData name="Vladislav Perevalov" userId="S::perevalv@mcmaster.ca::a15fb574-8ef9-405d-8c7c-f1245b7d35a7" providerId="AD" clId="Web-{70E9E12B-D658-4441-A1BB-154C48D1B49A}" dt="2022-11-24T00:35:39.379" v="1" actId="20577"/>
        <pc:sldMkLst>
          <pc:docMk/>
          <pc:sldMk cId="2120905993" sldId="349"/>
        </pc:sldMkLst>
        <pc:spChg chg="mod">
          <ac:chgData name="Vladislav Perevalov" userId="S::perevalv@mcmaster.ca::a15fb574-8ef9-405d-8c7c-f1245b7d35a7" providerId="AD" clId="Web-{70E9E12B-D658-4441-A1BB-154C48D1B49A}" dt="2022-11-24T00:35:39.379" v="1" actId="20577"/>
          <ac:spMkLst>
            <pc:docMk/>
            <pc:sldMk cId="2120905993" sldId="349"/>
            <ac:spMk id="3" creationId="{25183F6D-5032-5DFB-4FD6-71D1BDF81F66}"/>
          </ac:spMkLst>
        </pc:spChg>
      </pc:sldChg>
    </pc:docChg>
  </pc:docChgLst>
  <pc:docChgLst>
    <pc:chgData name="Yidi Geng" userId="6750ea30-ddf2-446b-8a20-efe36586ef7e" providerId="ADAL" clId="{7F5FEF5C-43E8-4098-B506-933C98223758}"/>
    <pc:docChg chg="undo custSel addSld delSld modSld modSection">
      <pc:chgData name="Yidi Geng" userId="6750ea30-ddf2-446b-8a20-efe36586ef7e" providerId="ADAL" clId="{7F5FEF5C-43E8-4098-B506-933C98223758}" dt="2022-11-23T18:15:33.880" v="1502" actId="6549"/>
      <pc:docMkLst>
        <pc:docMk/>
      </pc:docMkLst>
      <pc:sldChg chg="addSp delSp modSp mod">
        <pc:chgData name="Yidi Geng" userId="6750ea30-ddf2-446b-8a20-efe36586ef7e" providerId="ADAL" clId="{7F5FEF5C-43E8-4098-B506-933C98223758}" dt="2022-11-23T17:08:01.410" v="929" actId="1076"/>
        <pc:sldMkLst>
          <pc:docMk/>
          <pc:sldMk cId="4027008501" sldId="362"/>
        </pc:sldMkLst>
        <pc:spChg chg="add mod">
          <ac:chgData name="Yidi Geng" userId="6750ea30-ddf2-446b-8a20-efe36586ef7e" providerId="ADAL" clId="{7F5FEF5C-43E8-4098-B506-933C98223758}" dt="2022-11-17T23:19:43.754" v="144" actId="21"/>
          <ac:spMkLst>
            <pc:docMk/>
            <pc:sldMk cId="4027008501" sldId="362"/>
            <ac:spMk id="9" creationId="{A288F178-0675-D978-CFEB-B90888260247}"/>
          </ac:spMkLst>
        </pc:spChg>
        <pc:spChg chg="del">
          <ac:chgData name="Yidi Geng" userId="6750ea30-ddf2-446b-8a20-efe36586ef7e" providerId="ADAL" clId="{7F5FEF5C-43E8-4098-B506-933C98223758}" dt="2022-11-21T19:05:20.724" v="269" actId="478"/>
          <ac:spMkLst>
            <pc:docMk/>
            <pc:sldMk cId="4027008501" sldId="362"/>
            <ac:spMk id="10" creationId="{003976EF-1E0A-DE65-AB67-6944C9576531}"/>
          </ac:spMkLst>
        </pc:spChg>
        <pc:spChg chg="add del mod">
          <ac:chgData name="Yidi Geng" userId="6750ea30-ddf2-446b-8a20-efe36586ef7e" providerId="ADAL" clId="{7F5FEF5C-43E8-4098-B506-933C98223758}" dt="2022-11-23T17:05:35.570" v="924" actId="478"/>
          <ac:spMkLst>
            <pc:docMk/>
            <pc:sldMk cId="4027008501" sldId="362"/>
            <ac:spMk id="10" creationId="{3642794B-14A6-065B-01D2-A8840AB43D9B}"/>
          </ac:spMkLst>
        </pc:spChg>
        <pc:spChg chg="add del mod">
          <ac:chgData name="Yidi Geng" userId="6750ea30-ddf2-446b-8a20-efe36586ef7e" providerId="ADAL" clId="{7F5FEF5C-43E8-4098-B506-933C98223758}" dt="2022-11-17T23:19:37.729" v="143" actId="478"/>
          <ac:spMkLst>
            <pc:docMk/>
            <pc:sldMk cId="4027008501" sldId="362"/>
            <ac:spMk id="14" creationId="{3D71840F-C56C-1FCB-546A-AEC3502F0741}"/>
          </ac:spMkLst>
        </pc:spChg>
        <pc:spChg chg="add del mod">
          <ac:chgData name="Yidi Geng" userId="6750ea30-ddf2-446b-8a20-efe36586ef7e" providerId="ADAL" clId="{7F5FEF5C-43E8-4098-B506-933C98223758}" dt="2022-11-23T17:05:35.570" v="924" actId="478"/>
          <ac:spMkLst>
            <pc:docMk/>
            <pc:sldMk cId="4027008501" sldId="362"/>
            <ac:spMk id="14" creationId="{AA259E2D-8096-2D36-C6AB-D0DD7C5A6E30}"/>
          </ac:spMkLst>
        </pc:spChg>
        <pc:spChg chg="add del mod">
          <ac:chgData name="Yidi Geng" userId="6750ea30-ddf2-446b-8a20-efe36586ef7e" providerId="ADAL" clId="{7F5FEF5C-43E8-4098-B506-933C98223758}" dt="2022-11-23T17:05:43.525" v="925" actId="478"/>
          <ac:spMkLst>
            <pc:docMk/>
            <pc:sldMk cId="4027008501" sldId="362"/>
            <ac:spMk id="15" creationId="{1641CFCB-1FB7-6D02-DCBF-98B7F58BCCA1}"/>
          </ac:spMkLst>
        </pc:spChg>
        <pc:spChg chg="add del mod">
          <ac:chgData name="Yidi Geng" userId="6750ea30-ddf2-446b-8a20-efe36586ef7e" providerId="ADAL" clId="{7F5FEF5C-43E8-4098-B506-933C98223758}" dt="2022-11-21T19:13:21.702" v="394" actId="478"/>
          <ac:spMkLst>
            <pc:docMk/>
            <pc:sldMk cId="4027008501" sldId="362"/>
            <ac:spMk id="15" creationId="{2FB3AB15-0099-2ED3-0388-4FD9595709CF}"/>
          </ac:spMkLst>
        </pc:spChg>
        <pc:spChg chg="add del mod">
          <ac:chgData name="Yidi Geng" userId="6750ea30-ddf2-446b-8a20-efe36586ef7e" providerId="ADAL" clId="{7F5FEF5C-43E8-4098-B506-933C98223758}" dt="2022-11-23T17:05:35.570" v="924" actId="478"/>
          <ac:spMkLst>
            <pc:docMk/>
            <pc:sldMk cId="4027008501" sldId="362"/>
            <ac:spMk id="16" creationId="{1AC43EAB-E47A-E2F6-CD5C-15FF3B544119}"/>
          </ac:spMkLst>
        </pc:spChg>
        <pc:spChg chg="mod topLvl">
          <ac:chgData name="Yidi Geng" userId="6750ea30-ddf2-446b-8a20-efe36586ef7e" providerId="ADAL" clId="{7F5FEF5C-43E8-4098-B506-933C98223758}" dt="2022-11-21T20:15:58.835" v="591" actId="207"/>
          <ac:spMkLst>
            <pc:docMk/>
            <pc:sldMk cId="4027008501" sldId="362"/>
            <ac:spMk id="17" creationId="{DD44C274-FD08-2D09-311F-E4389C7B00B0}"/>
          </ac:spMkLst>
        </pc:spChg>
        <pc:spChg chg="add del mod">
          <ac:chgData name="Yidi Geng" userId="6750ea30-ddf2-446b-8a20-efe36586ef7e" providerId="ADAL" clId="{7F5FEF5C-43E8-4098-B506-933C98223758}" dt="2022-11-23T17:05:35.570" v="924" actId="478"/>
          <ac:spMkLst>
            <pc:docMk/>
            <pc:sldMk cId="4027008501" sldId="362"/>
            <ac:spMk id="18" creationId="{45058F98-A5A1-2C85-C213-128906F84C30}"/>
          </ac:spMkLst>
        </pc:spChg>
        <pc:spChg chg="del mod topLvl">
          <ac:chgData name="Yidi Geng" userId="6750ea30-ddf2-446b-8a20-efe36586ef7e" providerId="ADAL" clId="{7F5FEF5C-43E8-4098-B506-933C98223758}" dt="2022-11-21T19:19:24.640" v="446" actId="478"/>
          <ac:spMkLst>
            <pc:docMk/>
            <pc:sldMk cId="4027008501" sldId="362"/>
            <ac:spMk id="18" creationId="{C0DD62A1-19F3-C14C-A14C-2FC54E53A12D}"/>
          </ac:spMkLst>
        </pc:spChg>
        <pc:spChg chg="add mod">
          <ac:chgData name="Yidi Geng" userId="6750ea30-ddf2-446b-8a20-efe36586ef7e" providerId="ADAL" clId="{7F5FEF5C-43E8-4098-B506-933C98223758}" dt="2022-11-21T19:27:44.741" v="490" actId="20577"/>
          <ac:spMkLst>
            <pc:docMk/>
            <pc:sldMk cId="4027008501" sldId="362"/>
            <ac:spMk id="19" creationId="{C6AC4D07-7F73-4940-3C80-324F7C0892C1}"/>
          </ac:spMkLst>
        </pc:spChg>
        <pc:spChg chg="add mod">
          <ac:chgData name="Yidi Geng" userId="6750ea30-ddf2-446b-8a20-efe36586ef7e" providerId="ADAL" clId="{7F5FEF5C-43E8-4098-B506-933C98223758}" dt="2022-11-21T20:16:09.820" v="592" actId="207"/>
          <ac:spMkLst>
            <pc:docMk/>
            <pc:sldMk cId="4027008501" sldId="362"/>
            <ac:spMk id="21" creationId="{37AB68F3-CA7E-77F5-58C1-D832A565C52F}"/>
          </ac:spMkLst>
        </pc:spChg>
        <pc:spChg chg="add del mod">
          <ac:chgData name="Yidi Geng" userId="6750ea30-ddf2-446b-8a20-efe36586ef7e" providerId="ADAL" clId="{7F5FEF5C-43E8-4098-B506-933C98223758}" dt="2022-11-23T17:05:25.637" v="923" actId="478"/>
          <ac:spMkLst>
            <pc:docMk/>
            <pc:sldMk cId="4027008501" sldId="362"/>
            <ac:spMk id="22" creationId="{3583AF64-776D-B99B-DDE2-1FB73E3EC9B0}"/>
          </ac:spMkLst>
        </pc:spChg>
        <pc:spChg chg="add del">
          <ac:chgData name="Yidi Geng" userId="6750ea30-ddf2-446b-8a20-efe36586ef7e" providerId="ADAL" clId="{7F5FEF5C-43E8-4098-B506-933C98223758}" dt="2022-11-21T19:26:45.831" v="475" actId="478"/>
          <ac:spMkLst>
            <pc:docMk/>
            <pc:sldMk cId="4027008501" sldId="362"/>
            <ac:spMk id="23" creationId="{1CF5E93E-EFE9-3ED3-7B6E-5E5A1C4CE92D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23" creationId="{DC9273EB-C6FF-14E8-51E2-69145B1C568C}"/>
          </ac:spMkLst>
        </pc:spChg>
        <pc:spChg chg="add mod">
          <ac:chgData name="Yidi Geng" userId="6750ea30-ddf2-446b-8a20-efe36586ef7e" providerId="ADAL" clId="{7F5FEF5C-43E8-4098-B506-933C98223758}" dt="2022-11-21T19:29:25.730" v="522" actId="1076"/>
          <ac:spMkLst>
            <pc:docMk/>
            <pc:sldMk cId="4027008501" sldId="362"/>
            <ac:spMk id="24" creationId="{8BD5EC25-7BF3-EDEB-C243-2E367D96EA94}"/>
          </ac:spMkLst>
        </pc:spChg>
        <pc:spChg chg="add mod">
          <ac:chgData name="Yidi Geng" userId="6750ea30-ddf2-446b-8a20-efe36586ef7e" providerId="ADAL" clId="{7F5FEF5C-43E8-4098-B506-933C98223758}" dt="2022-11-21T20:19:01.268" v="614" actId="20577"/>
          <ac:spMkLst>
            <pc:docMk/>
            <pc:sldMk cId="4027008501" sldId="362"/>
            <ac:spMk id="25" creationId="{7EFCEFA2-BD43-FAAA-E7A3-9B1EAE82C022}"/>
          </ac:spMkLst>
        </pc:spChg>
        <pc:spChg chg="add mod">
          <ac:chgData name="Yidi Geng" userId="6750ea30-ddf2-446b-8a20-efe36586ef7e" providerId="ADAL" clId="{7F5FEF5C-43E8-4098-B506-933C98223758}" dt="2022-11-21T20:15:26.750" v="590" actId="20577"/>
          <ac:spMkLst>
            <pc:docMk/>
            <pc:sldMk cId="4027008501" sldId="362"/>
            <ac:spMk id="26" creationId="{C1CD8BDF-5978-5C92-F1EB-8F5F44BA29BD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27" creationId="{F7100A5A-841E-E2C8-B3C9-2586A03514A3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28" creationId="{9C92382B-3252-975B-491D-3C319195521F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29" creationId="{54302D63-9E30-93F1-8B2F-B2B66D817369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30" creationId="{489FD541-C06B-1A32-2BBE-F7651954E86A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31" creationId="{B179F675-4222-915E-50E3-0F874B2D2246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32" creationId="{343DB04A-433F-933A-1918-FA31581C5DD4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33" creationId="{96A54093-5254-D635-FFCC-101565A9D5BD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34" creationId="{D16D1F97-A490-067E-F166-2196A5026DB3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36" creationId="{E97931BC-87D8-0BBA-0D21-319EF9F777EA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37" creationId="{E566F33B-0E26-EB72-47C4-0D5C9E5F657E}"/>
          </ac:spMkLst>
        </pc:spChg>
        <pc:spChg chg="add mod">
          <ac:chgData name="Yidi Geng" userId="6750ea30-ddf2-446b-8a20-efe36586ef7e" providerId="ADAL" clId="{7F5FEF5C-43E8-4098-B506-933C98223758}" dt="2022-11-23T17:04:55.307" v="920" actId="1076"/>
          <ac:spMkLst>
            <pc:docMk/>
            <pc:sldMk cId="4027008501" sldId="362"/>
            <ac:spMk id="38" creationId="{9784F329-C167-C5D6-9344-D4DC82A41177}"/>
          </ac:spMkLst>
        </pc:spChg>
        <pc:spChg chg="add del mod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39" creationId="{CAAD3C99-C2DC-6946-1295-436BC5C70360}"/>
          </ac:spMkLst>
        </pc:spChg>
        <pc:spChg chg="add del mod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40" creationId="{3C2847E1-7159-E99A-7FB9-1990507D3CD8}"/>
          </ac:spMkLst>
        </pc:spChg>
        <pc:spChg chg="add del mod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41" creationId="{0B108365-7878-F6B7-8F96-1E4DAF761A61}"/>
          </ac:spMkLst>
        </pc:spChg>
        <pc:spChg chg="add del mod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42" creationId="{28DF1E74-9461-0722-5E8B-E8FF64A36EFD}"/>
          </ac:spMkLst>
        </pc:spChg>
        <pc:spChg chg="add del mod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43" creationId="{6A68FE43-9CDE-61B6-E757-DDB0716FB45D}"/>
          </ac:spMkLst>
        </pc:spChg>
        <pc:spChg chg="add del mod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44" creationId="{C40E2D6B-B9BE-CD24-10F2-125BF398B427}"/>
          </ac:spMkLst>
        </pc:spChg>
        <pc:spChg chg="add del mod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45" creationId="{4C02C1DA-BECC-2D36-91E7-0A50C86C04DE}"/>
          </ac:spMkLst>
        </pc:spChg>
        <pc:spChg chg="add del mod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46" creationId="{ACB1F552-B266-4B2E-ACE0-F302BC63298A}"/>
          </ac:spMkLst>
        </pc:spChg>
        <pc:spChg chg="add mod">
          <ac:chgData name="Yidi Geng" userId="6750ea30-ddf2-446b-8a20-efe36586ef7e" providerId="ADAL" clId="{7F5FEF5C-43E8-4098-B506-933C98223758}" dt="2022-11-23T17:08:01.410" v="929" actId="1076"/>
          <ac:spMkLst>
            <pc:docMk/>
            <pc:sldMk cId="4027008501" sldId="362"/>
            <ac:spMk id="47" creationId="{81DFD405-5312-0EE5-93C1-D3D639815F6E}"/>
          </ac:spMkLst>
        </pc:spChg>
        <pc:spChg chg="del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288" creationId="{AC96D36E-6CAF-B30E-7B16-EA36E1225B72}"/>
          </ac:spMkLst>
        </pc:spChg>
        <pc:spChg chg="del">
          <ac:chgData name="Yidi Geng" userId="6750ea30-ddf2-446b-8a20-efe36586ef7e" providerId="ADAL" clId="{7F5FEF5C-43E8-4098-B506-933C98223758}" dt="2022-11-23T17:05:35.570" v="924" actId="478"/>
          <ac:spMkLst>
            <pc:docMk/>
            <pc:sldMk cId="4027008501" sldId="362"/>
            <ac:spMk id="290" creationId="{7F1C03CA-A329-115F-0B5A-AAF40395BD1B}"/>
          </ac:spMkLst>
        </pc:spChg>
        <pc:spChg chg="del">
          <ac:chgData name="Yidi Geng" userId="6750ea30-ddf2-446b-8a20-efe36586ef7e" providerId="ADAL" clId="{7F5FEF5C-43E8-4098-B506-933C98223758}" dt="2022-11-23T17:05:35.570" v="924" actId="478"/>
          <ac:spMkLst>
            <pc:docMk/>
            <pc:sldMk cId="4027008501" sldId="362"/>
            <ac:spMk id="291" creationId="{31A21AE4-5FC6-C98D-0E70-3EB86EAD7A83}"/>
          </ac:spMkLst>
        </pc:spChg>
        <pc:spChg chg="del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292" creationId="{C84A9513-74E9-7485-E1F3-BE54A812450A}"/>
          </ac:spMkLst>
        </pc:spChg>
        <pc:spChg chg="del">
          <ac:chgData name="Yidi Geng" userId="6750ea30-ddf2-446b-8a20-efe36586ef7e" providerId="ADAL" clId="{7F5FEF5C-43E8-4098-B506-933C98223758}" dt="2022-11-23T17:05:43.525" v="925" actId="478"/>
          <ac:spMkLst>
            <pc:docMk/>
            <pc:sldMk cId="4027008501" sldId="362"/>
            <ac:spMk id="293" creationId="{C543F24D-090F-5844-4F15-3BC52DAB79C0}"/>
          </ac:spMkLst>
        </pc:spChg>
        <pc:spChg chg="del">
          <ac:chgData name="Yidi Geng" userId="6750ea30-ddf2-446b-8a20-efe36586ef7e" providerId="ADAL" clId="{7F5FEF5C-43E8-4098-B506-933C98223758}" dt="2022-11-23T17:05:35.570" v="924" actId="478"/>
          <ac:spMkLst>
            <pc:docMk/>
            <pc:sldMk cId="4027008501" sldId="362"/>
            <ac:spMk id="294" creationId="{903BC470-FC00-5BEA-8070-C6EC566B5F2C}"/>
          </ac:spMkLst>
        </pc:spChg>
        <pc:spChg chg="del mod">
          <ac:chgData name="Yidi Geng" userId="6750ea30-ddf2-446b-8a20-efe36586ef7e" providerId="ADAL" clId="{7F5FEF5C-43E8-4098-B506-933C98223758}" dt="2022-11-23T17:05:43.525" v="925" actId="478"/>
          <ac:spMkLst>
            <pc:docMk/>
            <pc:sldMk cId="4027008501" sldId="362"/>
            <ac:spMk id="299" creationId="{2AA32A3B-B5B6-080D-7EC9-76F5DE375242}"/>
          </ac:spMkLst>
        </pc:spChg>
        <pc:spChg chg="del">
          <ac:chgData name="Yidi Geng" userId="6750ea30-ddf2-446b-8a20-efe36586ef7e" providerId="ADAL" clId="{7F5FEF5C-43E8-4098-B506-933C98223758}" dt="2022-11-23T17:05:43.525" v="925" actId="478"/>
          <ac:spMkLst>
            <pc:docMk/>
            <pc:sldMk cId="4027008501" sldId="362"/>
            <ac:spMk id="300" creationId="{4147C07B-121F-31CE-49D8-FFCC1F35C415}"/>
          </ac:spMkLst>
        </pc:spChg>
        <pc:spChg chg="del">
          <ac:chgData name="Yidi Geng" userId="6750ea30-ddf2-446b-8a20-efe36586ef7e" providerId="ADAL" clId="{7F5FEF5C-43E8-4098-B506-933C98223758}" dt="2022-11-23T17:05:43.525" v="925" actId="478"/>
          <ac:spMkLst>
            <pc:docMk/>
            <pc:sldMk cId="4027008501" sldId="362"/>
            <ac:spMk id="301" creationId="{0C4B5EAB-AB30-AF4E-6532-CE160C971A58}"/>
          </ac:spMkLst>
        </pc:spChg>
        <pc:spChg chg="del">
          <ac:chgData name="Yidi Geng" userId="6750ea30-ddf2-446b-8a20-efe36586ef7e" providerId="ADAL" clId="{7F5FEF5C-43E8-4098-B506-933C98223758}" dt="2022-11-23T17:05:35.570" v="924" actId="478"/>
          <ac:spMkLst>
            <pc:docMk/>
            <pc:sldMk cId="4027008501" sldId="362"/>
            <ac:spMk id="302" creationId="{6841E149-E141-1C32-BE40-6F06DCC69F57}"/>
          </ac:spMkLst>
        </pc:spChg>
        <pc:spChg chg="del mod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303" creationId="{9135C931-423E-C0D9-1C2E-21C3F802E253}"/>
          </ac:spMkLst>
        </pc:spChg>
        <pc:spChg chg="del">
          <ac:chgData name="Yidi Geng" userId="6750ea30-ddf2-446b-8a20-efe36586ef7e" providerId="ADAL" clId="{7F5FEF5C-43E8-4098-B506-933C98223758}" dt="2022-11-23T17:05:21.481" v="922" actId="478"/>
          <ac:spMkLst>
            <pc:docMk/>
            <pc:sldMk cId="4027008501" sldId="362"/>
            <ac:spMk id="304" creationId="{E67D4B80-2963-D00D-E4F8-90B622076ECF}"/>
          </ac:spMkLst>
        </pc:spChg>
        <pc:spChg chg="mod">
          <ac:chgData name="Yidi Geng" userId="6750ea30-ddf2-446b-8a20-efe36586ef7e" providerId="ADAL" clId="{7F5FEF5C-43E8-4098-B506-933C98223758}" dt="2022-11-21T19:32:22.331" v="536" actId="20577"/>
          <ac:spMkLst>
            <pc:docMk/>
            <pc:sldMk cId="4027008501" sldId="362"/>
            <ac:spMk id="414" creationId="{F02F9840-5CF3-A09F-3CFB-95A63CE8FA4D}"/>
          </ac:spMkLst>
        </pc:spChg>
        <pc:grpChg chg="add del mod">
          <ac:chgData name="Yidi Geng" userId="6750ea30-ddf2-446b-8a20-efe36586ef7e" providerId="ADAL" clId="{7F5FEF5C-43E8-4098-B506-933C98223758}" dt="2022-11-21T19:19:24.640" v="446" actId="478"/>
          <ac:grpSpMkLst>
            <pc:docMk/>
            <pc:sldMk cId="4027008501" sldId="362"/>
            <ac:grpSpMk id="16" creationId="{ACADA337-93CA-1E44-D025-571DFCD11EDA}"/>
          </ac:grpSpMkLst>
        </pc:grpChg>
      </pc:sldChg>
      <pc:sldChg chg="addSp delSp modSp del mod">
        <pc:chgData name="Yidi Geng" userId="6750ea30-ddf2-446b-8a20-efe36586ef7e" providerId="ADAL" clId="{7F5FEF5C-43E8-4098-B506-933C98223758}" dt="2022-11-23T17:31:51.446" v="1145" actId="2696"/>
        <pc:sldMkLst>
          <pc:docMk/>
          <pc:sldMk cId="306393785" sldId="388"/>
        </pc:sldMkLst>
        <pc:spChg chg="add mod">
          <ac:chgData name="Yidi Geng" userId="6750ea30-ddf2-446b-8a20-efe36586ef7e" providerId="ADAL" clId="{7F5FEF5C-43E8-4098-B506-933C98223758}" dt="2022-11-21T20:18:54.591" v="610" actId="6549"/>
          <ac:spMkLst>
            <pc:docMk/>
            <pc:sldMk cId="306393785" sldId="388"/>
            <ac:spMk id="10" creationId="{3513C323-AA77-5AAC-35F0-36BA584819D2}"/>
          </ac:spMkLst>
        </pc:spChg>
        <pc:spChg chg="add mod">
          <ac:chgData name="Yidi Geng" userId="6750ea30-ddf2-446b-8a20-efe36586ef7e" providerId="ADAL" clId="{7F5FEF5C-43E8-4098-B506-933C98223758}" dt="2022-11-21T20:22:02.141" v="717" actId="20577"/>
          <ac:spMkLst>
            <pc:docMk/>
            <pc:sldMk cId="306393785" sldId="388"/>
            <ac:spMk id="14" creationId="{775E6129-CE40-CE53-483F-31C2A4E0E393}"/>
          </ac:spMkLst>
        </pc:spChg>
        <pc:spChg chg="del mod">
          <ac:chgData name="Yidi Geng" userId="6750ea30-ddf2-446b-8a20-efe36586ef7e" providerId="ADAL" clId="{7F5FEF5C-43E8-4098-B506-933C98223758}" dt="2022-11-21T20:28:17.701" v="913" actId="478"/>
          <ac:spMkLst>
            <pc:docMk/>
            <pc:sldMk cId="306393785" sldId="388"/>
            <ac:spMk id="15" creationId="{64FA72D3-F660-254B-2EDF-EE1C7A00B886}"/>
          </ac:spMkLst>
        </pc:spChg>
        <pc:spChg chg="add mod">
          <ac:chgData name="Yidi Geng" userId="6750ea30-ddf2-446b-8a20-efe36586ef7e" providerId="ADAL" clId="{7F5FEF5C-43E8-4098-B506-933C98223758}" dt="2022-11-21T20:24:20.475" v="766" actId="20577"/>
          <ac:spMkLst>
            <pc:docMk/>
            <pc:sldMk cId="306393785" sldId="388"/>
            <ac:spMk id="16" creationId="{D4666405-0DEC-22DB-2237-F38001FEA6BB}"/>
          </ac:spMkLst>
        </pc:spChg>
        <pc:spChg chg="add mod">
          <ac:chgData name="Yidi Geng" userId="6750ea30-ddf2-446b-8a20-efe36586ef7e" providerId="ADAL" clId="{7F5FEF5C-43E8-4098-B506-933C98223758}" dt="2022-11-21T20:25:38.104" v="771" actId="20577"/>
          <ac:spMkLst>
            <pc:docMk/>
            <pc:sldMk cId="306393785" sldId="388"/>
            <ac:spMk id="17" creationId="{34E038AF-DDEF-0A5B-EAF2-DBC810385899}"/>
          </ac:spMkLst>
        </pc:spChg>
        <pc:spChg chg="add mod">
          <ac:chgData name="Yidi Geng" userId="6750ea30-ddf2-446b-8a20-efe36586ef7e" providerId="ADAL" clId="{7F5FEF5C-43E8-4098-B506-933C98223758}" dt="2022-11-21T20:26:36.106" v="793" actId="20577"/>
          <ac:spMkLst>
            <pc:docMk/>
            <pc:sldMk cId="306393785" sldId="388"/>
            <ac:spMk id="18" creationId="{91208E23-534B-121B-DBB1-328ED92971B1}"/>
          </ac:spMkLst>
        </pc:spChg>
        <pc:spChg chg="add mod">
          <ac:chgData name="Yidi Geng" userId="6750ea30-ddf2-446b-8a20-efe36586ef7e" providerId="ADAL" clId="{7F5FEF5C-43E8-4098-B506-933C98223758}" dt="2022-11-21T20:28:04.450" v="912" actId="20577"/>
          <ac:spMkLst>
            <pc:docMk/>
            <pc:sldMk cId="306393785" sldId="388"/>
            <ac:spMk id="19" creationId="{620CF26C-BE92-3B3A-423F-17C90E292ED8}"/>
          </ac:spMkLst>
        </pc:spChg>
      </pc:sldChg>
      <pc:sldChg chg="addSp delSp modSp mod">
        <pc:chgData name="Yidi Geng" userId="6750ea30-ddf2-446b-8a20-efe36586ef7e" providerId="ADAL" clId="{7F5FEF5C-43E8-4098-B506-933C98223758}" dt="2022-11-23T18:15:33.880" v="1502" actId="6549"/>
        <pc:sldMkLst>
          <pc:docMk/>
          <pc:sldMk cId="1798789550" sldId="394"/>
        </pc:sldMkLst>
        <pc:spChg chg="mod">
          <ac:chgData name="Yidi Geng" userId="6750ea30-ddf2-446b-8a20-efe36586ef7e" providerId="ADAL" clId="{7F5FEF5C-43E8-4098-B506-933C98223758}" dt="2022-11-23T18:15:33.880" v="1502" actId="6549"/>
          <ac:spMkLst>
            <pc:docMk/>
            <pc:sldMk cId="1798789550" sldId="394"/>
            <ac:spMk id="2" creationId="{9CCDFF34-B518-BD4E-B3CF-733869116F8A}"/>
          </ac:spMkLst>
        </pc:spChg>
        <pc:spChg chg="add del mod">
          <ac:chgData name="Yidi Geng" userId="6750ea30-ddf2-446b-8a20-efe36586ef7e" providerId="ADAL" clId="{7F5FEF5C-43E8-4098-B506-933C98223758}" dt="2022-11-23T18:04:42.962" v="1150"/>
          <ac:spMkLst>
            <pc:docMk/>
            <pc:sldMk cId="1798789550" sldId="394"/>
            <ac:spMk id="3" creationId="{38E0790C-64A4-85E8-49D0-FA9A0E47BA2A}"/>
          </ac:spMkLst>
        </pc:spChg>
      </pc:sldChg>
      <pc:sldChg chg="addSp delSp modSp mod">
        <pc:chgData name="Yidi Geng" userId="6750ea30-ddf2-446b-8a20-efe36586ef7e" providerId="ADAL" clId="{7F5FEF5C-43E8-4098-B506-933C98223758}" dt="2022-11-23T17:22:39.240" v="1062" actId="1076"/>
        <pc:sldMkLst>
          <pc:docMk/>
          <pc:sldMk cId="2083351184" sldId="395"/>
        </pc:sldMkLst>
        <pc:spChg chg="mod">
          <ac:chgData name="Yidi Geng" userId="6750ea30-ddf2-446b-8a20-efe36586ef7e" providerId="ADAL" clId="{7F5FEF5C-43E8-4098-B506-933C98223758}" dt="2022-11-23T17:21:43.774" v="1059" actId="1076"/>
          <ac:spMkLst>
            <pc:docMk/>
            <pc:sldMk cId="2083351184" sldId="395"/>
            <ac:spMk id="4" creationId="{419A56F2-33FC-B13B-F824-5320C14683F0}"/>
          </ac:spMkLst>
        </pc:spChg>
        <pc:spChg chg="mod">
          <ac:chgData name="Yidi Geng" userId="6750ea30-ddf2-446b-8a20-efe36586ef7e" providerId="ADAL" clId="{7F5FEF5C-43E8-4098-B506-933C98223758}" dt="2022-11-23T17:16:13.353" v="985" actId="20577"/>
          <ac:spMkLst>
            <pc:docMk/>
            <pc:sldMk cId="2083351184" sldId="395"/>
            <ac:spMk id="16" creationId="{1B2601E8-FC66-1C25-CFBB-3D42FB1F6895}"/>
          </ac:spMkLst>
        </pc:spChg>
        <pc:spChg chg="mod">
          <ac:chgData name="Yidi Geng" userId="6750ea30-ddf2-446b-8a20-efe36586ef7e" providerId="ADAL" clId="{7F5FEF5C-43E8-4098-B506-933C98223758}" dt="2022-11-23T17:16:32.229" v="993" actId="20577"/>
          <ac:spMkLst>
            <pc:docMk/>
            <pc:sldMk cId="2083351184" sldId="395"/>
            <ac:spMk id="22" creationId="{762FE224-4748-3330-47DC-F9776F9E94DE}"/>
          </ac:spMkLst>
        </pc:spChg>
        <pc:spChg chg="add mod">
          <ac:chgData name="Yidi Geng" userId="6750ea30-ddf2-446b-8a20-efe36586ef7e" providerId="ADAL" clId="{7F5FEF5C-43E8-4098-B506-933C98223758}" dt="2022-11-23T17:15:07.648" v="976" actId="1076"/>
          <ac:spMkLst>
            <pc:docMk/>
            <pc:sldMk cId="2083351184" sldId="395"/>
            <ac:spMk id="40" creationId="{CF7ED3B8-7EDA-E2AC-E1A6-07FE8FB367AE}"/>
          </ac:spMkLst>
        </pc:spChg>
        <pc:spChg chg="add mod">
          <ac:chgData name="Yidi Geng" userId="6750ea30-ddf2-446b-8a20-efe36586ef7e" providerId="ADAL" clId="{7F5FEF5C-43E8-4098-B506-933C98223758}" dt="2022-11-23T17:15:14.646" v="977" actId="1076"/>
          <ac:spMkLst>
            <pc:docMk/>
            <pc:sldMk cId="2083351184" sldId="395"/>
            <ac:spMk id="42" creationId="{0C06680F-40FF-AB8F-DC29-414D19EA23ED}"/>
          </ac:spMkLst>
        </pc:spChg>
        <pc:spChg chg="add mod">
          <ac:chgData name="Yidi Geng" userId="6750ea30-ddf2-446b-8a20-efe36586ef7e" providerId="ADAL" clId="{7F5FEF5C-43E8-4098-B506-933C98223758}" dt="2022-11-23T17:17:05.395" v="1007" actId="1076"/>
          <ac:spMkLst>
            <pc:docMk/>
            <pc:sldMk cId="2083351184" sldId="395"/>
            <ac:spMk id="43" creationId="{5E0F6D59-4924-FA4E-D4A7-EF064A9D9D36}"/>
          </ac:spMkLst>
        </pc:spChg>
        <pc:spChg chg="add mod">
          <ac:chgData name="Yidi Geng" userId="6750ea30-ddf2-446b-8a20-efe36586ef7e" providerId="ADAL" clId="{7F5FEF5C-43E8-4098-B506-933C98223758}" dt="2022-11-23T17:22:04.909" v="1061" actId="1076"/>
          <ac:spMkLst>
            <pc:docMk/>
            <pc:sldMk cId="2083351184" sldId="395"/>
            <ac:spMk id="45" creationId="{6E96FBD5-096D-A5B2-690D-33DB03B48C36}"/>
          </ac:spMkLst>
        </pc:spChg>
        <pc:spChg chg="del mod">
          <ac:chgData name="Yidi Geng" userId="6750ea30-ddf2-446b-8a20-efe36586ef7e" providerId="ADAL" clId="{7F5FEF5C-43E8-4098-B506-933C98223758}" dt="2022-11-23T17:20:41.746" v="1053" actId="478"/>
          <ac:spMkLst>
            <pc:docMk/>
            <pc:sldMk cId="2083351184" sldId="395"/>
            <ac:spMk id="325" creationId="{D587C69E-A71E-6130-EFF9-F6584C0F6F7D}"/>
          </ac:spMkLst>
        </pc:spChg>
        <pc:cxnChg chg="add mod">
          <ac:chgData name="Yidi Geng" userId="6750ea30-ddf2-446b-8a20-efe36586ef7e" providerId="ADAL" clId="{7F5FEF5C-43E8-4098-B506-933C98223758}" dt="2022-11-23T17:22:39.240" v="1062" actId="1076"/>
          <ac:cxnSpMkLst>
            <pc:docMk/>
            <pc:sldMk cId="2083351184" sldId="395"/>
            <ac:cxnSpMk id="44" creationId="{EDA89F83-E306-95C1-2097-DDF0729EA99B}"/>
          </ac:cxnSpMkLst>
        </pc:cxnChg>
        <pc:cxnChg chg="del">
          <ac:chgData name="Yidi Geng" userId="6750ea30-ddf2-446b-8a20-efe36586ef7e" providerId="ADAL" clId="{7F5FEF5C-43E8-4098-B506-933C98223758}" dt="2022-11-23T17:20:38.058" v="1051" actId="478"/>
          <ac:cxnSpMkLst>
            <pc:docMk/>
            <pc:sldMk cId="2083351184" sldId="395"/>
            <ac:cxnSpMk id="326" creationId="{0796DF65-985A-7DC7-C7E1-4D9DE163F8AE}"/>
          </ac:cxnSpMkLst>
        </pc:cxnChg>
        <pc:cxnChg chg="del">
          <ac:chgData name="Yidi Geng" userId="6750ea30-ddf2-446b-8a20-efe36586ef7e" providerId="ADAL" clId="{7F5FEF5C-43E8-4098-B506-933C98223758}" dt="2022-11-23T17:20:44.823" v="1054" actId="478"/>
          <ac:cxnSpMkLst>
            <pc:docMk/>
            <pc:sldMk cId="2083351184" sldId="395"/>
            <ac:cxnSpMk id="327" creationId="{CE3A590E-6AC0-D060-BFA8-8F5C334A6A85}"/>
          </ac:cxnSpMkLst>
        </pc:cxnChg>
        <pc:cxnChg chg="del">
          <ac:chgData name="Yidi Geng" userId="6750ea30-ddf2-446b-8a20-efe36586ef7e" providerId="ADAL" clId="{7F5FEF5C-43E8-4098-B506-933C98223758}" dt="2022-11-23T17:20:39.410" v="1052" actId="478"/>
          <ac:cxnSpMkLst>
            <pc:docMk/>
            <pc:sldMk cId="2083351184" sldId="395"/>
            <ac:cxnSpMk id="328" creationId="{0AE4D2DC-59E7-FCE3-5340-BF574B791973}"/>
          </ac:cxnSpMkLst>
        </pc:cxnChg>
      </pc:sldChg>
      <pc:sldChg chg="addSp delSp modSp add mod">
        <pc:chgData name="Yidi Geng" userId="6750ea30-ddf2-446b-8a20-efe36586ef7e" providerId="ADAL" clId="{7F5FEF5C-43E8-4098-B506-933C98223758}" dt="2022-11-23T17:31:24.082" v="1143" actId="20577"/>
        <pc:sldMkLst>
          <pc:docMk/>
          <pc:sldMk cId="3159712418" sldId="396"/>
        </pc:sldMkLst>
        <pc:spChg chg="del">
          <ac:chgData name="Yidi Geng" userId="6750ea30-ddf2-446b-8a20-efe36586ef7e" providerId="ADAL" clId="{7F5FEF5C-43E8-4098-B506-933C98223758}" dt="2022-11-23T17:17:46.043" v="1009" actId="478"/>
          <ac:spMkLst>
            <pc:docMk/>
            <pc:sldMk cId="3159712418" sldId="396"/>
            <ac:spMk id="10" creationId="{3513C323-AA77-5AAC-35F0-36BA584819D2}"/>
          </ac:spMkLst>
        </pc:spChg>
        <pc:spChg chg="add mod">
          <ac:chgData name="Yidi Geng" userId="6750ea30-ddf2-446b-8a20-efe36586ef7e" providerId="ADAL" clId="{7F5FEF5C-43E8-4098-B506-933C98223758}" dt="2022-11-23T17:18:43.587" v="1026" actId="20577"/>
          <ac:spMkLst>
            <pc:docMk/>
            <pc:sldMk cId="3159712418" sldId="396"/>
            <ac:spMk id="11" creationId="{0D621E1A-E389-5FD8-2B19-BC5B53085588}"/>
          </ac:spMkLst>
        </pc:spChg>
        <pc:spChg chg="add mod">
          <ac:chgData name="Yidi Geng" userId="6750ea30-ddf2-446b-8a20-efe36586ef7e" providerId="ADAL" clId="{7F5FEF5C-43E8-4098-B506-933C98223758}" dt="2022-11-23T17:18:16.588" v="1010"/>
          <ac:spMkLst>
            <pc:docMk/>
            <pc:sldMk cId="3159712418" sldId="396"/>
            <ac:spMk id="12" creationId="{C57BF379-B525-E505-9255-9591833361B3}"/>
          </ac:spMkLst>
        </pc:spChg>
        <pc:spChg chg="add mod">
          <ac:chgData name="Yidi Geng" userId="6750ea30-ddf2-446b-8a20-efe36586ef7e" providerId="ADAL" clId="{7F5FEF5C-43E8-4098-B506-933C98223758}" dt="2022-11-23T17:29:37.822" v="1078" actId="20577"/>
          <ac:spMkLst>
            <pc:docMk/>
            <pc:sldMk cId="3159712418" sldId="396"/>
            <ac:spMk id="13" creationId="{C277051E-ECD3-CFC0-1584-59AC52C06B11}"/>
          </ac:spMkLst>
        </pc:spChg>
        <pc:spChg chg="del">
          <ac:chgData name="Yidi Geng" userId="6750ea30-ddf2-446b-8a20-efe36586ef7e" providerId="ADAL" clId="{7F5FEF5C-43E8-4098-B506-933C98223758}" dt="2022-11-23T17:17:46.043" v="1009" actId="478"/>
          <ac:spMkLst>
            <pc:docMk/>
            <pc:sldMk cId="3159712418" sldId="396"/>
            <ac:spMk id="14" creationId="{775E6129-CE40-CE53-483F-31C2A4E0E393}"/>
          </ac:spMkLst>
        </pc:spChg>
        <pc:spChg chg="add mod">
          <ac:chgData name="Yidi Geng" userId="6750ea30-ddf2-446b-8a20-efe36586ef7e" providerId="ADAL" clId="{7F5FEF5C-43E8-4098-B506-933C98223758}" dt="2022-11-23T17:18:16.588" v="1010"/>
          <ac:spMkLst>
            <pc:docMk/>
            <pc:sldMk cId="3159712418" sldId="396"/>
            <ac:spMk id="15" creationId="{9FC9C2E9-1BF1-D248-6F58-E21BC965BF91}"/>
          </ac:spMkLst>
        </pc:spChg>
        <pc:spChg chg="del">
          <ac:chgData name="Yidi Geng" userId="6750ea30-ddf2-446b-8a20-efe36586ef7e" providerId="ADAL" clId="{7F5FEF5C-43E8-4098-B506-933C98223758}" dt="2022-11-23T17:17:46.043" v="1009" actId="478"/>
          <ac:spMkLst>
            <pc:docMk/>
            <pc:sldMk cId="3159712418" sldId="396"/>
            <ac:spMk id="16" creationId="{D4666405-0DEC-22DB-2237-F38001FEA6BB}"/>
          </ac:spMkLst>
        </pc:spChg>
        <pc:spChg chg="del">
          <ac:chgData name="Yidi Geng" userId="6750ea30-ddf2-446b-8a20-efe36586ef7e" providerId="ADAL" clId="{7F5FEF5C-43E8-4098-B506-933C98223758}" dt="2022-11-23T17:17:46.043" v="1009" actId="478"/>
          <ac:spMkLst>
            <pc:docMk/>
            <pc:sldMk cId="3159712418" sldId="396"/>
            <ac:spMk id="17" creationId="{34E038AF-DDEF-0A5B-EAF2-DBC810385899}"/>
          </ac:spMkLst>
        </pc:spChg>
        <pc:spChg chg="del">
          <ac:chgData name="Yidi Geng" userId="6750ea30-ddf2-446b-8a20-efe36586ef7e" providerId="ADAL" clId="{7F5FEF5C-43E8-4098-B506-933C98223758}" dt="2022-11-23T17:17:46.043" v="1009" actId="478"/>
          <ac:spMkLst>
            <pc:docMk/>
            <pc:sldMk cId="3159712418" sldId="396"/>
            <ac:spMk id="18" creationId="{91208E23-534B-121B-DBB1-328ED92971B1}"/>
          </ac:spMkLst>
        </pc:spChg>
        <pc:spChg chg="del">
          <ac:chgData name="Yidi Geng" userId="6750ea30-ddf2-446b-8a20-efe36586ef7e" providerId="ADAL" clId="{7F5FEF5C-43E8-4098-B506-933C98223758}" dt="2022-11-23T17:17:46.043" v="1009" actId="478"/>
          <ac:spMkLst>
            <pc:docMk/>
            <pc:sldMk cId="3159712418" sldId="396"/>
            <ac:spMk id="19" creationId="{620CF26C-BE92-3B3A-423F-17C90E292ED8}"/>
          </ac:spMkLst>
        </pc:spChg>
        <pc:spChg chg="add mod">
          <ac:chgData name="Yidi Geng" userId="6750ea30-ddf2-446b-8a20-efe36586ef7e" providerId="ADAL" clId="{7F5FEF5C-43E8-4098-B506-933C98223758}" dt="2022-11-23T17:30:42.729" v="1110" actId="20577"/>
          <ac:spMkLst>
            <pc:docMk/>
            <pc:sldMk cId="3159712418" sldId="396"/>
            <ac:spMk id="21" creationId="{25C3684B-4269-3B5C-955A-696386EF596C}"/>
          </ac:spMkLst>
        </pc:spChg>
        <pc:spChg chg="add mod">
          <ac:chgData name="Yidi Geng" userId="6750ea30-ddf2-446b-8a20-efe36586ef7e" providerId="ADAL" clId="{7F5FEF5C-43E8-4098-B506-933C98223758}" dt="2022-11-23T17:18:16.588" v="1010"/>
          <ac:spMkLst>
            <pc:docMk/>
            <pc:sldMk cId="3159712418" sldId="396"/>
            <ac:spMk id="22" creationId="{75016288-0938-29AA-6E49-0D33E1F721AB}"/>
          </ac:spMkLst>
        </pc:spChg>
        <pc:spChg chg="add mod">
          <ac:chgData name="Yidi Geng" userId="6750ea30-ddf2-446b-8a20-efe36586ef7e" providerId="ADAL" clId="{7F5FEF5C-43E8-4098-B506-933C98223758}" dt="2022-11-23T17:19:19.432" v="1047" actId="20577"/>
          <ac:spMkLst>
            <pc:docMk/>
            <pc:sldMk cId="3159712418" sldId="396"/>
            <ac:spMk id="23" creationId="{E35E67D5-DA1E-C305-610A-D00F487C6F9E}"/>
          </ac:spMkLst>
        </pc:spChg>
        <pc:spChg chg="add mod">
          <ac:chgData name="Yidi Geng" userId="6750ea30-ddf2-446b-8a20-efe36586ef7e" providerId="ADAL" clId="{7F5FEF5C-43E8-4098-B506-933C98223758}" dt="2022-11-23T17:30:14.992" v="1094"/>
          <ac:spMkLst>
            <pc:docMk/>
            <pc:sldMk cId="3159712418" sldId="396"/>
            <ac:spMk id="24" creationId="{9998CB2C-E0E7-A348-8E89-12E5D9FB5351}"/>
          </ac:spMkLst>
        </pc:spChg>
        <pc:spChg chg="add mod">
          <ac:chgData name="Yidi Geng" userId="6750ea30-ddf2-446b-8a20-efe36586ef7e" providerId="ADAL" clId="{7F5FEF5C-43E8-4098-B506-933C98223758}" dt="2022-11-23T17:31:24.082" v="1143" actId="20577"/>
          <ac:spMkLst>
            <pc:docMk/>
            <pc:sldMk cId="3159712418" sldId="396"/>
            <ac:spMk id="25" creationId="{ECD67E9D-435D-FCF0-B736-CB183BD718BD}"/>
          </ac:spMkLst>
        </pc:spChg>
        <pc:spChg chg="add mod">
          <ac:chgData name="Yidi Geng" userId="6750ea30-ddf2-446b-8a20-efe36586ef7e" providerId="ADAL" clId="{7F5FEF5C-43E8-4098-B506-933C98223758}" dt="2022-11-23T17:20:18.001" v="1049"/>
          <ac:spMkLst>
            <pc:docMk/>
            <pc:sldMk cId="3159712418" sldId="396"/>
            <ac:spMk id="28" creationId="{D716D1FD-71E5-6123-730F-FD6E5C48772E}"/>
          </ac:spMkLst>
        </pc:spChg>
        <pc:cxnChg chg="add mod">
          <ac:chgData name="Yidi Geng" userId="6750ea30-ddf2-446b-8a20-efe36586ef7e" providerId="ADAL" clId="{7F5FEF5C-43E8-4098-B506-933C98223758}" dt="2022-11-23T17:20:18.001" v="1049"/>
          <ac:cxnSpMkLst>
            <pc:docMk/>
            <pc:sldMk cId="3159712418" sldId="396"/>
            <ac:cxnSpMk id="26" creationId="{8C3D8419-F92A-6D89-DA85-A47E6EF2F92C}"/>
          </ac:cxnSpMkLst>
        </pc:cxnChg>
        <pc:cxnChg chg="add mod">
          <ac:chgData name="Yidi Geng" userId="6750ea30-ddf2-446b-8a20-efe36586ef7e" providerId="ADAL" clId="{7F5FEF5C-43E8-4098-B506-933C98223758}" dt="2022-11-23T17:20:18.001" v="1049"/>
          <ac:cxnSpMkLst>
            <pc:docMk/>
            <pc:sldMk cId="3159712418" sldId="396"/>
            <ac:cxnSpMk id="27" creationId="{E16085E7-F339-0735-FD66-6269840A56FD}"/>
          </ac:cxnSpMkLst>
        </pc:cxnChg>
      </pc:sldChg>
      <pc:sldChg chg="del">
        <pc:chgData name="Yidi Geng" userId="6750ea30-ddf2-446b-8a20-efe36586ef7e" providerId="ADAL" clId="{7F5FEF5C-43E8-4098-B506-933C98223758}" dt="2022-11-23T17:31:39.983" v="1144" actId="2696"/>
        <pc:sldMkLst>
          <pc:docMk/>
          <pc:sldMk cId="2172680304" sldId="398"/>
        </pc:sldMkLst>
      </pc:sldChg>
    </pc:docChg>
  </pc:docChgLst>
  <pc:docChgLst>
    <pc:chgData name="Vladislav Perevalov" userId="S::perevalv@mcmaster.ca::a15fb574-8ef9-405d-8c7c-f1245b7d35a7" providerId="AD" clId="Web-{E8BB1515-8E6F-431B-B1A3-9740344FBEEA}"/>
    <pc:docChg chg="modSld sldOrd">
      <pc:chgData name="Vladislav Perevalov" userId="S::perevalv@mcmaster.ca::a15fb574-8ef9-405d-8c7c-f1245b7d35a7" providerId="AD" clId="Web-{E8BB1515-8E6F-431B-B1A3-9740344FBEEA}" dt="2022-11-25T05:24:19.880" v="93" actId="20577"/>
      <pc:docMkLst>
        <pc:docMk/>
      </pc:docMkLst>
      <pc:sldChg chg="modSp">
        <pc:chgData name="Vladislav Perevalov" userId="S::perevalv@mcmaster.ca::a15fb574-8ef9-405d-8c7c-f1245b7d35a7" providerId="AD" clId="Web-{E8BB1515-8E6F-431B-B1A3-9740344FBEEA}" dt="2022-11-25T05:02:32.361" v="89" actId="20577"/>
        <pc:sldMkLst>
          <pc:docMk/>
          <pc:sldMk cId="1652728258" sldId="404"/>
        </pc:sldMkLst>
        <pc:spChg chg="mod">
          <ac:chgData name="Vladislav Perevalov" userId="S::perevalv@mcmaster.ca::a15fb574-8ef9-405d-8c7c-f1245b7d35a7" providerId="AD" clId="Web-{E8BB1515-8E6F-431B-B1A3-9740344FBEEA}" dt="2022-11-25T05:02:32.361" v="89" actId="20577"/>
          <ac:spMkLst>
            <pc:docMk/>
            <pc:sldMk cId="1652728258" sldId="404"/>
            <ac:spMk id="5" creationId="{64E62B09-B628-9390-D8F1-925831825F25}"/>
          </ac:spMkLst>
        </pc:spChg>
        <pc:spChg chg="mod">
          <ac:chgData name="Vladislav Perevalov" userId="S::perevalv@mcmaster.ca::a15fb574-8ef9-405d-8c7c-f1245b7d35a7" providerId="AD" clId="Web-{E8BB1515-8E6F-431B-B1A3-9740344FBEEA}" dt="2022-11-25T05:01:48.502" v="87" actId="20577"/>
          <ac:spMkLst>
            <pc:docMk/>
            <pc:sldMk cId="1652728258" sldId="404"/>
            <ac:spMk id="10" creationId="{A69180BC-3644-5C15-3220-B63028F819DB}"/>
          </ac:spMkLst>
        </pc:spChg>
      </pc:sldChg>
      <pc:sldChg chg="modSp ord">
        <pc:chgData name="Vladislav Perevalov" userId="S::perevalv@mcmaster.ca::a15fb574-8ef9-405d-8c7c-f1245b7d35a7" providerId="AD" clId="Web-{E8BB1515-8E6F-431B-B1A3-9740344FBEEA}" dt="2022-11-25T05:24:19.880" v="93" actId="20577"/>
        <pc:sldMkLst>
          <pc:docMk/>
          <pc:sldMk cId="2192655461" sldId="406"/>
        </pc:sldMkLst>
        <pc:spChg chg="mod">
          <ac:chgData name="Vladislav Perevalov" userId="S::perevalv@mcmaster.ca::a15fb574-8ef9-405d-8c7c-f1245b7d35a7" providerId="AD" clId="Web-{E8BB1515-8E6F-431B-B1A3-9740344FBEEA}" dt="2022-11-25T05:24:19.880" v="93" actId="20577"/>
          <ac:spMkLst>
            <pc:docMk/>
            <pc:sldMk cId="2192655461" sldId="406"/>
            <ac:spMk id="13" creationId="{876B2BC4-F43D-2820-FA93-E9067B085B6C}"/>
          </ac:spMkLst>
        </pc:spChg>
      </pc:sldChg>
    </pc:docChg>
  </pc:docChgLst>
  <pc:docChgLst>
    <pc:chgData name="Vladislav Perevalov" userId="S::perevalv@mcmaster.ca::a15fb574-8ef9-405d-8c7c-f1245b7d35a7" providerId="AD" clId="Web-{69106411-5C9C-483F-B43E-148ACF0781F9}"/>
    <pc:docChg chg="modSld">
      <pc:chgData name="Vladislav Perevalov" userId="S::perevalv@mcmaster.ca::a15fb574-8ef9-405d-8c7c-f1245b7d35a7" providerId="AD" clId="Web-{69106411-5C9C-483F-B43E-148ACF0781F9}" dt="2022-11-24T22:01:52.938" v="1" actId="20577"/>
      <pc:docMkLst>
        <pc:docMk/>
      </pc:docMkLst>
      <pc:sldChg chg="modSp">
        <pc:chgData name="Vladislav Perevalov" userId="S::perevalv@mcmaster.ca::a15fb574-8ef9-405d-8c7c-f1245b7d35a7" providerId="AD" clId="Web-{69106411-5C9C-483F-B43E-148ACF0781F9}" dt="2022-11-24T22:01:52.938" v="1" actId="20577"/>
        <pc:sldMkLst>
          <pc:docMk/>
          <pc:sldMk cId="1798789550" sldId="394"/>
        </pc:sldMkLst>
        <pc:spChg chg="mod">
          <ac:chgData name="Vladislav Perevalov" userId="S::perevalv@mcmaster.ca::a15fb574-8ef9-405d-8c7c-f1245b7d35a7" providerId="AD" clId="Web-{69106411-5C9C-483F-B43E-148ACF0781F9}" dt="2022-11-24T22:01:52.938" v="1" actId="20577"/>
          <ac:spMkLst>
            <pc:docMk/>
            <pc:sldMk cId="1798789550" sldId="394"/>
            <ac:spMk id="2" creationId="{9CCDFF34-B518-BD4E-B3CF-733869116F8A}"/>
          </ac:spMkLst>
        </pc:spChg>
      </pc:sldChg>
    </pc:docChg>
  </pc:docChgLst>
  <pc:docChgLst>
    <pc:chgData name="Vladislav Perevalov" userId="S::perevalv@mcmaster.ca::a15fb574-8ef9-405d-8c7c-f1245b7d35a7" providerId="AD" clId="Web-{D23F44C0-364B-49D9-9126-ECB1B6125F99}"/>
    <pc:docChg chg="addSld modSection">
      <pc:chgData name="Vladislav Perevalov" userId="S::perevalv@mcmaster.ca::a15fb574-8ef9-405d-8c7c-f1245b7d35a7" providerId="AD" clId="Web-{D23F44C0-364B-49D9-9126-ECB1B6125F99}" dt="2022-11-11T18:17:27.276" v="3"/>
      <pc:docMkLst>
        <pc:docMk/>
      </pc:docMkLst>
      <pc:sldChg chg="add replId">
        <pc:chgData name="Vladislav Perevalov" userId="S::perevalv@mcmaster.ca::a15fb574-8ef9-405d-8c7c-f1245b7d35a7" providerId="AD" clId="Web-{D23F44C0-364B-49D9-9126-ECB1B6125F99}" dt="2022-11-11T18:17:25.011" v="0"/>
        <pc:sldMkLst>
          <pc:docMk/>
          <pc:sldMk cId="2029170211" sldId="364"/>
        </pc:sldMkLst>
      </pc:sldChg>
      <pc:sldChg chg="add replId">
        <pc:chgData name="Vladislav Perevalov" userId="S::perevalv@mcmaster.ca::a15fb574-8ef9-405d-8c7c-f1245b7d35a7" providerId="AD" clId="Web-{D23F44C0-364B-49D9-9126-ECB1B6125F99}" dt="2022-11-11T18:17:25.948" v="1"/>
        <pc:sldMkLst>
          <pc:docMk/>
          <pc:sldMk cId="4166082792" sldId="365"/>
        </pc:sldMkLst>
      </pc:sldChg>
      <pc:sldChg chg="add replId">
        <pc:chgData name="Vladislav Perevalov" userId="S::perevalv@mcmaster.ca::a15fb574-8ef9-405d-8c7c-f1245b7d35a7" providerId="AD" clId="Web-{D23F44C0-364B-49D9-9126-ECB1B6125F99}" dt="2022-11-11T18:17:26.870" v="2"/>
        <pc:sldMkLst>
          <pc:docMk/>
          <pc:sldMk cId="3251581437" sldId="366"/>
        </pc:sldMkLst>
      </pc:sldChg>
      <pc:sldChg chg="add replId">
        <pc:chgData name="Vladislav Perevalov" userId="S::perevalv@mcmaster.ca::a15fb574-8ef9-405d-8c7c-f1245b7d35a7" providerId="AD" clId="Web-{D23F44C0-364B-49D9-9126-ECB1B6125F99}" dt="2022-11-11T18:17:27.276" v="3"/>
        <pc:sldMkLst>
          <pc:docMk/>
          <pc:sldMk cId="1162379023" sldId="367"/>
        </pc:sldMkLst>
      </pc:sldChg>
    </pc:docChg>
  </pc:docChgLst>
  <pc:docChgLst>
    <pc:chgData name="Vladislav Perevalov" userId="S::perevalv@mcmaster.ca::a15fb574-8ef9-405d-8c7c-f1245b7d35a7" providerId="AD" clId="Web-{7D5F3206-5B1F-4702-B1B2-2ADE2A003C76}"/>
    <pc:docChg chg="modSld">
      <pc:chgData name="Vladislav Perevalov" userId="S::perevalv@mcmaster.ca::a15fb574-8ef9-405d-8c7c-f1245b7d35a7" providerId="AD" clId="Web-{7D5F3206-5B1F-4702-B1B2-2ADE2A003C76}" dt="2022-11-25T00:07:38.436" v="1" actId="20577"/>
      <pc:docMkLst>
        <pc:docMk/>
      </pc:docMkLst>
      <pc:sldChg chg="modSp">
        <pc:chgData name="Vladislav Perevalov" userId="S::perevalv@mcmaster.ca::a15fb574-8ef9-405d-8c7c-f1245b7d35a7" providerId="AD" clId="Web-{7D5F3206-5B1F-4702-B1B2-2ADE2A003C76}" dt="2022-11-25T00:07:38.436" v="1" actId="20577"/>
        <pc:sldMkLst>
          <pc:docMk/>
          <pc:sldMk cId="4252749090" sldId="389"/>
        </pc:sldMkLst>
        <pc:spChg chg="mod">
          <ac:chgData name="Vladislav Perevalov" userId="S::perevalv@mcmaster.ca::a15fb574-8ef9-405d-8c7c-f1245b7d35a7" providerId="AD" clId="Web-{7D5F3206-5B1F-4702-B1B2-2ADE2A003C76}" dt="2022-11-25T00:07:38.436" v="1" actId="20577"/>
          <ac:spMkLst>
            <pc:docMk/>
            <pc:sldMk cId="4252749090" sldId="389"/>
            <ac:spMk id="321" creationId="{2FC59868-8C73-A54F-90F2-567172F3AF77}"/>
          </ac:spMkLst>
        </pc:spChg>
      </pc:sldChg>
    </pc:docChg>
  </pc:docChgLst>
  <pc:docChgLst>
    <pc:chgData name="Vladislav Perevalov" userId="S::perevalv@mcmaster.ca::a15fb574-8ef9-405d-8c7c-f1245b7d35a7" providerId="AD" clId="Web-{AA9E6D7A-23B7-4940-93B2-A70A2D173032}"/>
    <pc:docChg chg="addSld delSld modSld modSection">
      <pc:chgData name="Vladislav Perevalov" userId="S::perevalv@mcmaster.ca::a15fb574-8ef9-405d-8c7c-f1245b7d35a7" providerId="AD" clId="Web-{AA9E6D7A-23B7-4940-93B2-A70A2D173032}" dt="2022-11-23T19:04:46.931" v="450" actId="1076"/>
      <pc:docMkLst>
        <pc:docMk/>
      </pc:docMkLst>
      <pc:sldChg chg="addSp modSp">
        <pc:chgData name="Vladislav Perevalov" userId="S::perevalv@mcmaster.ca::a15fb574-8ef9-405d-8c7c-f1245b7d35a7" providerId="AD" clId="Web-{AA9E6D7A-23B7-4940-93B2-A70A2D173032}" dt="2022-11-23T17:50:37.660" v="101" actId="20577"/>
        <pc:sldMkLst>
          <pc:docMk/>
          <pc:sldMk cId="2029170211" sldId="364"/>
        </pc:sldMkLst>
        <pc:spChg chg="add mod">
          <ac:chgData name="Vladislav Perevalov" userId="S::perevalv@mcmaster.ca::a15fb574-8ef9-405d-8c7c-f1245b7d35a7" providerId="AD" clId="Web-{AA9E6D7A-23B7-4940-93B2-A70A2D173032}" dt="2022-11-23T17:50:37.660" v="101" actId="20577"/>
          <ac:spMkLst>
            <pc:docMk/>
            <pc:sldMk cId="2029170211" sldId="364"/>
            <ac:spMk id="10" creationId="{A69180BC-3644-5C15-3220-B63028F819DB}"/>
          </ac:spMkLst>
        </pc:spChg>
      </pc:sldChg>
      <pc:sldChg chg="modSp">
        <pc:chgData name="Vladislav Perevalov" userId="S::perevalv@mcmaster.ca::a15fb574-8ef9-405d-8c7c-f1245b7d35a7" providerId="AD" clId="Web-{AA9E6D7A-23B7-4940-93B2-A70A2D173032}" dt="2022-11-23T16:51:42.048" v="1" actId="20577"/>
        <pc:sldMkLst>
          <pc:docMk/>
          <pc:sldMk cId="1762539013" sldId="382"/>
        </pc:sldMkLst>
        <pc:spChg chg="mod">
          <ac:chgData name="Vladislav Perevalov" userId="S::perevalv@mcmaster.ca::a15fb574-8ef9-405d-8c7c-f1245b7d35a7" providerId="AD" clId="Web-{AA9E6D7A-23B7-4940-93B2-A70A2D173032}" dt="2022-11-23T16:51:42.048" v="1" actId="20577"/>
          <ac:spMkLst>
            <pc:docMk/>
            <pc:sldMk cId="1762539013" sldId="382"/>
            <ac:spMk id="30" creationId="{204DA5CC-D781-C8B8-5438-2B4C46BBE1D3}"/>
          </ac:spMkLst>
        </pc:spChg>
      </pc:sldChg>
      <pc:sldChg chg="del">
        <pc:chgData name="Vladislav Perevalov" userId="S::perevalv@mcmaster.ca::a15fb574-8ef9-405d-8c7c-f1245b7d35a7" providerId="AD" clId="Web-{AA9E6D7A-23B7-4940-93B2-A70A2D173032}" dt="2022-11-23T18:20:57.717" v="239"/>
        <pc:sldMkLst>
          <pc:docMk/>
          <pc:sldMk cId="96659264" sldId="390"/>
        </pc:sldMkLst>
      </pc:sldChg>
      <pc:sldChg chg="addSp delSp modSp">
        <pc:chgData name="Vladislav Perevalov" userId="S::perevalv@mcmaster.ca::a15fb574-8ef9-405d-8c7c-f1245b7d35a7" providerId="AD" clId="Web-{AA9E6D7A-23B7-4940-93B2-A70A2D173032}" dt="2022-11-23T19:01:11.801" v="417" actId="14100"/>
        <pc:sldMkLst>
          <pc:docMk/>
          <pc:sldMk cId="840332457" sldId="391"/>
        </pc:sldMkLst>
        <pc:spChg chg="add mod">
          <ac:chgData name="Vladislav Perevalov" userId="S::perevalv@mcmaster.ca::a15fb574-8ef9-405d-8c7c-f1245b7d35a7" providerId="AD" clId="Web-{AA9E6D7A-23B7-4940-93B2-A70A2D173032}" dt="2022-11-23T17:48:08.318" v="25" actId="20577"/>
          <ac:spMkLst>
            <pc:docMk/>
            <pc:sldMk cId="840332457" sldId="391"/>
            <ac:spMk id="2" creationId="{ED46F2C1-7E38-AFD9-11D1-985945A26A55}"/>
          </ac:spMkLst>
        </pc:spChg>
        <pc:picChg chg="add mod">
          <ac:chgData name="Vladislav Perevalov" userId="S::perevalv@mcmaster.ca::a15fb574-8ef9-405d-8c7c-f1245b7d35a7" providerId="AD" clId="Web-{AA9E6D7A-23B7-4940-93B2-A70A2D173032}" dt="2022-11-23T19:01:11.801" v="417" actId="14100"/>
          <ac:picMkLst>
            <pc:docMk/>
            <pc:sldMk cId="840332457" sldId="391"/>
            <ac:picMk id="3" creationId="{E78D1940-ACA5-B09F-5619-8797478A3B0F}"/>
          </ac:picMkLst>
        </pc:picChg>
        <pc:picChg chg="del mod">
          <ac:chgData name="Vladislav Perevalov" userId="S::perevalv@mcmaster.ca::a15fb574-8ef9-405d-8c7c-f1245b7d35a7" providerId="AD" clId="Web-{AA9E6D7A-23B7-4940-93B2-A70A2D173032}" dt="2022-11-23T19:00:50.238" v="413"/>
          <ac:picMkLst>
            <pc:docMk/>
            <pc:sldMk cId="840332457" sldId="391"/>
            <ac:picMk id="11" creationId="{AC82803B-C5F8-473B-8205-24ACD04EE7D4}"/>
          </ac:picMkLst>
        </pc:picChg>
      </pc:sldChg>
      <pc:sldChg chg="addSp delSp modSp">
        <pc:chgData name="Vladislav Perevalov" userId="S::perevalv@mcmaster.ca::a15fb574-8ef9-405d-8c7c-f1245b7d35a7" providerId="AD" clId="Web-{AA9E6D7A-23B7-4940-93B2-A70A2D173032}" dt="2022-11-23T19:02:08.693" v="421" actId="14100"/>
        <pc:sldMkLst>
          <pc:docMk/>
          <pc:sldMk cId="3172311671" sldId="392"/>
        </pc:sldMkLst>
        <pc:spChg chg="add mod">
          <ac:chgData name="Vladislav Perevalov" userId="S::perevalv@mcmaster.ca::a15fb574-8ef9-405d-8c7c-f1245b7d35a7" providerId="AD" clId="Web-{AA9E6D7A-23B7-4940-93B2-A70A2D173032}" dt="2022-11-23T17:59:01.026" v="238" actId="20577"/>
          <ac:spMkLst>
            <pc:docMk/>
            <pc:sldMk cId="3172311671" sldId="392"/>
            <ac:spMk id="3" creationId="{CE9F8312-CA7B-DA68-95FE-848748A3D2DB}"/>
          </ac:spMkLst>
        </pc:spChg>
        <pc:picChg chg="add mod">
          <ac:chgData name="Vladislav Perevalov" userId="S::perevalv@mcmaster.ca::a15fb574-8ef9-405d-8c7c-f1245b7d35a7" providerId="AD" clId="Web-{AA9E6D7A-23B7-4940-93B2-A70A2D173032}" dt="2022-11-23T19:02:08.693" v="421" actId="14100"/>
          <ac:picMkLst>
            <pc:docMk/>
            <pc:sldMk cId="3172311671" sldId="392"/>
            <ac:picMk id="9" creationId="{9668BD5F-DC63-9428-BCDC-D180123B8814}"/>
          </ac:picMkLst>
        </pc:picChg>
        <pc:picChg chg="del mod">
          <ac:chgData name="Vladislav Perevalov" userId="S::perevalv@mcmaster.ca::a15fb574-8ef9-405d-8c7c-f1245b7d35a7" providerId="AD" clId="Web-{AA9E6D7A-23B7-4940-93B2-A70A2D173032}" dt="2022-11-23T19:01:54.458" v="418"/>
          <ac:picMkLst>
            <pc:docMk/>
            <pc:sldMk cId="3172311671" sldId="392"/>
            <ac:picMk id="13" creationId="{BC6F92B1-A752-6A7C-7AEB-CE01AF843BC3}"/>
          </ac:picMkLst>
        </pc:picChg>
      </pc:sldChg>
      <pc:sldChg chg="modSp">
        <pc:chgData name="Vladislav Perevalov" userId="S::perevalv@mcmaster.ca::a15fb574-8ef9-405d-8c7c-f1245b7d35a7" providerId="AD" clId="Web-{AA9E6D7A-23B7-4940-93B2-A70A2D173032}" dt="2022-11-23T18:31:22.809" v="406" actId="20577"/>
        <pc:sldMkLst>
          <pc:docMk/>
          <pc:sldMk cId="1798789550" sldId="394"/>
        </pc:sldMkLst>
        <pc:spChg chg="mod">
          <ac:chgData name="Vladislav Perevalov" userId="S::perevalv@mcmaster.ca::a15fb574-8ef9-405d-8c7c-f1245b7d35a7" providerId="AD" clId="Web-{AA9E6D7A-23B7-4940-93B2-A70A2D173032}" dt="2022-11-23T18:31:22.809" v="406" actId="20577"/>
          <ac:spMkLst>
            <pc:docMk/>
            <pc:sldMk cId="1798789550" sldId="394"/>
            <ac:spMk id="2" creationId="{9CCDFF34-B518-BD4E-B3CF-733869116F8A}"/>
          </ac:spMkLst>
        </pc:spChg>
        <pc:spChg chg="mod">
          <ac:chgData name="Vladislav Perevalov" userId="S::perevalv@mcmaster.ca::a15fb574-8ef9-405d-8c7c-f1245b7d35a7" providerId="AD" clId="Web-{AA9E6D7A-23B7-4940-93B2-A70A2D173032}" dt="2022-11-23T16:56:54.167" v="4" actId="20577"/>
          <ac:spMkLst>
            <pc:docMk/>
            <pc:sldMk cId="1798789550" sldId="394"/>
            <ac:spMk id="16" creationId="{20C30B95-34B0-F86F-7CE9-DD1C10E6D5A0}"/>
          </ac:spMkLst>
        </pc:spChg>
      </pc:sldChg>
      <pc:sldChg chg="delSp add replId">
        <pc:chgData name="Vladislav Perevalov" userId="S::perevalv@mcmaster.ca::a15fb574-8ef9-405d-8c7c-f1245b7d35a7" providerId="AD" clId="Web-{AA9E6D7A-23B7-4940-93B2-A70A2D173032}" dt="2022-11-23T17:19:17.910" v="6"/>
        <pc:sldMkLst>
          <pc:docMk/>
          <pc:sldMk cId="4050223877" sldId="397"/>
        </pc:sldMkLst>
        <pc:picChg chg="del">
          <ac:chgData name="Vladislav Perevalov" userId="S::perevalv@mcmaster.ca::a15fb574-8ef9-405d-8c7c-f1245b7d35a7" providerId="AD" clId="Web-{AA9E6D7A-23B7-4940-93B2-A70A2D173032}" dt="2022-11-23T17:19:17.910" v="6"/>
          <ac:picMkLst>
            <pc:docMk/>
            <pc:sldMk cId="4050223877" sldId="397"/>
            <ac:picMk id="13" creationId="{BC6F92B1-A752-6A7C-7AEB-CE01AF843BC3}"/>
          </ac:picMkLst>
        </pc:picChg>
      </pc:sldChg>
      <pc:sldChg chg="modSp">
        <pc:chgData name="Vladislav Perevalov" userId="S::perevalv@mcmaster.ca::a15fb574-8ef9-405d-8c7c-f1245b7d35a7" providerId="AD" clId="Web-{AA9E6D7A-23B7-4940-93B2-A70A2D173032}" dt="2022-11-23T19:04:46.931" v="450" actId="1076"/>
        <pc:sldMkLst>
          <pc:docMk/>
          <pc:sldMk cId="3705625387" sldId="402"/>
        </pc:sldMkLst>
        <pc:spChg chg="mod">
          <ac:chgData name="Vladislav Perevalov" userId="S::perevalv@mcmaster.ca::a15fb574-8ef9-405d-8c7c-f1245b7d35a7" providerId="AD" clId="Web-{AA9E6D7A-23B7-4940-93B2-A70A2D173032}" dt="2022-11-23T19:04:29.149" v="448" actId="1076"/>
          <ac:spMkLst>
            <pc:docMk/>
            <pc:sldMk cId="3705625387" sldId="402"/>
            <ac:spMk id="3" creationId="{4B23F066-78F6-ED99-A2E1-FCA243435AA8}"/>
          </ac:spMkLst>
        </pc:spChg>
        <pc:spChg chg="mod">
          <ac:chgData name="Vladislav Perevalov" userId="S::perevalv@mcmaster.ca::a15fb574-8ef9-405d-8c7c-f1245b7d35a7" providerId="AD" clId="Web-{AA9E6D7A-23B7-4940-93B2-A70A2D173032}" dt="2022-11-23T19:03:13.616" v="440" actId="14100"/>
          <ac:spMkLst>
            <pc:docMk/>
            <pc:sldMk cId="3705625387" sldId="402"/>
            <ac:spMk id="9" creationId="{2E678CB3-6BF2-2C9B-867D-B0E0FC69D6D7}"/>
          </ac:spMkLst>
        </pc:spChg>
        <pc:spChg chg="mod">
          <ac:chgData name="Vladislav Perevalov" userId="S::perevalv@mcmaster.ca::a15fb574-8ef9-405d-8c7c-f1245b7d35a7" providerId="AD" clId="Web-{AA9E6D7A-23B7-4940-93B2-A70A2D173032}" dt="2022-11-23T19:02:56.944" v="422" actId="1076"/>
          <ac:spMkLst>
            <pc:docMk/>
            <pc:sldMk cId="3705625387" sldId="402"/>
            <ac:spMk id="10" creationId="{A69180BC-3644-5C15-3220-B63028F819DB}"/>
          </ac:spMkLst>
        </pc:spChg>
        <pc:spChg chg="mod">
          <ac:chgData name="Vladislav Perevalov" userId="S::perevalv@mcmaster.ca::a15fb574-8ef9-405d-8c7c-f1245b7d35a7" providerId="AD" clId="Web-{AA9E6D7A-23B7-4940-93B2-A70A2D173032}" dt="2022-11-23T19:04:20.821" v="447" actId="1076"/>
          <ac:spMkLst>
            <pc:docMk/>
            <pc:sldMk cId="3705625387" sldId="402"/>
            <ac:spMk id="55" creationId="{C6054ED8-FF62-C374-8C8A-6780AA98EC0C}"/>
          </ac:spMkLst>
        </pc:spChg>
        <pc:spChg chg="mod">
          <ac:chgData name="Vladislav Perevalov" userId="S::perevalv@mcmaster.ca::a15fb574-8ef9-405d-8c7c-f1245b7d35a7" providerId="AD" clId="Web-{AA9E6D7A-23B7-4940-93B2-A70A2D173032}" dt="2022-11-23T19:04:46.931" v="450" actId="1076"/>
          <ac:spMkLst>
            <pc:docMk/>
            <pc:sldMk cId="3705625387" sldId="402"/>
            <ac:spMk id="56" creationId="{60979BB9-A3E7-8FEF-97AC-1E8F9D7B7DD2}"/>
          </ac:spMkLst>
        </pc:spChg>
        <pc:spChg chg="mod">
          <ac:chgData name="Vladislav Perevalov" userId="S::perevalv@mcmaster.ca::a15fb574-8ef9-405d-8c7c-f1245b7d35a7" providerId="AD" clId="Web-{AA9E6D7A-23B7-4940-93B2-A70A2D173032}" dt="2022-11-23T19:03:52.367" v="445" actId="1076"/>
          <ac:spMkLst>
            <pc:docMk/>
            <pc:sldMk cId="3705625387" sldId="402"/>
            <ac:spMk id="57" creationId="{7217858D-E136-4BB8-FCFF-3BA1B0678971}"/>
          </ac:spMkLst>
        </pc:spChg>
        <pc:spChg chg="mod">
          <ac:chgData name="Vladislav Perevalov" userId="S::perevalv@mcmaster.ca::a15fb574-8ef9-405d-8c7c-f1245b7d35a7" providerId="AD" clId="Web-{AA9E6D7A-23B7-4940-93B2-A70A2D173032}" dt="2022-11-23T19:03:57.617" v="446" actId="1076"/>
          <ac:spMkLst>
            <pc:docMk/>
            <pc:sldMk cId="3705625387" sldId="402"/>
            <ac:spMk id="58" creationId="{F740993E-9611-1272-6044-5736E4D07B72}"/>
          </ac:spMkLst>
        </pc:spChg>
        <pc:graphicFrameChg chg="mod">
          <ac:chgData name="Vladislav Perevalov" userId="S::perevalv@mcmaster.ca::a15fb574-8ef9-405d-8c7c-f1245b7d35a7" providerId="AD" clId="Web-{AA9E6D7A-23B7-4940-93B2-A70A2D173032}" dt="2022-11-23T19:03:20.882" v="441" actId="14100"/>
          <ac:graphicFrameMkLst>
            <pc:docMk/>
            <pc:sldMk cId="3705625387" sldId="402"/>
            <ac:graphicFrameMk id="23" creationId="{E99A5D53-B8F8-E649-A181-4911DF5577C2}"/>
          </ac:graphicFrameMkLst>
        </pc:graphicFrameChg>
      </pc:sldChg>
    </pc:docChg>
  </pc:docChgLst>
  <pc:docChgLst>
    <pc:chgData name="Vladislav Perevalov" userId="S::perevalv@mcmaster.ca::a15fb574-8ef9-405d-8c7c-f1245b7d35a7" providerId="AD" clId="Web-{4FC3B599-FF11-40A4-A1E3-11286E384073}"/>
    <pc:docChg chg="modSld">
      <pc:chgData name="Vladislav Perevalov" userId="S::perevalv@mcmaster.ca::a15fb574-8ef9-405d-8c7c-f1245b7d35a7" providerId="AD" clId="Web-{4FC3B599-FF11-40A4-A1E3-11286E384073}" dt="2022-11-24T16:33:14.741" v="76" actId="20577"/>
      <pc:docMkLst>
        <pc:docMk/>
      </pc:docMkLst>
      <pc:sldChg chg="modSp">
        <pc:chgData name="Vladislav Perevalov" userId="S::perevalv@mcmaster.ca::a15fb574-8ef9-405d-8c7c-f1245b7d35a7" providerId="AD" clId="Web-{4FC3B599-FF11-40A4-A1E3-11286E384073}" dt="2022-11-24T16:32:48.850" v="63" actId="20577"/>
        <pc:sldMkLst>
          <pc:docMk/>
          <pc:sldMk cId="2120905993" sldId="349"/>
        </pc:sldMkLst>
        <pc:spChg chg="mod">
          <ac:chgData name="Vladislav Perevalov" userId="S::perevalv@mcmaster.ca::a15fb574-8ef9-405d-8c7c-f1245b7d35a7" providerId="AD" clId="Web-{4FC3B599-FF11-40A4-A1E3-11286E384073}" dt="2022-11-24T16:32:48.850" v="63" actId="20577"/>
          <ac:spMkLst>
            <pc:docMk/>
            <pc:sldMk cId="2120905993" sldId="349"/>
            <ac:spMk id="3" creationId="{25183F6D-5032-5DFB-4FD6-71D1BDF81F66}"/>
          </ac:spMkLst>
        </pc:spChg>
      </pc:sldChg>
      <pc:sldChg chg="modSp">
        <pc:chgData name="Vladislav Perevalov" userId="S::perevalv@mcmaster.ca::a15fb574-8ef9-405d-8c7c-f1245b7d35a7" providerId="AD" clId="Web-{4FC3B599-FF11-40A4-A1E3-11286E384073}" dt="2022-11-24T16:25:32.512" v="60" actId="20577"/>
        <pc:sldMkLst>
          <pc:docMk/>
          <pc:sldMk cId="840332457" sldId="391"/>
        </pc:sldMkLst>
        <pc:spChg chg="mod">
          <ac:chgData name="Vladislav Perevalov" userId="S::perevalv@mcmaster.ca::a15fb574-8ef9-405d-8c7c-f1245b7d35a7" providerId="AD" clId="Web-{4FC3B599-FF11-40A4-A1E3-11286E384073}" dt="2022-11-24T16:25:32.512" v="60" actId="20577"/>
          <ac:spMkLst>
            <pc:docMk/>
            <pc:sldMk cId="840332457" sldId="391"/>
            <ac:spMk id="5" creationId="{64E62B09-B628-9390-D8F1-925831825F25}"/>
          </ac:spMkLst>
        </pc:spChg>
      </pc:sldChg>
      <pc:sldChg chg="modSp">
        <pc:chgData name="Vladislav Perevalov" userId="S::perevalv@mcmaster.ca::a15fb574-8ef9-405d-8c7c-f1245b7d35a7" providerId="AD" clId="Web-{4FC3B599-FF11-40A4-A1E3-11286E384073}" dt="2022-11-24T16:33:14.741" v="76" actId="20577"/>
        <pc:sldMkLst>
          <pc:docMk/>
          <pc:sldMk cId="3172311671" sldId="392"/>
        </pc:sldMkLst>
        <pc:spChg chg="mod">
          <ac:chgData name="Vladislav Perevalov" userId="S::perevalv@mcmaster.ca::a15fb574-8ef9-405d-8c7c-f1245b7d35a7" providerId="AD" clId="Web-{4FC3B599-FF11-40A4-A1E3-11286E384073}" dt="2022-11-24T16:33:14.741" v="76" actId="20577"/>
          <ac:spMkLst>
            <pc:docMk/>
            <pc:sldMk cId="3172311671" sldId="392"/>
            <ac:spMk id="5" creationId="{64E62B09-B628-9390-D8F1-925831825F25}"/>
          </ac:spMkLst>
        </pc:spChg>
      </pc:sldChg>
      <pc:sldChg chg="modSp">
        <pc:chgData name="Vladislav Perevalov" userId="S::perevalv@mcmaster.ca::a15fb574-8ef9-405d-8c7c-f1245b7d35a7" providerId="AD" clId="Web-{4FC3B599-FF11-40A4-A1E3-11286E384073}" dt="2022-11-24T16:22:42.905" v="12" actId="20577"/>
        <pc:sldMkLst>
          <pc:docMk/>
          <pc:sldMk cId="4050223877" sldId="397"/>
        </pc:sldMkLst>
        <pc:spChg chg="mod">
          <ac:chgData name="Vladislav Perevalov" userId="S::perevalv@mcmaster.ca::a15fb574-8ef9-405d-8c7c-f1245b7d35a7" providerId="AD" clId="Web-{4FC3B599-FF11-40A4-A1E3-11286E384073}" dt="2022-11-24T16:22:42.905" v="12" actId="20577"/>
          <ac:spMkLst>
            <pc:docMk/>
            <pc:sldMk cId="4050223877" sldId="397"/>
            <ac:spMk id="5" creationId="{64E62B09-B628-9390-D8F1-925831825F25}"/>
          </ac:spMkLst>
        </pc:spChg>
      </pc:sldChg>
    </pc:docChg>
  </pc:docChgLst>
  <pc:docChgLst>
    <pc:chgData name="Yidi Geng" userId="6750ea30-ddf2-446b-8a20-efe36586ef7e" providerId="ADAL" clId="{BD8E1AE5-CA70-4145-9132-D54D0EC0A741}"/>
    <pc:docChg chg="custSel addSld delSld modSld modSection">
      <pc:chgData name="Yidi Geng" userId="6750ea30-ddf2-446b-8a20-efe36586ef7e" providerId="ADAL" clId="{BD8E1AE5-CA70-4145-9132-D54D0EC0A741}" dt="2022-11-25T15:14:04.171" v="651" actId="20577"/>
      <pc:docMkLst>
        <pc:docMk/>
      </pc:docMkLst>
      <pc:sldChg chg="addSp delSp modSp mod">
        <pc:chgData name="Yidi Geng" userId="6750ea30-ddf2-446b-8a20-efe36586ef7e" providerId="ADAL" clId="{BD8E1AE5-CA70-4145-9132-D54D0EC0A741}" dt="2022-11-21T18:34:42.501" v="488" actId="14100"/>
        <pc:sldMkLst>
          <pc:docMk/>
          <pc:sldMk cId="2343338353" sldId="360"/>
        </pc:sldMkLst>
        <pc:spChg chg="topLvl">
          <ac:chgData name="Yidi Geng" userId="6750ea30-ddf2-446b-8a20-efe36586ef7e" providerId="ADAL" clId="{BD8E1AE5-CA70-4145-9132-D54D0EC0A741}" dt="2022-11-21T18:33:47.677" v="482" actId="478"/>
          <ac:spMkLst>
            <pc:docMk/>
            <pc:sldMk cId="2343338353" sldId="360"/>
            <ac:spMk id="4" creationId="{C87A6629-CFC8-2709-93C8-792505BDBD30}"/>
          </ac:spMkLst>
        </pc:spChg>
        <pc:grpChg chg="del">
          <ac:chgData name="Yidi Geng" userId="6750ea30-ddf2-446b-8a20-efe36586ef7e" providerId="ADAL" clId="{BD8E1AE5-CA70-4145-9132-D54D0EC0A741}" dt="2022-11-21T18:33:47.677" v="482" actId="478"/>
          <ac:grpSpMkLst>
            <pc:docMk/>
            <pc:sldMk cId="2343338353" sldId="360"/>
            <ac:grpSpMk id="2" creationId="{2FAD0131-3318-4B38-8ED1-A1AE13977F67}"/>
          </ac:grpSpMkLst>
        </pc:grpChg>
        <pc:picChg chg="add mod">
          <ac:chgData name="Yidi Geng" userId="6750ea30-ddf2-446b-8a20-efe36586ef7e" providerId="ADAL" clId="{BD8E1AE5-CA70-4145-9132-D54D0EC0A741}" dt="2022-11-21T18:34:42.501" v="488" actId="14100"/>
          <ac:picMkLst>
            <pc:docMk/>
            <pc:sldMk cId="2343338353" sldId="360"/>
            <ac:picMk id="6" creationId="{EC69A034-94C2-AFC5-A58A-FBB0E86276CE}"/>
          </ac:picMkLst>
        </pc:picChg>
        <pc:picChg chg="del topLvl">
          <ac:chgData name="Yidi Geng" userId="6750ea30-ddf2-446b-8a20-efe36586ef7e" providerId="ADAL" clId="{BD8E1AE5-CA70-4145-9132-D54D0EC0A741}" dt="2022-11-21T18:33:47.677" v="482" actId="478"/>
          <ac:picMkLst>
            <pc:docMk/>
            <pc:sldMk cId="2343338353" sldId="360"/>
            <ac:picMk id="7" creationId="{4E26A6D9-8DBD-0B71-F0AF-C845434E54DE}"/>
          </ac:picMkLst>
        </pc:picChg>
      </pc:sldChg>
      <pc:sldChg chg="modSp mod">
        <pc:chgData name="Yidi Geng" userId="6750ea30-ddf2-446b-8a20-efe36586ef7e" providerId="ADAL" clId="{BD8E1AE5-CA70-4145-9132-D54D0EC0A741}" dt="2022-11-20T00:35:11.486" v="480"/>
        <pc:sldMkLst>
          <pc:docMk/>
          <pc:sldMk cId="4027008501" sldId="362"/>
        </pc:sldMkLst>
        <pc:spChg chg="mod">
          <ac:chgData name="Yidi Geng" userId="6750ea30-ddf2-446b-8a20-efe36586ef7e" providerId="ADAL" clId="{BD8E1AE5-CA70-4145-9132-D54D0EC0A741}" dt="2022-11-20T00:33:46.097" v="465" actId="20577"/>
          <ac:spMkLst>
            <pc:docMk/>
            <pc:sldMk cId="4027008501" sldId="362"/>
            <ac:spMk id="4" creationId="{419A56F2-33FC-B13B-F824-5320C14683F0}"/>
          </ac:spMkLst>
        </pc:spChg>
        <pc:spChg chg="mod">
          <ac:chgData name="Yidi Geng" userId="6750ea30-ddf2-446b-8a20-efe36586ef7e" providerId="ADAL" clId="{BD8E1AE5-CA70-4145-9132-D54D0EC0A741}" dt="2022-11-20T00:35:11.486" v="480"/>
          <ac:spMkLst>
            <pc:docMk/>
            <pc:sldMk cId="4027008501" sldId="362"/>
            <ac:spMk id="414" creationId="{F02F9840-5CF3-A09F-3CFB-95A63CE8FA4D}"/>
          </ac:spMkLst>
        </pc:spChg>
      </pc:sldChg>
      <pc:sldChg chg="addSp delSp modSp del mod">
        <pc:chgData name="Yidi Geng" userId="6750ea30-ddf2-446b-8a20-efe36586ef7e" providerId="ADAL" clId="{BD8E1AE5-CA70-4145-9132-D54D0EC0A741}" dt="2022-11-18T23:00:10.125" v="205" actId="2696"/>
        <pc:sldMkLst>
          <pc:docMk/>
          <pc:sldMk cId="974628972" sldId="386"/>
        </pc:sldMkLst>
        <pc:spChg chg="mod">
          <ac:chgData name="Yidi Geng" userId="6750ea30-ddf2-446b-8a20-efe36586ef7e" providerId="ADAL" clId="{BD8E1AE5-CA70-4145-9132-D54D0EC0A741}" dt="2022-11-18T22:59:47.148" v="202" actId="20577"/>
          <ac:spMkLst>
            <pc:docMk/>
            <pc:sldMk cId="974628972" sldId="386"/>
            <ac:spMk id="3" creationId="{4B23F066-78F6-ED99-A2E1-FCA243435AA8}"/>
          </ac:spMkLst>
        </pc:spChg>
        <pc:spChg chg="add mod">
          <ac:chgData name="Yidi Geng" userId="6750ea30-ddf2-446b-8a20-efe36586ef7e" providerId="ADAL" clId="{BD8E1AE5-CA70-4145-9132-D54D0EC0A741}" dt="2022-11-18T22:58:58.167" v="200" actId="1076"/>
          <ac:spMkLst>
            <pc:docMk/>
            <pc:sldMk cId="974628972" sldId="386"/>
            <ac:spMk id="9" creationId="{BCF2DD63-FD78-AF8A-BF66-4A6B437B72B4}"/>
          </ac:spMkLst>
        </pc:spChg>
        <pc:spChg chg="del mod">
          <ac:chgData name="Yidi Geng" userId="6750ea30-ddf2-446b-8a20-efe36586ef7e" providerId="ADAL" clId="{BD8E1AE5-CA70-4145-9132-D54D0EC0A741}" dt="2022-11-18T15:55:22.295" v="48" actId="478"/>
          <ac:spMkLst>
            <pc:docMk/>
            <pc:sldMk cId="974628972" sldId="386"/>
            <ac:spMk id="10" creationId="{003976EF-1E0A-DE65-AB67-6944C9576531}"/>
          </ac:spMkLst>
        </pc:spChg>
        <pc:spChg chg="del">
          <ac:chgData name="Yidi Geng" userId="6750ea30-ddf2-446b-8a20-efe36586ef7e" providerId="ADAL" clId="{BD8E1AE5-CA70-4145-9132-D54D0EC0A741}" dt="2022-11-18T15:55:16.478" v="46" actId="478"/>
          <ac:spMkLst>
            <pc:docMk/>
            <pc:sldMk cId="974628972" sldId="386"/>
            <ac:spMk id="414" creationId="{F02F9840-5CF3-A09F-3CFB-95A63CE8FA4D}"/>
          </ac:spMkLst>
        </pc:spChg>
        <pc:graphicFrameChg chg="del">
          <ac:chgData name="Yidi Geng" userId="6750ea30-ddf2-446b-8a20-efe36586ef7e" providerId="ADAL" clId="{BD8E1AE5-CA70-4145-9132-D54D0EC0A741}" dt="2022-11-18T22:59:23.408" v="201" actId="478"/>
          <ac:graphicFrameMkLst>
            <pc:docMk/>
            <pc:sldMk cId="974628972" sldId="386"/>
            <ac:graphicFrameMk id="35" creationId="{EC8CCEB7-B0D1-8F33-239D-1428AA8739F5}"/>
          </ac:graphicFrameMkLst>
        </pc:graphicFrameChg>
      </pc:sldChg>
      <pc:sldChg chg="addSp delSp modSp new del mod">
        <pc:chgData name="Yidi Geng" userId="6750ea30-ddf2-446b-8a20-efe36586ef7e" providerId="ADAL" clId="{BD8E1AE5-CA70-4145-9132-D54D0EC0A741}" dt="2022-11-20T00:35:46.659" v="481" actId="2696"/>
        <pc:sldMkLst>
          <pc:docMk/>
          <pc:sldMk cId="3056211447" sldId="387"/>
        </pc:sldMkLst>
        <pc:spChg chg="del">
          <ac:chgData name="Yidi Geng" userId="6750ea30-ddf2-446b-8a20-efe36586ef7e" providerId="ADAL" clId="{BD8E1AE5-CA70-4145-9132-D54D0EC0A741}" dt="2022-11-18T23:00:03.835" v="204"/>
          <ac:spMkLst>
            <pc:docMk/>
            <pc:sldMk cId="3056211447" sldId="387"/>
            <ac:spMk id="3" creationId="{FCAFC878-9F78-75E6-1002-4612F5659983}"/>
          </ac:spMkLst>
        </pc:spChg>
        <pc:spChg chg="add mod">
          <ac:chgData name="Yidi Geng" userId="6750ea30-ddf2-446b-8a20-efe36586ef7e" providerId="ADAL" clId="{BD8E1AE5-CA70-4145-9132-D54D0EC0A741}" dt="2022-11-20T00:31:28.039" v="397" actId="12"/>
          <ac:spMkLst>
            <pc:docMk/>
            <pc:sldMk cId="3056211447" sldId="387"/>
            <ac:spMk id="9" creationId="{DB83D963-CD12-3225-05D2-70E379934D92}"/>
          </ac:spMkLst>
        </pc:spChg>
      </pc:sldChg>
      <pc:sldChg chg="addSp delSp modSp add mod">
        <pc:chgData name="Yidi Geng" userId="6750ea30-ddf2-446b-8a20-efe36586ef7e" providerId="ADAL" clId="{BD8E1AE5-CA70-4145-9132-D54D0EC0A741}" dt="2022-11-20T00:35:06.062" v="478" actId="21"/>
        <pc:sldMkLst>
          <pc:docMk/>
          <pc:sldMk cId="306393785" sldId="388"/>
        </pc:sldMkLst>
        <pc:spChg chg="del">
          <ac:chgData name="Yidi Geng" userId="6750ea30-ddf2-446b-8a20-efe36586ef7e" providerId="ADAL" clId="{BD8E1AE5-CA70-4145-9132-D54D0EC0A741}" dt="2022-11-20T00:34:10.008" v="468" actId="478"/>
          <ac:spMkLst>
            <pc:docMk/>
            <pc:sldMk cId="306393785" sldId="388"/>
            <ac:spMk id="10" creationId="{003976EF-1E0A-DE65-AB67-6944C9576531}"/>
          </ac:spMkLst>
        </pc:spChg>
        <pc:spChg chg="add del mod">
          <ac:chgData name="Yidi Geng" userId="6750ea30-ddf2-446b-8a20-efe36586ef7e" providerId="ADAL" clId="{BD8E1AE5-CA70-4145-9132-D54D0EC0A741}" dt="2022-11-20T00:34:33.286" v="470"/>
          <ac:spMkLst>
            <pc:docMk/>
            <pc:sldMk cId="306393785" sldId="388"/>
            <ac:spMk id="14" creationId="{C1DF41D4-1006-11D5-F71C-27358215B121}"/>
          </ac:spMkLst>
        </pc:spChg>
        <pc:spChg chg="add mod">
          <ac:chgData name="Yidi Geng" userId="6750ea30-ddf2-446b-8a20-efe36586ef7e" providerId="ADAL" clId="{BD8E1AE5-CA70-4145-9132-D54D0EC0A741}" dt="2022-11-20T00:35:06.062" v="478" actId="21"/>
          <ac:spMkLst>
            <pc:docMk/>
            <pc:sldMk cId="306393785" sldId="388"/>
            <ac:spMk id="15" creationId="{64FA72D3-F660-254B-2EDF-EE1C7A00B886}"/>
          </ac:spMkLst>
        </pc:spChg>
        <pc:spChg chg="del">
          <ac:chgData name="Yidi Geng" userId="6750ea30-ddf2-446b-8a20-efe36586ef7e" providerId="ADAL" clId="{BD8E1AE5-CA70-4145-9132-D54D0EC0A741}" dt="2022-11-20T00:34:06.364" v="467" actId="478"/>
          <ac:spMkLst>
            <pc:docMk/>
            <pc:sldMk cId="306393785" sldId="388"/>
            <ac:spMk id="414" creationId="{F02F9840-5CF3-A09F-3CFB-95A63CE8FA4D}"/>
          </ac:spMkLst>
        </pc:spChg>
      </pc:sldChg>
      <pc:sldChg chg="modSp mod">
        <pc:chgData name="Yidi Geng" userId="6750ea30-ddf2-446b-8a20-efe36586ef7e" providerId="ADAL" clId="{BD8E1AE5-CA70-4145-9132-D54D0EC0A741}" dt="2022-11-25T15:14:04.171" v="651" actId="20577"/>
        <pc:sldMkLst>
          <pc:docMk/>
          <pc:sldMk cId="3505808948" sldId="399"/>
        </pc:sldMkLst>
        <pc:spChg chg="mod">
          <ac:chgData name="Yidi Geng" userId="6750ea30-ddf2-446b-8a20-efe36586ef7e" providerId="ADAL" clId="{BD8E1AE5-CA70-4145-9132-D54D0EC0A741}" dt="2022-11-25T15:14:04.171" v="651" actId="20577"/>
          <ac:spMkLst>
            <pc:docMk/>
            <pc:sldMk cId="3505808948" sldId="399"/>
            <ac:spMk id="22" creationId="{762FE224-4748-3330-47DC-F9776F9E94DE}"/>
          </ac:spMkLst>
        </pc:spChg>
        <pc:spChg chg="mod">
          <ac:chgData name="Yidi Geng" userId="6750ea30-ddf2-446b-8a20-efe36586ef7e" providerId="ADAL" clId="{BD8E1AE5-CA70-4145-9132-D54D0EC0A741}" dt="2022-11-25T14:33:04.872" v="649" actId="20577"/>
          <ac:spMkLst>
            <pc:docMk/>
            <pc:sldMk cId="3505808948" sldId="399"/>
            <ac:spMk id="40" creationId="{CF7ED3B8-7EDA-E2AC-E1A6-07FE8FB367AE}"/>
          </ac:spMkLst>
        </pc:spChg>
        <pc:spChg chg="mod">
          <ac:chgData name="Yidi Geng" userId="6750ea30-ddf2-446b-8a20-efe36586ef7e" providerId="ADAL" clId="{BD8E1AE5-CA70-4145-9132-D54D0EC0A741}" dt="2022-11-25T14:32:45.835" v="617" actId="20577"/>
          <ac:spMkLst>
            <pc:docMk/>
            <pc:sldMk cId="3505808948" sldId="399"/>
            <ac:spMk id="42" creationId="{0C06680F-40FF-AB8F-DC29-414D19EA23ED}"/>
          </ac:spMkLst>
        </pc:spChg>
        <pc:spChg chg="mod">
          <ac:chgData name="Yidi Geng" userId="6750ea30-ddf2-446b-8a20-efe36586ef7e" providerId="ADAL" clId="{BD8E1AE5-CA70-4145-9132-D54D0EC0A741}" dt="2022-11-25T13:50:10.410" v="508" actId="20577"/>
          <ac:spMkLst>
            <pc:docMk/>
            <pc:sldMk cId="3505808948" sldId="399"/>
            <ac:spMk id="43" creationId="{5E0F6D59-4924-FA4E-D4A7-EF064A9D9D36}"/>
          </ac:spMkLst>
        </pc:spChg>
      </pc:sldChg>
    </pc:docChg>
  </pc:docChgLst>
  <pc:docChgLst>
    <pc:chgData name="Yidi Geng" userId="S::gengy13@mcmaster.ca::6750ea30-ddf2-446b-8a20-efe36586ef7e" providerId="AD" clId="Web-{7A4C0D6B-B666-44D3-9479-95C1A8A780C6}"/>
    <pc:docChg chg="addSld delSld modSld modSection">
      <pc:chgData name="Yidi Geng" userId="S::gengy13@mcmaster.ca::6750ea30-ddf2-446b-8a20-efe36586ef7e" providerId="AD" clId="Web-{7A4C0D6B-B666-44D3-9479-95C1A8A780C6}" dt="2022-11-17T23:15:54.256" v="37" actId="20577"/>
      <pc:docMkLst>
        <pc:docMk/>
      </pc:docMkLst>
      <pc:sldChg chg="modSp">
        <pc:chgData name="Yidi Geng" userId="S::gengy13@mcmaster.ca::6750ea30-ddf2-446b-8a20-efe36586ef7e" providerId="AD" clId="Web-{7A4C0D6B-B666-44D3-9479-95C1A8A780C6}" dt="2022-11-17T23:15:54.256" v="37" actId="20577"/>
        <pc:sldMkLst>
          <pc:docMk/>
          <pc:sldMk cId="4027008501" sldId="362"/>
        </pc:sldMkLst>
        <pc:spChg chg="mod">
          <ac:chgData name="Yidi Geng" userId="S::gengy13@mcmaster.ca::6750ea30-ddf2-446b-8a20-efe36586ef7e" providerId="AD" clId="Web-{7A4C0D6B-B666-44D3-9479-95C1A8A780C6}" dt="2022-11-17T22:58:53.791" v="4" actId="1076"/>
          <ac:spMkLst>
            <pc:docMk/>
            <pc:sldMk cId="4027008501" sldId="362"/>
            <ac:spMk id="10" creationId="{003976EF-1E0A-DE65-AB67-6944C9576531}"/>
          </ac:spMkLst>
        </pc:spChg>
        <pc:spChg chg="mod">
          <ac:chgData name="Yidi Geng" userId="S::gengy13@mcmaster.ca::6750ea30-ddf2-446b-8a20-efe36586ef7e" providerId="AD" clId="Web-{7A4C0D6B-B666-44D3-9479-95C1A8A780C6}" dt="2022-11-17T23:15:54.256" v="37" actId="20577"/>
          <ac:spMkLst>
            <pc:docMk/>
            <pc:sldMk cId="4027008501" sldId="362"/>
            <ac:spMk id="414" creationId="{F02F9840-5CF3-A09F-3CFB-95A63CE8FA4D}"/>
          </ac:spMkLst>
        </pc:spChg>
      </pc:sldChg>
      <pc:sldChg chg="new del">
        <pc:chgData name="Yidi Geng" userId="S::gengy13@mcmaster.ca::6750ea30-ddf2-446b-8a20-efe36586ef7e" providerId="AD" clId="Web-{7A4C0D6B-B666-44D3-9479-95C1A8A780C6}" dt="2022-11-17T22:58:24.572" v="2"/>
        <pc:sldMkLst>
          <pc:docMk/>
          <pc:sldMk cId="443933206" sldId="385"/>
        </pc:sldMkLst>
      </pc:sldChg>
      <pc:sldChg chg="modSp add replId">
        <pc:chgData name="Yidi Geng" userId="S::gengy13@mcmaster.ca::6750ea30-ddf2-446b-8a20-efe36586ef7e" providerId="AD" clId="Web-{7A4C0D6B-B666-44D3-9479-95C1A8A780C6}" dt="2022-11-17T22:58:36.526" v="3" actId="14100"/>
        <pc:sldMkLst>
          <pc:docMk/>
          <pc:sldMk cId="974628972" sldId="386"/>
        </pc:sldMkLst>
        <pc:graphicFrameChg chg="mod">
          <ac:chgData name="Yidi Geng" userId="S::gengy13@mcmaster.ca::6750ea30-ddf2-446b-8a20-efe36586ef7e" providerId="AD" clId="Web-{7A4C0D6B-B666-44D3-9479-95C1A8A780C6}" dt="2022-11-17T22:58:36.526" v="3" actId="14100"/>
          <ac:graphicFrameMkLst>
            <pc:docMk/>
            <pc:sldMk cId="974628972" sldId="386"/>
            <ac:graphicFrameMk id="35" creationId="{EC8CCEB7-B0D1-8F33-239D-1428AA8739F5}"/>
          </ac:graphicFrameMkLst>
        </pc:graphicFrameChg>
      </pc:sldChg>
    </pc:docChg>
  </pc:docChgLst>
  <pc:docChgLst>
    <pc:chgData name="Antony Britto" userId="S::britta2@mcmaster.ca::d1019b0b-29f6-4a1d-ad02-0d91a36ee451" providerId="AD" clId="Web-{0C547FEA-81BA-420D-A1E0-B7718148F9F4}"/>
    <pc:docChg chg="modSld">
      <pc:chgData name="Antony Britto" userId="S::britta2@mcmaster.ca::d1019b0b-29f6-4a1d-ad02-0d91a36ee451" providerId="AD" clId="Web-{0C547FEA-81BA-420D-A1E0-B7718148F9F4}" dt="2022-11-25T01:53:39.543" v="22" actId="20577"/>
      <pc:docMkLst>
        <pc:docMk/>
      </pc:docMkLst>
      <pc:sldChg chg="modSp">
        <pc:chgData name="Antony Britto" userId="S::britta2@mcmaster.ca::d1019b0b-29f6-4a1d-ad02-0d91a36ee451" providerId="AD" clId="Web-{0C547FEA-81BA-420D-A1E0-B7718148F9F4}" dt="2022-11-25T01:53:39.543" v="22" actId="20577"/>
        <pc:sldMkLst>
          <pc:docMk/>
          <pc:sldMk cId="729331847" sldId="409"/>
        </pc:sldMkLst>
        <pc:spChg chg="mod">
          <ac:chgData name="Antony Britto" userId="S::britta2@mcmaster.ca::d1019b0b-29f6-4a1d-ad02-0d91a36ee451" providerId="AD" clId="Web-{0C547FEA-81BA-420D-A1E0-B7718148F9F4}" dt="2022-11-25T01:53:39.543" v="22" actId="20577"/>
          <ac:spMkLst>
            <pc:docMk/>
            <pc:sldMk cId="729331847" sldId="409"/>
            <ac:spMk id="6" creationId="{09975C54-DA64-2537-DB3C-3C3ACC6B2A05}"/>
          </ac:spMkLst>
        </pc:spChg>
      </pc:sldChg>
    </pc:docChg>
  </pc:docChgLst>
  <pc:docChgLst>
    <pc:chgData name="Antony Britto" userId="S::britta2@mcmaster.ca::d1019b0b-29f6-4a1d-ad02-0d91a36ee451" providerId="AD" clId="Web-{98070470-39FC-4AC8-99DD-79AFABA77F90}"/>
    <pc:docChg chg="modSld">
      <pc:chgData name="Antony Britto" userId="S::britta2@mcmaster.ca::d1019b0b-29f6-4a1d-ad02-0d91a36ee451" providerId="AD" clId="Web-{98070470-39FC-4AC8-99DD-79AFABA77F90}" dt="2022-11-24T16:00:08.042" v="2" actId="20577"/>
      <pc:docMkLst>
        <pc:docMk/>
      </pc:docMkLst>
      <pc:sldChg chg="modSp">
        <pc:chgData name="Antony Britto" userId="S::britta2@mcmaster.ca::d1019b0b-29f6-4a1d-ad02-0d91a36ee451" providerId="AD" clId="Web-{98070470-39FC-4AC8-99DD-79AFABA77F90}" dt="2022-11-24T16:00:08.042" v="2" actId="20577"/>
        <pc:sldMkLst>
          <pc:docMk/>
          <pc:sldMk cId="1024977953" sldId="384"/>
        </pc:sldMkLst>
        <pc:spChg chg="mod">
          <ac:chgData name="Antony Britto" userId="S::britta2@mcmaster.ca::d1019b0b-29f6-4a1d-ad02-0d91a36ee451" providerId="AD" clId="Web-{98070470-39FC-4AC8-99DD-79AFABA77F90}" dt="2022-11-24T16:00:08.042" v="2" actId="20577"/>
          <ac:spMkLst>
            <pc:docMk/>
            <pc:sldMk cId="1024977953" sldId="384"/>
            <ac:spMk id="10" creationId="{48276BC7-5063-8C09-3C45-D89ABCA94F1B}"/>
          </ac:spMkLst>
        </pc:spChg>
      </pc:sldChg>
      <pc:sldChg chg="modSp">
        <pc:chgData name="Antony Britto" userId="S::britta2@mcmaster.ca::d1019b0b-29f6-4a1d-ad02-0d91a36ee451" providerId="AD" clId="Web-{98070470-39FC-4AC8-99DD-79AFABA77F90}" dt="2022-11-24T15:58:26.259" v="0" actId="14100"/>
        <pc:sldMkLst>
          <pc:docMk/>
          <pc:sldMk cId="1842833113" sldId="403"/>
        </pc:sldMkLst>
        <pc:spChg chg="mod">
          <ac:chgData name="Antony Britto" userId="S::britta2@mcmaster.ca::d1019b0b-29f6-4a1d-ad02-0d91a36ee451" providerId="AD" clId="Web-{98070470-39FC-4AC8-99DD-79AFABA77F90}" dt="2022-11-24T15:58:26.259" v="0" actId="14100"/>
          <ac:spMkLst>
            <pc:docMk/>
            <pc:sldMk cId="1842833113" sldId="403"/>
            <ac:spMk id="8" creationId="{36CA3ACB-223D-0839-DB51-D9CA37EBDBA8}"/>
          </ac:spMkLst>
        </pc:spChg>
      </pc:sldChg>
    </pc:docChg>
  </pc:docChgLst>
  <pc:docChgLst>
    <pc:chgData name="Merlin Gutter" userId="2abc6f04-74af-430b-bdc8-569c3bfa1dda" providerId="ADAL" clId="{CB1EFBC3-10F5-3048-8961-5969497C0019}"/>
    <pc:docChg chg="undo redo custSel addSld delSld modSld sldOrd modMainMaster addSection modSection replTag">
      <pc:chgData name="Merlin Gutter" userId="2abc6f04-74af-430b-bdc8-569c3bfa1dda" providerId="ADAL" clId="{CB1EFBC3-10F5-3048-8961-5969497C0019}" dt="2022-11-25T01:28:34.350" v="208676" actId="165"/>
      <pc:docMkLst>
        <pc:docMk/>
      </pc:docMkLst>
      <pc:sldChg chg="addSp delSp modSp mod modNotesTx">
        <pc:chgData name="Merlin Gutter" userId="2abc6f04-74af-430b-bdc8-569c3bfa1dda" providerId="ADAL" clId="{CB1EFBC3-10F5-3048-8961-5969497C0019}" dt="2022-11-13T01:29:45.487" v="55736" actId="14100"/>
        <pc:sldMkLst>
          <pc:docMk/>
          <pc:sldMk cId="1874684282" sldId="260"/>
        </pc:sldMkLst>
        <pc:spChg chg="mod">
          <ac:chgData name="Merlin Gutter" userId="2abc6f04-74af-430b-bdc8-569c3bfa1dda" providerId="ADAL" clId="{CB1EFBC3-10F5-3048-8961-5969497C0019}" dt="2022-11-04T18:59:53.077" v="163" actId="20577"/>
          <ac:spMkLst>
            <pc:docMk/>
            <pc:sldMk cId="1874684282" sldId="260"/>
            <ac:spMk id="6" creationId="{BECBA8DF-ABBC-697F-0D5B-3C909AF07EDD}"/>
          </ac:spMkLst>
        </pc:spChg>
        <pc:spChg chg="mod">
          <ac:chgData name="Merlin Gutter" userId="2abc6f04-74af-430b-bdc8-569c3bfa1dda" providerId="ADAL" clId="{CB1EFBC3-10F5-3048-8961-5969497C0019}" dt="2022-11-13T01:11:02.484" v="52467" actId="20577"/>
          <ac:spMkLst>
            <pc:docMk/>
            <pc:sldMk cId="1874684282" sldId="260"/>
            <ac:spMk id="8" creationId="{341E50F1-6BB5-7B7F-9E14-8FEDF2D7ADBB}"/>
          </ac:spMkLst>
        </pc:spChg>
        <pc:spChg chg="mod">
          <ac:chgData name="Merlin Gutter" userId="2abc6f04-74af-430b-bdc8-569c3bfa1dda" providerId="ADAL" clId="{CB1EFBC3-10F5-3048-8961-5969497C0019}" dt="2022-11-13T01:10:21.232" v="52450" actId="20577"/>
          <ac:spMkLst>
            <pc:docMk/>
            <pc:sldMk cId="1874684282" sldId="260"/>
            <ac:spMk id="9" creationId="{61766C4A-69E0-9873-0318-8A6CD81FA309}"/>
          </ac:spMkLst>
        </pc:spChg>
        <pc:picChg chg="add del mod">
          <ac:chgData name="Merlin Gutter" userId="2abc6f04-74af-430b-bdc8-569c3bfa1dda" providerId="ADAL" clId="{CB1EFBC3-10F5-3048-8961-5969497C0019}" dt="2022-11-13T01:26:04.443" v="55678" actId="478"/>
          <ac:picMkLst>
            <pc:docMk/>
            <pc:sldMk cId="1874684282" sldId="260"/>
            <ac:picMk id="2" creationId="{DEE8910E-F1D4-0AE2-04C7-0880F3316DCF}"/>
          </ac:picMkLst>
        </pc:picChg>
        <pc:picChg chg="add mod">
          <ac:chgData name="Merlin Gutter" userId="2abc6f04-74af-430b-bdc8-569c3bfa1dda" providerId="ADAL" clId="{CB1EFBC3-10F5-3048-8961-5969497C0019}" dt="2022-11-13T01:29:41.098" v="55735" actId="1076"/>
          <ac:picMkLst>
            <pc:docMk/>
            <pc:sldMk cId="1874684282" sldId="260"/>
            <ac:picMk id="4" creationId="{55694D5A-4F1B-E6BD-DD45-745E39C4A35E}"/>
          </ac:picMkLst>
        </pc:picChg>
        <pc:picChg chg="add mod">
          <ac:chgData name="Merlin Gutter" userId="2abc6f04-74af-430b-bdc8-569c3bfa1dda" providerId="ADAL" clId="{CB1EFBC3-10F5-3048-8961-5969497C0019}" dt="2022-11-13T01:29:45.487" v="55736" actId="14100"/>
          <ac:picMkLst>
            <pc:docMk/>
            <pc:sldMk cId="1874684282" sldId="260"/>
            <ac:picMk id="1026" creationId="{045F434F-8149-8D89-FA28-1A62B3E7F77E}"/>
          </ac:picMkLst>
        </pc:picChg>
      </pc:sldChg>
      <pc:sldChg chg="addSp delSp modSp del mod ord modNotesTx">
        <pc:chgData name="Merlin Gutter" userId="2abc6f04-74af-430b-bdc8-569c3bfa1dda" providerId="ADAL" clId="{CB1EFBC3-10F5-3048-8961-5969497C0019}" dt="2022-11-23T16:53:49.117" v="79468" actId="2696"/>
        <pc:sldMkLst>
          <pc:docMk/>
          <pc:sldMk cId="1515730027" sldId="263"/>
        </pc:sldMkLst>
        <pc:spChg chg="mod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2" creationId="{7220C7C9-E8CA-9514-701A-F379CC96E8E5}"/>
          </ac:spMkLst>
        </pc:spChg>
        <pc:spChg chg="mod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4" creationId="{650C89F3-6D4A-10F3-F124-FF48C7CC1B98}"/>
          </ac:spMkLst>
        </pc:spChg>
        <pc:spChg chg="mod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5" creationId="{FC776491-9E6A-73AD-8AAC-7772AA3D8368}"/>
          </ac:spMkLst>
        </pc:spChg>
        <pc:spChg chg="mod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6" creationId="{BDDCEEDE-C320-8A4F-38B2-FE837A52C4E1}"/>
          </ac:spMkLst>
        </pc:spChg>
        <pc:spChg chg="add del mod">
          <ac:chgData name="Merlin Gutter" userId="2abc6f04-74af-430b-bdc8-569c3bfa1dda" providerId="ADAL" clId="{CB1EFBC3-10F5-3048-8961-5969497C0019}" dt="2022-11-16T18:06:16.437" v="57775" actId="478"/>
          <ac:spMkLst>
            <pc:docMk/>
            <pc:sldMk cId="1515730027" sldId="263"/>
            <ac:spMk id="7" creationId="{08355A82-F312-CFD3-F209-E1C1326D38C4}"/>
          </ac:spMkLst>
        </pc:spChg>
        <pc:spChg chg="mod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9" creationId="{CECF835E-8350-5057-4E44-002671F02DD6}"/>
          </ac:spMkLst>
        </pc:spChg>
        <pc:spChg chg="mod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10" creationId="{29475F11-DC22-1593-52C7-A3E8A898D6E5}"/>
          </ac:spMkLst>
        </pc:spChg>
        <pc:spChg chg="add mod">
          <ac:chgData name="Merlin Gutter" userId="2abc6f04-74af-430b-bdc8-569c3bfa1dda" providerId="ADAL" clId="{CB1EFBC3-10F5-3048-8961-5969497C0019}" dt="2022-11-16T18:15:19.414" v="58183"/>
          <ac:spMkLst>
            <pc:docMk/>
            <pc:sldMk cId="1515730027" sldId="263"/>
            <ac:spMk id="14" creationId="{79AD3B41-F094-FB07-068B-D79EBF61DE77}"/>
          </ac:spMkLst>
        </pc:spChg>
        <pc:spChg chg="add mod topLvl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15" creationId="{147E8CC0-4DA2-AD0F-3FC2-DFCE9019FE57}"/>
          </ac:spMkLst>
        </pc:spChg>
        <pc:spChg chg="mod">
          <ac:chgData name="Merlin Gutter" userId="2abc6f04-74af-430b-bdc8-569c3bfa1dda" providerId="ADAL" clId="{CB1EFBC3-10F5-3048-8961-5969497C0019}" dt="2022-11-16T18:15:19.413" v="58179"/>
          <ac:spMkLst>
            <pc:docMk/>
            <pc:sldMk cId="1515730027" sldId="263"/>
            <ac:spMk id="16" creationId="{20C30B95-34B0-F86F-7CE9-DD1C10E6D5A0}"/>
          </ac:spMkLst>
        </pc:spChg>
        <pc:spChg chg="add mod topLvl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18" creationId="{3767C353-2E3A-37E6-E428-E05795FB4902}"/>
          </ac:spMkLst>
        </pc:spChg>
        <pc:spChg chg="add mod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19" creationId="{79942EF3-98E9-49A7-3EA7-CC7401B9FB42}"/>
          </ac:spMkLst>
        </pc:spChg>
        <pc:spChg chg="add mod topLvl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22" creationId="{360C37C6-1CE0-B3B9-4146-95ED4B9EB4B1}"/>
          </ac:spMkLst>
        </pc:spChg>
        <pc:spChg chg="mod topLvl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24" creationId="{F8AB2537-CAD3-3CCB-5BA8-ABE3CC249768}"/>
          </ac:spMkLst>
        </pc:spChg>
        <pc:spChg chg="add mod topLvl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25" creationId="{0AB2FA14-6CA5-8CDA-07AE-198E8ADCFE92}"/>
          </ac:spMkLst>
        </pc:spChg>
        <pc:spChg chg="add del mod">
          <ac:chgData name="Merlin Gutter" userId="2abc6f04-74af-430b-bdc8-569c3bfa1dda" providerId="ADAL" clId="{CB1EFBC3-10F5-3048-8961-5969497C0019}" dt="2022-11-16T18:14:02.338" v="58163"/>
          <ac:spMkLst>
            <pc:docMk/>
            <pc:sldMk cId="1515730027" sldId="263"/>
            <ac:spMk id="26" creationId="{61756FF0-355E-7B20-79AE-21FD697EE45B}"/>
          </ac:spMkLst>
        </pc:spChg>
        <pc:spChg chg="mod">
          <ac:chgData name="Merlin Gutter" userId="2abc6f04-74af-430b-bdc8-569c3bfa1dda" providerId="ADAL" clId="{CB1EFBC3-10F5-3048-8961-5969497C0019}" dt="2022-11-16T18:17:13.199" v="58218" actId="165"/>
          <ac:spMkLst>
            <pc:docMk/>
            <pc:sldMk cId="1515730027" sldId="263"/>
            <ac:spMk id="29" creationId="{C40134B6-E153-5380-BE4A-652B13D83C0C}"/>
          </ac:spMkLst>
        </pc:spChg>
        <pc:spChg chg="add del mod">
          <ac:chgData name="Merlin Gutter" userId="2abc6f04-74af-430b-bdc8-569c3bfa1dda" providerId="ADAL" clId="{CB1EFBC3-10F5-3048-8961-5969497C0019}" dt="2022-11-16T18:16:58.578" v="58214"/>
          <ac:spMkLst>
            <pc:docMk/>
            <pc:sldMk cId="1515730027" sldId="263"/>
            <ac:spMk id="32" creationId="{DF4D9B51-3147-797F-4E55-7BB716E6341E}"/>
          </ac:spMkLst>
        </pc:spChg>
        <pc:grpChg chg="add mod">
          <ac:chgData name="Merlin Gutter" userId="2abc6f04-74af-430b-bdc8-569c3bfa1dda" providerId="ADAL" clId="{CB1EFBC3-10F5-3048-8961-5969497C0019}" dt="2022-11-16T18:17:13.199" v="58218" actId="165"/>
          <ac:grpSpMkLst>
            <pc:docMk/>
            <pc:sldMk cId="1515730027" sldId="263"/>
            <ac:grpSpMk id="3" creationId="{990D7E38-643E-D232-190A-D28C271284CB}"/>
          </ac:grpSpMkLst>
        </pc:grpChg>
        <pc:grpChg chg="mod">
          <ac:chgData name="Merlin Gutter" userId="2abc6f04-74af-430b-bdc8-569c3bfa1dda" providerId="ADAL" clId="{CB1EFBC3-10F5-3048-8961-5969497C0019}" dt="2022-11-16T18:17:13.199" v="58218" actId="165"/>
          <ac:grpSpMkLst>
            <pc:docMk/>
            <pc:sldMk cId="1515730027" sldId="263"/>
            <ac:grpSpMk id="20" creationId="{C5E2F2C0-F196-AFE2-E097-CC2A67E89555}"/>
          </ac:grpSpMkLst>
        </pc:grpChg>
        <pc:grpChg chg="mod">
          <ac:chgData name="Merlin Gutter" userId="2abc6f04-74af-430b-bdc8-569c3bfa1dda" providerId="ADAL" clId="{CB1EFBC3-10F5-3048-8961-5969497C0019}" dt="2022-11-16T18:17:13.199" v="58218" actId="165"/>
          <ac:grpSpMkLst>
            <pc:docMk/>
            <pc:sldMk cId="1515730027" sldId="263"/>
            <ac:grpSpMk id="23" creationId="{A522C9B9-882E-2AE5-B5F0-C39ACAB25C90}"/>
          </ac:grpSpMkLst>
        </pc:grpChg>
        <pc:grpChg chg="add del mod topLvl">
          <ac:chgData name="Merlin Gutter" userId="2abc6f04-74af-430b-bdc8-569c3bfa1dda" providerId="ADAL" clId="{CB1EFBC3-10F5-3048-8961-5969497C0019}" dt="2022-11-16T18:16:19.520" v="58205" actId="165"/>
          <ac:grpSpMkLst>
            <pc:docMk/>
            <pc:sldMk cId="1515730027" sldId="263"/>
            <ac:grpSpMk id="27" creationId="{362EFF5B-FDAD-C4C3-67D9-58AFC2584D52}"/>
          </ac:grpSpMkLst>
        </pc:grpChg>
        <pc:grpChg chg="add mod topLvl">
          <ac:chgData name="Merlin Gutter" userId="2abc6f04-74af-430b-bdc8-569c3bfa1dda" providerId="ADAL" clId="{CB1EFBC3-10F5-3048-8961-5969497C0019}" dt="2022-11-16T18:17:13.199" v="58218" actId="165"/>
          <ac:grpSpMkLst>
            <pc:docMk/>
            <pc:sldMk cId="1515730027" sldId="263"/>
            <ac:grpSpMk id="28" creationId="{B656BC45-FCA4-6922-5C5C-77C72DE433D5}"/>
          </ac:grpSpMkLst>
        </pc:grpChg>
        <pc:grpChg chg="add del mod topLvl">
          <ac:chgData name="Merlin Gutter" userId="2abc6f04-74af-430b-bdc8-569c3bfa1dda" providerId="ADAL" clId="{CB1EFBC3-10F5-3048-8961-5969497C0019}" dt="2022-11-16T18:15:05.338" v="58177" actId="165"/>
          <ac:grpSpMkLst>
            <pc:docMk/>
            <pc:sldMk cId="1515730027" sldId="263"/>
            <ac:grpSpMk id="30" creationId="{96C821A1-4B1B-A0B8-8629-777A4375E528}"/>
          </ac:grpSpMkLst>
        </pc:grpChg>
        <pc:grpChg chg="add del mod">
          <ac:chgData name="Merlin Gutter" userId="2abc6f04-74af-430b-bdc8-569c3bfa1dda" providerId="ADAL" clId="{CB1EFBC3-10F5-3048-8961-5969497C0019}" dt="2022-11-16T18:15:02.578" v="58176" actId="165"/>
          <ac:grpSpMkLst>
            <pc:docMk/>
            <pc:sldMk cId="1515730027" sldId="263"/>
            <ac:grpSpMk id="31" creationId="{46DA4F32-5680-146A-B8CD-A6136000D09E}"/>
          </ac:grpSpMkLst>
        </pc:grpChg>
        <pc:grpChg chg="add del mod">
          <ac:chgData name="Merlin Gutter" userId="2abc6f04-74af-430b-bdc8-569c3bfa1dda" providerId="ADAL" clId="{CB1EFBC3-10F5-3048-8961-5969497C0019}" dt="2022-11-16T18:17:13.199" v="58218" actId="165"/>
          <ac:grpSpMkLst>
            <pc:docMk/>
            <pc:sldMk cId="1515730027" sldId="263"/>
            <ac:grpSpMk id="33" creationId="{4012747F-7B5B-EB06-7E27-A3751735F6F5}"/>
          </ac:grpSpMkLst>
        </pc:grpChg>
        <pc:graphicFrameChg chg="mod modGraphic">
          <ac:chgData name="Merlin Gutter" userId="2abc6f04-74af-430b-bdc8-569c3bfa1dda" providerId="ADAL" clId="{CB1EFBC3-10F5-3048-8961-5969497C0019}" dt="2022-11-16T18:17:20.639" v="58220"/>
          <ac:graphicFrameMkLst>
            <pc:docMk/>
            <pc:sldMk cId="1515730027" sldId="263"/>
            <ac:graphicFrameMk id="8" creationId="{41BC18E8-F588-B681-E7FD-4DC03F380956}"/>
          </ac:graphicFrameMkLst>
        </pc:graphicFrameChg>
        <pc:graphicFrameChg chg="add mod modVis replST">
          <ac:chgData name="Merlin Gutter" userId="2abc6f04-74af-430b-bdc8-569c3bfa1dda" providerId="ADAL" clId="{CB1EFBC3-10F5-3048-8961-5969497C0019}" dt="2022-11-16T18:15:19.418" v="58192"/>
          <ac:graphicFrameMkLst>
            <pc:docMk/>
            <pc:sldMk cId="1515730027" sldId="263"/>
            <ac:graphicFrameMk id="21" creationId="{F3590F49-0FA6-65CF-44F7-DE1B1472A8A3}"/>
          </ac:graphicFrameMkLst>
        </pc:graphicFrameChg>
        <pc:cxnChg chg="add mod">
          <ac:chgData name="Merlin Gutter" userId="2abc6f04-74af-430b-bdc8-569c3bfa1dda" providerId="ADAL" clId="{CB1EFBC3-10F5-3048-8961-5969497C0019}" dt="2022-11-16T18:15:19.414" v="58181"/>
          <ac:cxnSpMkLst>
            <pc:docMk/>
            <pc:sldMk cId="1515730027" sldId="263"/>
            <ac:cxnSpMk id="11" creationId="{23D1C495-37A4-5738-2DB7-7B24458BE238}"/>
          </ac:cxnSpMkLst>
        </pc:cxnChg>
        <pc:cxnChg chg="add mod">
          <ac:chgData name="Merlin Gutter" userId="2abc6f04-74af-430b-bdc8-569c3bfa1dda" providerId="ADAL" clId="{CB1EFBC3-10F5-3048-8961-5969497C0019}" dt="2022-11-16T18:15:19.414" v="58182"/>
          <ac:cxnSpMkLst>
            <pc:docMk/>
            <pc:sldMk cId="1515730027" sldId="263"/>
            <ac:cxnSpMk id="12" creationId="{4E3B46ED-57E2-87C7-C82E-11860271DA3E}"/>
          </ac:cxnSpMkLst>
        </pc:cxnChg>
        <pc:cxnChg chg="mod">
          <ac:chgData name="Merlin Gutter" userId="2abc6f04-74af-430b-bdc8-569c3bfa1dda" providerId="ADAL" clId="{CB1EFBC3-10F5-3048-8961-5969497C0019}" dt="2022-11-16T18:15:19.413" v="58180"/>
          <ac:cxnSpMkLst>
            <pc:docMk/>
            <pc:sldMk cId="1515730027" sldId="263"/>
            <ac:cxnSpMk id="17" creationId="{9D828886-3488-A4A4-BF6A-8148DD877484}"/>
          </ac:cxnSpMkLst>
        </pc:cxnChg>
      </pc:sldChg>
      <pc:sldChg chg="addSp modSp add del mod">
        <pc:chgData name="Merlin Gutter" userId="2abc6f04-74af-430b-bdc8-569c3bfa1dda" providerId="ADAL" clId="{CB1EFBC3-10F5-3048-8961-5969497C0019}" dt="2022-11-24T23:21:41.103" v="188016" actId="2696"/>
        <pc:sldMkLst>
          <pc:docMk/>
          <pc:sldMk cId="11629885" sldId="264"/>
        </pc:sldMkLst>
        <pc:spChg chg="mod">
          <ac:chgData name="Merlin Gutter" userId="2abc6f04-74af-430b-bdc8-569c3bfa1dda" providerId="ADAL" clId="{CB1EFBC3-10F5-3048-8961-5969497C0019}" dt="2022-11-04T19:50:26.307" v="486"/>
          <ac:spMkLst>
            <pc:docMk/>
            <pc:sldMk cId="11629885" sldId="264"/>
            <ac:spMk id="16" creationId="{20C30B95-34B0-F86F-7CE9-DD1C10E6D5A0}"/>
          </ac:spMkLst>
        </pc:spChg>
        <pc:graphicFrameChg chg="mod">
          <ac:chgData name="Merlin Gutter" userId="2abc6f04-74af-430b-bdc8-569c3bfa1dda" providerId="ADAL" clId="{CB1EFBC3-10F5-3048-8961-5969497C0019}" dt="2022-11-23T16:38:25.897" v="79409"/>
          <ac:graphicFrameMkLst>
            <pc:docMk/>
            <pc:sldMk cId="11629885" sldId="264"/>
            <ac:graphicFrameMk id="78" creationId="{F2EFE4DA-FD4D-DE72-1129-AAE7077CEF2F}"/>
          </ac:graphicFrameMkLst>
        </pc:graphicFrameChg>
        <pc:cxnChg chg="add mod">
          <ac:chgData name="Merlin Gutter" userId="2abc6f04-74af-430b-bdc8-569c3bfa1dda" providerId="ADAL" clId="{CB1EFBC3-10F5-3048-8961-5969497C0019}" dt="2022-11-13T00:37:57.163" v="47878"/>
          <ac:cxnSpMkLst>
            <pc:docMk/>
            <pc:sldMk cId="11629885" sldId="264"/>
            <ac:cxnSpMk id="7" creationId="{AED1E86A-F4BF-97CC-35A5-BF3953733823}"/>
          </ac:cxnSpMkLst>
        </pc:cxnChg>
        <pc:cxnChg chg="add mod">
          <ac:chgData name="Merlin Gutter" userId="2abc6f04-74af-430b-bdc8-569c3bfa1dda" providerId="ADAL" clId="{CB1EFBC3-10F5-3048-8961-5969497C0019}" dt="2022-11-13T00:37:57.163" v="47878"/>
          <ac:cxnSpMkLst>
            <pc:docMk/>
            <pc:sldMk cId="11629885" sldId="264"/>
            <ac:cxnSpMk id="9" creationId="{4E2F9943-3FB5-1113-C976-F8EE66E11E96}"/>
          </ac:cxnSpMkLst>
        </pc:cxnChg>
      </pc:sldChg>
      <pc:sldChg chg="addSp delSp modSp add mod">
        <pc:chgData name="Merlin Gutter" userId="2abc6f04-74af-430b-bdc8-569c3bfa1dda" providerId="ADAL" clId="{CB1EFBC3-10F5-3048-8961-5969497C0019}" dt="2022-11-13T01:19:33.022" v="55479"/>
        <pc:sldMkLst>
          <pc:docMk/>
          <pc:sldMk cId="3732883263" sldId="313"/>
        </pc:sldMkLst>
        <pc:spChg chg="mod">
          <ac:chgData name="Merlin Gutter" userId="2abc6f04-74af-430b-bdc8-569c3bfa1dda" providerId="ADAL" clId="{CB1EFBC3-10F5-3048-8961-5969497C0019}" dt="2022-11-13T01:19:32.997" v="55436" actId="948"/>
          <ac:spMkLst>
            <pc:docMk/>
            <pc:sldMk cId="3732883263" sldId="313"/>
            <ac:spMk id="2" creationId="{B07FFD0D-A31C-623E-E3DA-11A223839E3F}"/>
          </ac:spMkLst>
        </pc:spChg>
        <pc:spChg chg="add del mod modVis">
          <ac:chgData name="Merlin Gutter" userId="2abc6f04-74af-430b-bdc8-569c3bfa1dda" providerId="ADAL" clId="{CB1EFBC3-10F5-3048-8961-5969497C0019}" dt="2022-11-04T18:58:48.977" v="67"/>
          <ac:spMkLst>
            <pc:docMk/>
            <pc:sldMk cId="3732883263" sldId="313"/>
            <ac:spMk id="3" creationId="{49D58436-8EEB-27D9-75B8-894178D12DEA}"/>
          </ac:spMkLst>
        </pc:spChg>
        <pc:spChg chg="add del mod modVis">
          <ac:chgData name="Merlin Gutter" userId="2abc6f04-74af-430b-bdc8-569c3bfa1dda" providerId="ADAL" clId="{CB1EFBC3-10F5-3048-8961-5969497C0019}" dt="2022-11-13T01:03:02.606" v="50038"/>
          <ac:spMkLst>
            <pc:docMk/>
            <pc:sldMk cId="3732883263" sldId="313"/>
            <ac:spMk id="3" creationId="{D09E7FE0-2105-BE62-7CD3-BBD26566342B}"/>
          </ac:spMkLst>
        </pc:spChg>
        <pc:spChg chg="add del mod modVis">
          <ac:chgData name="Merlin Gutter" userId="2abc6f04-74af-430b-bdc8-569c3bfa1dda" providerId="ADAL" clId="{CB1EFBC3-10F5-3048-8961-5969497C0019}" dt="2022-11-13T01:03:04.745" v="50089"/>
          <ac:spMkLst>
            <pc:docMk/>
            <pc:sldMk cId="3732883263" sldId="313"/>
            <ac:spMk id="4" creationId="{06ECC1D5-47D4-E729-0A08-CA77CB02B3FC}"/>
          </ac:spMkLst>
        </pc:spChg>
        <pc:spChg chg="add del mod modVis">
          <ac:chgData name="Merlin Gutter" userId="2abc6f04-74af-430b-bdc8-569c3bfa1dda" providerId="ADAL" clId="{CB1EFBC3-10F5-3048-8961-5969497C0019}" dt="2022-11-13T01:03:06.019" v="50135"/>
          <ac:spMkLst>
            <pc:docMk/>
            <pc:sldMk cId="3732883263" sldId="313"/>
            <ac:spMk id="6" creationId="{3B5D73C3-0774-18BC-B164-F47663F84111}"/>
          </ac:spMkLst>
        </pc:spChg>
        <pc:spChg chg="add del mod modVis">
          <ac:chgData name="Merlin Gutter" userId="2abc6f04-74af-430b-bdc8-569c3bfa1dda" providerId="ADAL" clId="{CB1EFBC3-10F5-3048-8961-5969497C0019}" dt="2022-11-13T01:03:06.722" v="50181"/>
          <ac:spMkLst>
            <pc:docMk/>
            <pc:sldMk cId="3732883263" sldId="313"/>
            <ac:spMk id="7" creationId="{0526CCD5-3F87-A2C2-432E-0044685C2D56}"/>
          </ac:spMkLst>
        </pc:spChg>
        <pc:spChg chg="add del mod modVis">
          <ac:chgData name="Merlin Gutter" userId="2abc6f04-74af-430b-bdc8-569c3bfa1dda" providerId="ADAL" clId="{CB1EFBC3-10F5-3048-8961-5969497C0019}" dt="2022-11-13T01:03:09.141" v="50232"/>
          <ac:spMkLst>
            <pc:docMk/>
            <pc:sldMk cId="3732883263" sldId="313"/>
            <ac:spMk id="8" creationId="{8568DF92-E2F7-B068-7C30-6A4BFC83AEE1}"/>
          </ac:spMkLst>
        </pc:spChg>
        <pc:spChg chg="add del mod modVis">
          <ac:chgData name="Merlin Gutter" userId="2abc6f04-74af-430b-bdc8-569c3bfa1dda" providerId="ADAL" clId="{CB1EFBC3-10F5-3048-8961-5969497C0019}" dt="2022-11-13T01:03:11.068" v="50278"/>
          <ac:spMkLst>
            <pc:docMk/>
            <pc:sldMk cId="3732883263" sldId="313"/>
            <ac:spMk id="9" creationId="{BF3C74E9-A8B2-F010-5C04-10271385617C}"/>
          </ac:spMkLst>
        </pc:spChg>
        <pc:spChg chg="add del mod modVis">
          <ac:chgData name="Merlin Gutter" userId="2abc6f04-74af-430b-bdc8-569c3bfa1dda" providerId="ADAL" clId="{CB1EFBC3-10F5-3048-8961-5969497C0019}" dt="2022-11-13T01:05:00.904" v="50331"/>
          <ac:spMkLst>
            <pc:docMk/>
            <pc:sldMk cId="3732883263" sldId="313"/>
            <ac:spMk id="10" creationId="{6266C71F-592F-D489-E46E-F904CD552BD3}"/>
          </ac:spMkLst>
        </pc:spChg>
        <pc:spChg chg="add del mod modVis">
          <ac:chgData name="Merlin Gutter" userId="2abc6f04-74af-430b-bdc8-569c3bfa1dda" providerId="ADAL" clId="{CB1EFBC3-10F5-3048-8961-5969497C0019}" dt="2022-11-13T01:05:01.446" v="50376"/>
          <ac:spMkLst>
            <pc:docMk/>
            <pc:sldMk cId="3732883263" sldId="313"/>
            <ac:spMk id="11" creationId="{F2D39FCB-FDEF-96E2-9ED3-E6AD4622A748}"/>
          </ac:spMkLst>
        </pc:spChg>
        <pc:spChg chg="add del mod modVis">
          <ac:chgData name="Merlin Gutter" userId="2abc6f04-74af-430b-bdc8-569c3bfa1dda" providerId="ADAL" clId="{CB1EFBC3-10F5-3048-8961-5969497C0019}" dt="2022-11-13T01:05:05.946" v="50442"/>
          <ac:spMkLst>
            <pc:docMk/>
            <pc:sldMk cId="3732883263" sldId="313"/>
            <ac:spMk id="12" creationId="{543BA7FB-E64A-14DA-24F2-C999CEAC81CD}"/>
          </ac:spMkLst>
        </pc:spChg>
        <pc:spChg chg="add del mod modVis">
          <ac:chgData name="Merlin Gutter" userId="2abc6f04-74af-430b-bdc8-569c3bfa1dda" providerId="ADAL" clId="{CB1EFBC3-10F5-3048-8961-5969497C0019}" dt="2022-11-13T01:05:07.954" v="50489"/>
          <ac:spMkLst>
            <pc:docMk/>
            <pc:sldMk cId="3732883263" sldId="313"/>
            <ac:spMk id="13" creationId="{82875805-AA1A-4F2D-88A7-806F6AAA5517}"/>
          </ac:spMkLst>
        </pc:spChg>
        <pc:spChg chg="add del mod modVis">
          <ac:chgData name="Merlin Gutter" userId="2abc6f04-74af-430b-bdc8-569c3bfa1dda" providerId="ADAL" clId="{CB1EFBC3-10F5-3048-8961-5969497C0019}" dt="2022-11-13T01:05:09.919" v="50540"/>
          <ac:spMkLst>
            <pc:docMk/>
            <pc:sldMk cId="3732883263" sldId="313"/>
            <ac:spMk id="14" creationId="{CECB5C93-4F60-D806-2352-4FCC058C9A41}"/>
          </ac:spMkLst>
        </pc:spChg>
        <pc:spChg chg="add del mod modVis">
          <ac:chgData name="Merlin Gutter" userId="2abc6f04-74af-430b-bdc8-569c3bfa1dda" providerId="ADAL" clId="{CB1EFBC3-10F5-3048-8961-5969497C0019}" dt="2022-11-13T01:05:10.426" v="50585"/>
          <ac:spMkLst>
            <pc:docMk/>
            <pc:sldMk cId="3732883263" sldId="313"/>
            <ac:spMk id="15" creationId="{96D49893-E4A5-845C-B72B-0232426B28BB}"/>
          </ac:spMkLst>
        </pc:spChg>
        <pc:spChg chg="add del mod modVis">
          <ac:chgData name="Merlin Gutter" userId="2abc6f04-74af-430b-bdc8-569c3bfa1dda" providerId="ADAL" clId="{CB1EFBC3-10F5-3048-8961-5969497C0019}" dt="2022-11-13T01:05:11.287" v="50632"/>
          <ac:spMkLst>
            <pc:docMk/>
            <pc:sldMk cId="3732883263" sldId="313"/>
            <ac:spMk id="16" creationId="{EF395F9A-6712-9B93-04AD-5DD03BADEC5A}"/>
          </ac:spMkLst>
        </pc:spChg>
        <pc:spChg chg="add del mod modVis">
          <ac:chgData name="Merlin Gutter" userId="2abc6f04-74af-430b-bdc8-569c3bfa1dda" providerId="ADAL" clId="{CB1EFBC3-10F5-3048-8961-5969497C0019}" dt="2022-11-13T01:05:13.735" v="50686"/>
          <ac:spMkLst>
            <pc:docMk/>
            <pc:sldMk cId="3732883263" sldId="313"/>
            <ac:spMk id="17" creationId="{BA02D0FF-C04B-F803-859D-0E125C471A33}"/>
          </ac:spMkLst>
        </pc:spChg>
        <pc:spChg chg="add del mod modVis">
          <ac:chgData name="Merlin Gutter" userId="2abc6f04-74af-430b-bdc8-569c3bfa1dda" providerId="ADAL" clId="{CB1EFBC3-10F5-3048-8961-5969497C0019}" dt="2022-11-13T01:05:15.226" v="50732"/>
          <ac:spMkLst>
            <pc:docMk/>
            <pc:sldMk cId="3732883263" sldId="313"/>
            <ac:spMk id="18" creationId="{541FBC53-51C6-0091-ECD8-0F66F3CCCF20}"/>
          </ac:spMkLst>
        </pc:spChg>
        <pc:spChg chg="add del mod modVis">
          <ac:chgData name="Merlin Gutter" userId="2abc6f04-74af-430b-bdc8-569c3bfa1dda" providerId="ADAL" clId="{CB1EFBC3-10F5-3048-8961-5969497C0019}" dt="2022-11-13T01:05:18.385" v="50777"/>
          <ac:spMkLst>
            <pc:docMk/>
            <pc:sldMk cId="3732883263" sldId="313"/>
            <ac:spMk id="19" creationId="{574DF92F-B014-797D-AA8A-3C8BD9EA60B2}"/>
          </ac:spMkLst>
        </pc:spChg>
        <pc:spChg chg="add del mod modVis">
          <ac:chgData name="Merlin Gutter" userId="2abc6f04-74af-430b-bdc8-569c3bfa1dda" providerId="ADAL" clId="{CB1EFBC3-10F5-3048-8961-5969497C0019}" dt="2022-11-13T01:05:24.464" v="50822"/>
          <ac:spMkLst>
            <pc:docMk/>
            <pc:sldMk cId="3732883263" sldId="313"/>
            <ac:spMk id="20" creationId="{EC74A8EF-E111-F5B2-F170-D5AEE529015C}"/>
          </ac:spMkLst>
        </pc:spChg>
        <pc:spChg chg="add del mod modVis">
          <ac:chgData name="Merlin Gutter" userId="2abc6f04-74af-430b-bdc8-569c3bfa1dda" providerId="ADAL" clId="{CB1EFBC3-10F5-3048-8961-5969497C0019}" dt="2022-11-13T01:05:30.771" v="50867"/>
          <ac:spMkLst>
            <pc:docMk/>
            <pc:sldMk cId="3732883263" sldId="313"/>
            <ac:spMk id="21" creationId="{40444EA3-DDD1-236F-53F7-8C67AFA1088F}"/>
          </ac:spMkLst>
        </pc:spChg>
        <pc:spChg chg="add del mod modVis">
          <ac:chgData name="Merlin Gutter" userId="2abc6f04-74af-430b-bdc8-569c3bfa1dda" providerId="ADAL" clId="{CB1EFBC3-10F5-3048-8961-5969497C0019}" dt="2022-11-13T01:05:55.738" v="50913"/>
          <ac:spMkLst>
            <pc:docMk/>
            <pc:sldMk cId="3732883263" sldId="313"/>
            <ac:spMk id="22" creationId="{9FD6D297-6598-399F-F5B2-22004E53B670}"/>
          </ac:spMkLst>
        </pc:spChg>
        <pc:spChg chg="add del mod modVis">
          <ac:chgData name="Merlin Gutter" userId="2abc6f04-74af-430b-bdc8-569c3bfa1dda" providerId="ADAL" clId="{CB1EFBC3-10F5-3048-8961-5969497C0019}" dt="2022-11-13T01:05:57.966" v="50959"/>
          <ac:spMkLst>
            <pc:docMk/>
            <pc:sldMk cId="3732883263" sldId="313"/>
            <ac:spMk id="23" creationId="{CF1ECF00-EA23-C933-5AFE-EFDCAE786AB3}"/>
          </ac:spMkLst>
        </pc:spChg>
        <pc:spChg chg="add del mod modVis">
          <ac:chgData name="Merlin Gutter" userId="2abc6f04-74af-430b-bdc8-569c3bfa1dda" providerId="ADAL" clId="{CB1EFBC3-10F5-3048-8961-5969497C0019}" dt="2022-11-13T01:08:08.005" v="51688"/>
          <ac:spMkLst>
            <pc:docMk/>
            <pc:sldMk cId="3732883263" sldId="313"/>
            <ac:spMk id="24" creationId="{F0188F10-9C94-0815-80F7-5B7119A15337}"/>
          </ac:spMkLst>
        </pc:spChg>
        <pc:spChg chg="add del mod modVis">
          <ac:chgData name="Merlin Gutter" userId="2abc6f04-74af-430b-bdc8-569c3bfa1dda" providerId="ADAL" clId="{CB1EFBC3-10F5-3048-8961-5969497C0019}" dt="2022-11-13T01:09:46.377" v="52426"/>
          <ac:spMkLst>
            <pc:docMk/>
            <pc:sldMk cId="3732883263" sldId="313"/>
            <ac:spMk id="25" creationId="{80FFD2F2-6BD1-F4A2-1E8F-709C58C416DE}"/>
          </ac:spMkLst>
        </pc:spChg>
        <pc:spChg chg="add del mod modVis">
          <ac:chgData name="Merlin Gutter" userId="2abc6f04-74af-430b-bdc8-569c3bfa1dda" providerId="ADAL" clId="{CB1EFBC3-10F5-3048-8961-5969497C0019}" dt="2022-11-13T01:17:57.984" v="55154"/>
          <ac:spMkLst>
            <pc:docMk/>
            <pc:sldMk cId="3732883263" sldId="313"/>
            <ac:spMk id="26" creationId="{3F095556-B318-525F-BC17-FB0D333E5063}"/>
          </ac:spMkLst>
        </pc:spChg>
        <pc:spChg chg="add del mod modVis">
          <ac:chgData name="Merlin Gutter" userId="2abc6f04-74af-430b-bdc8-569c3bfa1dda" providerId="ADAL" clId="{CB1EFBC3-10F5-3048-8961-5969497C0019}" dt="2022-11-13T01:19:33.021" v="55477"/>
          <ac:spMkLst>
            <pc:docMk/>
            <pc:sldMk cId="3732883263" sldId="313"/>
            <ac:spMk id="27" creationId="{0A36BEE4-9E18-EA1A-9C65-642531F3665A}"/>
          </ac:spMkLst>
        </pc:spChg>
        <pc:graphicFrameChg chg="mod">
          <ac:chgData name="Merlin Gutter" userId="2abc6f04-74af-430b-bdc8-569c3bfa1dda" providerId="ADAL" clId="{CB1EFBC3-10F5-3048-8961-5969497C0019}" dt="2022-11-13T01:19:33.022" v="55479"/>
          <ac:graphicFrameMkLst>
            <pc:docMk/>
            <pc:sldMk cId="3732883263" sldId="313"/>
            <ac:graphicFrameMk id="5" creationId="{3BFAACF3-A7AA-62A2-1CE5-63DAC6D9B78B}"/>
          </ac:graphicFrameMkLst>
        </pc:graphicFrameChg>
        <pc:picChg chg="mod">
          <ac:chgData name="Merlin Gutter" userId="2abc6f04-74af-430b-bdc8-569c3bfa1dda" providerId="ADAL" clId="{CB1EFBC3-10F5-3048-8961-5969497C0019}" dt="2022-11-04T20:00:00.241" v="1065"/>
          <ac:picMkLst>
            <pc:docMk/>
            <pc:sldMk cId="3732883263" sldId="313"/>
            <ac:picMk id="5122" creationId="{E6DC30FF-A504-7A9F-B27A-406C4C588826}"/>
          </ac:picMkLst>
        </pc:picChg>
      </pc:sldChg>
      <pc:sldChg chg="delSp modSp add mod">
        <pc:chgData name="Merlin Gutter" userId="2abc6f04-74af-430b-bdc8-569c3bfa1dda" providerId="ADAL" clId="{CB1EFBC3-10F5-3048-8961-5969497C0019}" dt="2022-11-23T16:52:09.849" v="79425" actId="465"/>
        <pc:sldMkLst>
          <pc:docMk/>
          <pc:sldMk cId="205438394" sldId="347"/>
        </pc:sldMkLst>
        <pc:spChg chg="mod">
          <ac:chgData name="Merlin Gutter" userId="2abc6f04-74af-430b-bdc8-569c3bfa1dda" providerId="ADAL" clId="{CB1EFBC3-10F5-3048-8961-5969497C0019}" dt="2022-11-23T16:51:45.915" v="79417" actId="20577"/>
          <ac:spMkLst>
            <pc:docMk/>
            <pc:sldMk cId="205438394" sldId="347"/>
            <ac:spMk id="11" creationId="{9132C13C-B5ED-8D2F-7A06-377CD84639F7}"/>
          </ac:spMkLst>
        </pc:spChg>
        <pc:spChg chg="mod">
          <ac:chgData name="Merlin Gutter" userId="2abc6f04-74af-430b-bdc8-569c3bfa1dda" providerId="ADAL" clId="{CB1EFBC3-10F5-3048-8961-5969497C0019}" dt="2022-11-23T16:52:01.704" v="79424"/>
          <ac:spMkLst>
            <pc:docMk/>
            <pc:sldMk cId="205438394" sldId="347"/>
            <ac:spMk id="13" creationId="{874A3E32-F54E-3F38-48C3-1C29A1AE6A24}"/>
          </ac:spMkLst>
        </pc:spChg>
        <pc:spChg chg="mod">
          <ac:chgData name="Merlin Gutter" userId="2abc6f04-74af-430b-bdc8-569c3bfa1dda" providerId="ADAL" clId="{CB1EFBC3-10F5-3048-8961-5969497C0019}" dt="2022-11-04T18:58:36.077" v="16" actId="20577"/>
          <ac:spMkLst>
            <pc:docMk/>
            <pc:sldMk cId="205438394" sldId="347"/>
            <ac:spMk id="15" creationId="{CD69171F-1736-2EC5-D851-C0C00BD8DBA4}"/>
          </ac:spMkLst>
        </pc:spChg>
        <pc:spChg chg="mod">
          <ac:chgData name="Merlin Gutter" userId="2abc6f04-74af-430b-bdc8-569c3bfa1dda" providerId="ADAL" clId="{CB1EFBC3-10F5-3048-8961-5969497C0019}" dt="2022-11-04T19:50:10.911" v="482"/>
          <ac:spMkLst>
            <pc:docMk/>
            <pc:sldMk cId="205438394" sldId="347"/>
            <ac:spMk id="16" creationId="{20C30B95-34B0-F86F-7CE9-DD1C10E6D5A0}"/>
          </ac:spMkLst>
        </pc:spChg>
        <pc:spChg chg="mod">
          <ac:chgData name="Merlin Gutter" userId="2abc6f04-74af-430b-bdc8-569c3bfa1dda" providerId="ADAL" clId="{CB1EFBC3-10F5-3048-8961-5969497C0019}" dt="2022-11-23T16:52:09.849" v="79425" actId="465"/>
          <ac:spMkLst>
            <pc:docMk/>
            <pc:sldMk cId="205438394" sldId="347"/>
            <ac:spMk id="18" creationId="{751116A0-6B75-E33F-9642-22EF4F1D7C83}"/>
          </ac:spMkLst>
        </pc:spChg>
        <pc:spChg chg="mod">
          <ac:chgData name="Merlin Gutter" userId="2abc6f04-74af-430b-bdc8-569c3bfa1dda" providerId="ADAL" clId="{CB1EFBC3-10F5-3048-8961-5969497C0019}" dt="2022-11-23T16:52:09.849" v="79425" actId="465"/>
          <ac:spMkLst>
            <pc:docMk/>
            <pc:sldMk cId="205438394" sldId="347"/>
            <ac:spMk id="19" creationId="{8D6CECDC-3E50-D688-BEC6-54083F4D5DE1}"/>
          </ac:spMkLst>
        </pc:spChg>
        <pc:spChg chg="mod">
          <ac:chgData name="Merlin Gutter" userId="2abc6f04-74af-430b-bdc8-569c3bfa1dda" providerId="ADAL" clId="{CB1EFBC3-10F5-3048-8961-5969497C0019}" dt="2022-11-23T16:52:09.849" v="79425" actId="465"/>
          <ac:spMkLst>
            <pc:docMk/>
            <pc:sldMk cId="205438394" sldId="347"/>
            <ac:spMk id="20" creationId="{E1E4945B-8C9E-138C-18CA-7A4071E63871}"/>
          </ac:spMkLst>
        </pc:spChg>
        <pc:spChg chg="mod">
          <ac:chgData name="Merlin Gutter" userId="2abc6f04-74af-430b-bdc8-569c3bfa1dda" providerId="ADAL" clId="{CB1EFBC3-10F5-3048-8961-5969497C0019}" dt="2022-11-23T16:52:09.849" v="79425" actId="465"/>
          <ac:spMkLst>
            <pc:docMk/>
            <pc:sldMk cId="205438394" sldId="347"/>
            <ac:spMk id="21" creationId="{045719A8-231D-A9A4-2514-3433393ABA7E}"/>
          </ac:spMkLst>
        </pc:spChg>
        <pc:spChg chg="del mod">
          <ac:chgData name="Merlin Gutter" userId="2abc6f04-74af-430b-bdc8-569c3bfa1dda" providerId="ADAL" clId="{CB1EFBC3-10F5-3048-8961-5969497C0019}" dt="2022-11-23T16:51:29.670" v="79412" actId="478"/>
          <ac:spMkLst>
            <pc:docMk/>
            <pc:sldMk cId="205438394" sldId="347"/>
            <ac:spMk id="32" creationId="{8904802C-5E8F-EDFC-C7F6-BC7480A9B03E}"/>
          </ac:spMkLst>
        </pc:spChg>
        <pc:spChg chg="del mod">
          <ac:chgData name="Merlin Gutter" userId="2abc6f04-74af-430b-bdc8-569c3bfa1dda" providerId="ADAL" clId="{CB1EFBC3-10F5-3048-8961-5969497C0019}" dt="2022-11-23T16:50:51.418" v="79411" actId="478"/>
          <ac:spMkLst>
            <pc:docMk/>
            <pc:sldMk cId="205438394" sldId="347"/>
            <ac:spMk id="33" creationId="{16AB8C14-EE71-725E-A57C-4A8382414EA4}"/>
          </ac:spMkLst>
        </pc:spChg>
        <pc:grpChg chg="mod">
          <ac:chgData name="Merlin Gutter" userId="2abc6f04-74af-430b-bdc8-569c3bfa1dda" providerId="ADAL" clId="{CB1EFBC3-10F5-3048-8961-5969497C0019}" dt="2022-11-23T16:52:09.849" v="79425" actId="465"/>
          <ac:grpSpMkLst>
            <pc:docMk/>
            <pc:sldMk cId="205438394" sldId="347"/>
            <ac:grpSpMk id="5" creationId="{14299BB8-2204-6BD8-C36D-DD3A120D9EF9}"/>
          </ac:grpSpMkLst>
        </pc:grpChg>
        <pc:grpChg chg="del">
          <ac:chgData name="Merlin Gutter" userId="2abc6f04-74af-430b-bdc8-569c3bfa1dda" providerId="ADAL" clId="{CB1EFBC3-10F5-3048-8961-5969497C0019}" dt="2022-11-23T16:51:32.788" v="79413" actId="478"/>
          <ac:grpSpMkLst>
            <pc:docMk/>
            <pc:sldMk cId="205438394" sldId="347"/>
            <ac:grpSpMk id="7" creationId="{9182DB3E-EB68-AF21-983C-15EF973F760B}"/>
          </ac:grpSpMkLst>
        </pc:grpChg>
        <pc:grpChg chg="mod">
          <ac:chgData name="Merlin Gutter" userId="2abc6f04-74af-430b-bdc8-569c3bfa1dda" providerId="ADAL" clId="{CB1EFBC3-10F5-3048-8961-5969497C0019}" dt="2022-11-23T16:52:09.849" v="79425" actId="465"/>
          <ac:grpSpMkLst>
            <pc:docMk/>
            <pc:sldMk cId="205438394" sldId="347"/>
            <ac:grpSpMk id="9" creationId="{1DC49DF9-04D1-9EA0-7F5B-5EF73E670809}"/>
          </ac:grpSpMkLst>
        </pc:grpChg>
        <pc:grpChg chg="mod">
          <ac:chgData name="Merlin Gutter" userId="2abc6f04-74af-430b-bdc8-569c3bfa1dda" providerId="ADAL" clId="{CB1EFBC3-10F5-3048-8961-5969497C0019}" dt="2022-11-23T16:52:09.849" v="79425" actId="465"/>
          <ac:grpSpMkLst>
            <pc:docMk/>
            <pc:sldMk cId="205438394" sldId="347"/>
            <ac:grpSpMk id="28" creationId="{80F1A54F-6A0A-158B-4AFF-86CA6062BEE3}"/>
          </ac:grpSpMkLst>
        </pc:grpChg>
        <pc:grpChg chg="mod">
          <ac:chgData name="Merlin Gutter" userId="2abc6f04-74af-430b-bdc8-569c3bfa1dda" providerId="ADAL" clId="{CB1EFBC3-10F5-3048-8961-5969497C0019}" dt="2022-11-23T16:52:09.849" v="79425" actId="465"/>
          <ac:grpSpMkLst>
            <pc:docMk/>
            <pc:sldMk cId="205438394" sldId="347"/>
            <ac:grpSpMk id="29" creationId="{2483A260-60DC-69A1-C3D4-632562702E84}"/>
          </ac:grpSpMkLst>
        </pc:grpChg>
      </pc:sldChg>
      <pc:sldChg chg="del">
        <pc:chgData name="Merlin Gutter" userId="2abc6f04-74af-430b-bdc8-569c3bfa1dda" providerId="ADAL" clId="{CB1EFBC3-10F5-3048-8961-5969497C0019}" dt="2022-11-04T18:59:37.897" v="122" actId="2696"/>
        <pc:sldMkLst>
          <pc:docMk/>
          <pc:sldMk cId="3965595954" sldId="348"/>
        </pc:sldMkLst>
      </pc:sldChg>
      <pc:sldChg chg="addSp delSp modSp mod">
        <pc:chgData name="Merlin Gutter" userId="2abc6f04-74af-430b-bdc8-569c3bfa1dda" providerId="ADAL" clId="{CB1EFBC3-10F5-3048-8961-5969497C0019}" dt="2022-11-24T19:26:29.734" v="130679"/>
        <pc:sldMkLst>
          <pc:docMk/>
          <pc:sldMk cId="2120905993" sldId="349"/>
        </pc:sldMkLst>
        <pc:spChg chg="mod">
          <ac:chgData name="Merlin Gutter" userId="2abc6f04-74af-430b-bdc8-569c3bfa1dda" providerId="ADAL" clId="{CB1EFBC3-10F5-3048-8961-5969497C0019}" dt="2022-11-24T19:26:29.734" v="130679"/>
          <ac:spMkLst>
            <pc:docMk/>
            <pc:sldMk cId="2120905993" sldId="349"/>
            <ac:spMk id="3" creationId="{25183F6D-5032-5DFB-4FD6-71D1BDF81F66}"/>
          </ac:spMkLst>
        </pc:spChg>
        <pc:spChg chg="add del mod">
          <ac:chgData name="Merlin Gutter" userId="2abc6f04-74af-430b-bdc8-569c3bfa1dda" providerId="ADAL" clId="{CB1EFBC3-10F5-3048-8961-5969497C0019}" dt="2022-11-23T17:05:03.510" v="79952"/>
          <ac:spMkLst>
            <pc:docMk/>
            <pc:sldMk cId="2120905993" sldId="349"/>
            <ac:spMk id="8" creationId="{8244CE45-D307-46AD-F738-B9251CE8D14A}"/>
          </ac:spMkLst>
        </pc:spChg>
        <pc:cxnChg chg="add mod">
          <ac:chgData name="Merlin Gutter" userId="2abc6f04-74af-430b-bdc8-569c3bfa1dda" providerId="ADAL" clId="{CB1EFBC3-10F5-3048-8961-5969497C0019}" dt="2022-11-13T00:37:46.794" v="47876"/>
          <ac:cxnSpMkLst>
            <pc:docMk/>
            <pc:sldMk cId="2120905993" sldId="349"/>
            <ac:cxnSpMk id="4" creationId="{49AFA0E7-5A6E-BAC7-4C68-4CD7AFE21961}"/>
          </ac:cxnSpMkLst>
        </pc:cxnChg>
        <pc:cxnChg chg="add mod">
          <ac:chgData name="Merlin Gutter" userId="2abc6f04-74af-430b-bdc8-569c3bfa1dda" providerId="ADAL" clId="{CB1EFBC3-10F5-3048-8961-5969497C0019}" dt="2022-11-13T00:37:46.794" v="47876"/>
          <ac:cxnSpMkLst>
            <pc:docMk/>
            <pc:sldMk cId="2120905993" sldId="349"/>
            <ac:cxnSpMk id="7" creationId="{FCB1B778-E111-7210-3179-EA7DA2487771}"/>
          </ac:cxnSpMkLst>
        </pc:cxnChg>
      </pc:sldChg>
      <pc:sldChg chg="del">
        <pc:chgData name="Merlin Gutter" userId="2abc6f04-74af-430b-bdc8-569c3bfa1dda" providerId="ADAL" clId="{CB1EFBC3-10F5-3048-8961-5969497C0019}" dt="2022-11-04T18:59:37.897" v="122" actId="2696"/>
        <pc:sldMkLst>
          <pc:docMk/>
          <pc:sldMk cId="3940275223" sldId="350"/>
        </pc:sldMkLst>
      </pc:sldChg>
      <pc:sldChg chg="del">
        <pc:chgData name="Merlin Gutter" userId="2abc6f04-74af-430b-bdc8-569c3bfa1dda" providerId="ADAL" clId="{CB1EFBC3-10F5-3048-8961-5969497C0019}" dt="2022-11-04T18:59:37.897" v="122" actId="2696"/>
        <pc:sldMkLst>
          <pc:docMk/>
          <pc:sldMk cId="2487866549" sldId="354"/>
        </pc:sldMkLst>
      </pc:sldChg>
      <pc:sldChg chg="del">
        <pc:chgData name="Merlin Gutter" userId="2abc6f04-74af-430b-bdc8-569c3bfa1dda" providerId="ADAL" clId="{CB1EFBC3-10F5-3048-8961-5969497C0019}" dt="2022-11-04T18:59:37.897" v="122" actId="2696"/>
        <pc:sldMkLst>
          <pc:docMk/>
          <pc:sldMk cId="2100020023" sldId="355"/>
        </pc:sldMkLst>
      </pc:sldChg>
      <pc:sldChg chg="del">
        <pc:chgData name="Merlin Gutter" userId="2abc6f04-74af-430b-bdc8-569c3bfa1dda" providerId="ADAL" clId="{CB1EFBC3-10F5-3048-8961-5969497C0019}" dt="2022-11-04T18:59:37.897" v="122" actId="2696"/>
        <pc:sldMkLst>
          <pc:docMk/>
          <pc:sldMk cId="422306825" sldId="356"/>
        </pc:sldMkLst>
      </pc:sldChg>
      <pc:sldChg chg="del">
        <pc:chgData name="Merlin Gutter" userId="2abc6f04-74af-430b-bdc8-569c3bfa1dda" providerId="ADAL" clId="{CB1EFBC3-10F5-3048-8961-5969497C0019}" dt="2022-11-04T18:59:37.897" v="122" actId="2696"/>
        <pc:sldMkLst>
          <pc:docMk/>
          <pc:sldMk cId="2840350526" sldId="357"/>
        </pc:sldMkLst>
      </pc:sldChg>
      <pc:sldChg chg="del">
        <pc:chgData name="Merlin Gutter" userId="2abc6f04-74af-430b-bdc8-569c3bfa1dda" providerId="ADAL" clId="{CB1EFBC3-10F5-3048-8961-5969497C0019}" dt="2022-11-04T18:59:37.897" v="122" actId="2696"/>
        <pc:sldMkLst>
          <pc:docMk/>
          <pc:sldMk cId="320241957" sldId="358"/>
        </pc:sldMkLst>
      </pc:sldChg>
      <pc:sldChg chg="del">
        <pc:chgData name="Merlin Gutter" userId="2abc6f04-74af-430b-bdc8-569c3bfa1dda" providerId="ADAL" clId="{CB1EFBC3-10F5-3048-8961-5969497C0019}" dt="2022-11-04T18:59:10.370" v="121" actId="2696"/>
        <pc:sldMkLst>
          <pc:docMk/>
          <pc:sldMk cId="3964491509" sldId="359"/>
        </pc:sldMkLst>
      </pc:sldChg>
      <pc:sldChg chg="addSp delSp modSp add mod">
        <pc:chgData name="Merlin Gutter" userId="2abc6f04-74af-430b-bdc8-569c3bfa1dda" providerId="ADAL" clId="{CB1EFBC3-10F5-3048-8961-5969497C0019}" dt="2022-11-24T19:44:13.371" v="132222" actId="165"/>
        <pc:sldMkLst>
          <pc:docMk/>
          <pc:sldMk cId="2343338353" sldId="360"/>
        </pc:sldMkLst>
        <pc:spChg chg="mod">
          <ac:chgData name="Merlin Gutter" userId="2abc6f04-74af-430b-bdc8-569c3bfa1dda" providerId="ADAL" clId="{CB1EFBC3-10F5-3048-8961-5969497C0019}" dt="2022-11-24T19:44:13.371" v="132222" actId="165"/>
          <ac:spMkLst>
            <pc:docMk/>
            <pc:sldMk cId="2343338353" sldId="360"/>
            <ac:spMk id="4" creationId="{C87A6629-CFC8-2709-93C8-792505BDBD30}"/>
          </ac:spMkLst>
        </pc:spChg>
        <pc:spChg chg="mod">
          <ac:chgData name="Merlin Gutter" userId="2abc6f04-74af-430b-bdc8-569c3bfa1dda" providerId="ADAL" clId="{CB1EFBC3-10F5-3048-8961-5969497C0019}" dt="2022-11-24T19:44:13.371" v="132222" actId="165"/>
          <ac:spMkLst>
            <pc:docMk/>
            <pc:sldMk cId="2343338353" sldId="360"/>
            <ac:spMk id="5" creationId="{6B4121D2-EF3E-8EC1-EB6D-E018C09281B7}"/>
          </ac:spMkLst>
        </pc:spChg>
        <pc:spChg chg="mod">
          <ac:chgData name="Merlin Gutter" userId="2abc6f04-74af-430b-bdc8-569c3bfa1dda" providerId="ADAL" clId="{CB1EFBC3-10F5-3048-8961-5969497C0019}" dt="2022-11-24T19:44:13.371" v="132222" actId="165"/>
          <ac:spMkLst>
            <pc:docMk/>
            <pc:sldMk cId="2343338353" sldId="360"/>
            <ac:spMk id="9" creationId="{57D99DBF-7509-23AC-4322-EDB991ECB64C}"/>
          </ac:spMkLst>
        </pc:spChg>
        <pc:spChg chg="mod topLvl">
          <ac:chgData name="Merlin Gutter" userId="2abc6f04-74af-430b-bdc8-569c3bfa1dda" providerId="ADAL" clId="{CB1EFBC3-10F5-3048-8961-5969497C0019}" dt="2022-11-24T19:44:13.371" v="132222" actId="165"/>
          <ac:spMkLst>
            <pc:docMk/>
            <pc:sldMk cId="2343338353" sldId="360"/>
            <ac:spMk id="14" creationId="{0314A110-BFD1-A9F9-DE53-1448F1AA8ADB}"/>
          </ac:spMkLst>
        </pc:spChg>
        <pc:spChg chg="add del topLvl">
          <ac:chgData name="Merlin Gutter" userId="2abc6f04-74af-430b-bdc8-569c3bfa1dda" providerId="ADAL" clId="{CB1EFBC3-10F5-3048-8961-5969497C0019}" dt="2022-11-04T19:04:05.490" v="176" actId="478"/>
          <ac:spMkLst>
            <pc:docMk/>
            <pc:sldMk cId="2343338353" sldId="360"/>
            <ac:spMk id="19" creationId="{F685BA29-31D7-DC07-354E-F33689DA02EE}"/>
          </ac:spMkLst>
        </pc:spChg>
        <pc:spChg chg="add del">
          <ac:chgData name="Merlin Gutter" userId="2abc6f04-74af-430b-bdc8-569c3bfa1dda" providerId="ADAL" clId="{CB1EFBC3-10F5-3048-8961-5969497C0019}" dt="2022-11-04T19:04:05.490" v="176" actId="478"/>
          <ac:spMkLst>
            <pc:docMk/>
            <pc:sldMk cId="2343338353" sldId="360"/>
            <ac:spMk id="22" creationId="{5FAA79FE-25CD-034B-2212-600ABFDC78CA}"/>
          </ac:spMkLst>
        </pc:spChg>
        <pc:spChg chg="add del">
          <ac:chgData name="Merlin Gutter" userId="2abc6f04-74af-430b-bdc8-569c3bfa1dda" providerId="ADAL" clId="{CB1EFBC3-10F5-3048-8961-5969497C0019}" dt="2022-11-04T19:04:05.490" v="176" actId="478"/>
          <ac:spMkLst>
            <pc:docMk/>
            <pc:sldMk cId="2343338353" sldId="360"/>
            <ac:spMk id="25" creationId="{A7B6EDD8-9D3E-DF88-9EAD-821889FB0FE6}"/>
          </ac:spMkLst>
        </pc:spChg>
        <pc:grpChg chg="add mod">
          <ac:chgData name="Merlin Gutter" userId="2abc6f04-74af-430b-bdc8-569c3bfa1dda" providerId="ADAL" clId="{CB1EFBC3-10F5-3048-8961-5969497C0019}" dt="2022-11-04T19:05:44.405" v="242" actId="408"/>
          <ac:grpSpMkLst>
            <pc:docMk/>
            <pc:sldMk cId="2343338353" sldId="360"/>
            <ac:grpSpMk id="2" creationId="{2FAD0131-3318-4B38-8ED1-A1AE13977F67}"/>
          </ac:grpSpMkLst>
        </pc:grpChg>
        <pc:grpChg chg="add mod topLvl">
          <ac:chgData name="Merlin Gutter" userId="2abc6f04-74af-430b-bdc8-569c3bfa1dda" providerId="ADAL" clId="{CB1EFBC3-10F5-3048-8961-5969497C0019}" dt="2022-11-24T19:44:13.371" v="132222" actId="165"/>
          <ac:grpSpMkLst>
            <pc:docMk/>
            <pc:sldMk cId="2343338353" sldId="360"/>
            <ac:grpSpMk id="2" creationId="{53564152-4154-9877-C8B2-6545679C1D81}"/>
          </ac:grpSpMkLst>
        </pc:grpChg>
        <pc:grpChg chg="add mod topLvl">
          <ac:chgData name="Merlin Gutter" userId="2abc6f04-74af-430b-bdc8-569c3bfa1dda" providerId="ADAL" clId="{CB1EFBC3-10F5-3048-8961-5969497C0019}" dt="2022-11-24T19:44:13.371" v="132222" actId="165"/>
          <ac:grpSpMkLst>
            <pc:docMk/>
            <pc:sldMk cId="2343338353" sldId="360"/>
            <ac:grpSpMk id="7" creationId="{1EEA8F32-5551-8E57-0546-A586C3F865C9}"/>
          </ac:grpSpMkLst>
        </pc:grpChg>
        <pc:grpChg chg="add mod topLvl">
          <ac:chgData name="Merlin Gutter" userId="2abc6f04-74af-430b-bdc8-569c3bfa1dda" providerId="ADAL" clId="{CB1EFBC3-10F5-3048-8961-5969497C0019}" dt="2022-11-24T19:44:13.371" v="132222" actId="165"/>
          <ac:grpSpMkLst>
            <pc:docMk/>
            <pc:sldMk cId="2343338353" sldId="360"/>
            <ac:grpSpMk id="8" creationId="{2D1069C8-A28B-FA47-5086-9062E6BE910B}"/>
          </ac:grpSpMkLst>
        </pc:grpChg>
        <pc:grpChg chg="add del mod">
          <ac:chgData name="Merlin Gutter" userId="2abc6f04-74af-430b-bdc8-569c3bfa1dda" providerId="ADAL" clId="{CB1EFBC3-10F5-3048-8961-5969497C0019}" dt="2022-11-24T19:43:57.076" v="132216" actId="478"/>
          <ac:grpSpMkLst>
            <pc:docMk/>
            <pc:sldMk cId="2343338353" sldId="360"/>
            <ac:grpSpMk id="12" creationId="{6F1E4199-0EEB-20E7-CE37-2C2485DA3B96}"/>
          </ac:grpSpMkLst>
        </pc:grpChg>
        <pc:grpChg chg="add del mod">
          <ac:chgData name="Merlin Gutter" userId="2abc6f04-74af-430b-bdc8-569c3bfa1dda" providerId="ADAL" clId="{CB1EFBC3-10F5-3048-8961-5969497C0019}" dt="2022-11-24T19:44:13.371" v="132222" actId="165"/>
          <ac:grpSpMkLst>
            <pc:docMk/>
            <pc:sldMk cId="2343338353" sldId="360"/>
            <ac:grpSpMk id="13" creationId="{9283D5F8-B64E-7993-9E28-B69A94013C5D}"/>
          </ac:grpSpMkLst>
        </pc:grpChg>
        <pc:grpChg chg="mod topLvl">
          <ac:chgData name="Merlin Gutter" userId="2abc6f04-74af-430b-bdc8-569c3bfa1dda" providerId="ADAL" clId="{CB1EFBC3-10F5-3048-8961-5969497C0019}" dt="2022-11-24T19:44:13.371" v="132222" actId="165"/>
          <ac:grpSpMkLst>
            <pc:docMk/>
            <pc:sldMk cId="2343338353" sldId="360"/>
            <ac:grpSpMk id="18" creationId="{560703C4-03CB-EE89-0AA5-2E2E4E9BDE1B}"/>
          </ac:grpSpMkLst>
        </pc:grpChg>
        <pc:grpChg chg="del">
          <ac:chgData name="Merlin Gutter" userId="2abc6f04-74af-430b-bdc8-569c3bfa1dda" providerId="ADAL" clId="{CB1EFBC3-10F5-3048-8961-5969497C0019}" dt="2022-11-04T19:03:40.174" v="164" actId="478"/>
          <ac:grpSpMkLst>
            <pc:docMk/>
            <pc:sldMk cId="2343338353" sldId="360"/>
            <ac:grpSpMk id="21" creationId="{012EBE44-A441-0AB4-C2DD-26051BDC8F9D}"/>
          </ac:grpSpMkLst>
        </pc:grpChg>
        <pc:grpChg chg="add del">
          <ac:chgData name="Merlin Gutter" userId="2abc6f04-74af-430b-bdc8-569c3bfa1dda" providerId="ADAL" clId="{CB1EFBC3-10F5-3048-8961-5969497C0019}" dt="2022-11-04T19:04:05.490" v="176" actId="478"/>
          <ac:grpSpMkLst>
            <pc:docMk/>
            <pc:sldMk cId="2343338353" sldId="360"/>
            <ac:grpSpMk id="27" creationId="{4F452FCA-5E42-FA6C-9AEC-BFA293D72718}"/>
          </ac:grpSpMkLst>
        </pc:grpChg>
        <pc:picChg chg="del">
          <ac:chgData name="Merlin Gutter" userId="2abc6f04-74af-430b-bdc8-569c3bfa1dda" providerId="ADAL" clId="{CB1EFBC3-10F5-3048-8961-5969497C0019}" dt="2022-11-04T19:03:45.360" v="165" actId="478"/>
          <ac:picMkLst>
            <pc:docMk/>
            <pc:sldMk cId="2343338353" sldId="360"/>
            <ac:picMk id="3" creationId="{57D0D1C8-3039-FDC1-8FD1-277BF3521727}"/>
          </ac:picMkLst>
        </pc:picChg>
        <pc:picChg chg="add mod">
          <ac:chgData name="Merlin Gutter" userId="2abc6f04-74af-430b-bdc8-569c3bfa1dda" providerId="ADAL" clId="{CB1EFBC3-10F5-3048-8961-5969497C0019}" dt="2022-11-24T19:44:13.371" v="132222" actId="165"/>
          <ac:picMkLst>
            <pc:docMk/>
            <pc:sldMk cId="2343338353" sldId="360"/>
            <ac:picMk id="3" creationId="{8E01C712-10FA-12D3-1386-A5CABC8E991C}"/>
          </ac:picMkLst>
        </pc:picChg>
        <pc:picChg chg="add del">
          <ac:chgData name="Merlin Gutter" userId="2abc6f04-74af-430b-bdc8-569c3bfa1dda" providerId="ADAL" clId="{CB1EFBC3-10F5-3048-8961-5969497C0019}" dt="2022-11-04T19:04:05.490" v="176" actId="478"/>
          <ac:picMkLst>
            <pc:docMk/>
            <pc:sldMk cId="2343338353" sldId="360"/>
            <ac:picMk id="6" creationId="{5D856969-67C4-E6F3-51B1-D74E1491D0C9}"/>
          </ac:picMkLst>
        </pc:picChg>
        <pc:picChg chg="mod">
          <ac:chgData name="Merlin Gutter" userId="2abc6f04-74af-430b-bdc8-569c3bfa1dda" providerId="ADAL" clId="{CB1EFBC3-10F5-3048-8961-5969497C0019}" dt="2022-11-24T19:44:13.371" v="132222" actId="165"/>
          <ac:picMkLst>
            <pc:docMk/>
            <pc:sldMk cId="2343338353" sldId="360"/>
            <ac:picMk id="6" creationId="{EC69A034-94C2-AFC5-A58A-FBB0E86276CE}"/>
          </ac:picMkLst>
        </pc:picChg>
        <pc:picChg chg="mod">
          <ac:chgData name="Merlin Gutter" userId="2abc6f04-74af-430b-bdc8-569c3bfa1dda" providerId="ADAL" clId="{CB1EFBC3-10F5-3048-8961-5969497C0019}" dt="2022-11-04T19:05:44.405" v="242" actId="408"/>
          <ac:picMkLst>
            <pc:docMk/>
            <pc:sldMk cId="2343338353" sldId="360"/>
            <ac:picMk id="7" creationId="{4E26A6D9-8DBD-0B71-F0AF-C845434E54DE}"/>
          </ac:picMkLst>
        </pc:picChg>
        <pc:picChg chg="mod">
          <ac:chgData name="Merlin Gutter" userId="2abc6f04-74af-430b-bdc8-569c3bfa1dda" providerId="ADAL" clId="{CB1EFBC3-10F5-3048-8961-5969497C0019}" dt="2022-11-24T19:44:13.371" v="132222" actId="165"/>
          <ac:picMkLst>
            <pc:docMk/>
            <pc:sldMk cId="2343338353" sldId="360"/>
            <ac:picMk id="10" creationId="{70724DDC-A086-DD59-0982-FED69771C18C}"/>
          </ac:picMkLst>
        </pc:picChg>
        <pc:picChg chg="mod">
          <ac:chgData name="Merlin Gutter" userId="2abc6f04-74af-430b-bdc8-569c3bfa1dda" providerId="ADAL" clId="{CB1EFBC3-10F5-3048-8961-5969497C0019}" dt="2022-11-24T19:44:13.371" v="132222" actId="165"/>
          <ac:picMkLst>
            <pc:docMk/>
            <pc:sldMk cId="2343338353" sldId="360"/>
            <ac:picMk id="11" creationId="{8EDC5155-7D7C-C97B-F075-6EC2F33F226B}"/>
          </ac:picMkLst>
        </pc:picChg>
        <pc:picChg chg="del topLvl">
          <ac:chgData name="Merlin Gutter" userId="2abc6f04-74af-430b-bdc8-569c3bfa1dda" providerId="ADAL" clId="{CB1EFBC3-10F5-3048-8961-5969497C0019}" dt="2022-11-04T19:03:40.174" v="164" actId="478"/>
          <ac:picMkLst>
            <pc:docMk/>
            <pc:sldMk cId="2343338353" sldId="360"/>
            <ac:picMk id="15" creationId="{EDF4A8C3-31A0-52FC-2151-CF5785AFB07B}"/>
          </ac:picMkLst>
        </pc:picChg>
        <pc:picChg chg="add del">
          <ac:chgData name="Merlin Gutter" userId="2abc6f04-74af-430b-bdc8-569c3bfa1dda" providerId="ADAL" clId="{CB1EFBC3-10F5-3048-8961-5969497C0019}" dt="2022-11-24T19:43:55.152" v="132215" actId="21"/>
          <ac:picMkLst>
            <pc:docMk/>
            <pc:sldMk cId="2343338353" sldId="360"/>
            <ac:picMk id="19" creationId="{9488B9F1-B0B7-5570-2344-6B37F71E68BA}"/>
          </ac:picMkLst>
        </pc:picChg>
        <pc:picChg chg="del mod topLvl">
          <ac:chgData name="Merlin Gutter" userId="2abc6f04-74af-430b-bdc8-569c3bfa1dda" providerId="ADAL" clId="{CB1EFBC3-10F5-3048-8961-5969497C0019}" dt="2022-11-24T19:43:57.076" v="132216" actId="478"/>
          <ac:picMkLst>
            <pc:docMk/>
            <pc:sldMk cId="2343338353" sldId="360"/>
            <ac:picMk id="20" creationId="{D6BB9372-0429-DEDD-1D87-CB8A25E95890}"/>
          </ac:picMkLst>
        </pc:picChg>
      </pc:sldChg>
      <pc:sldChg chg="addSp delSp modSp new add del mod ord modShow chgLayout">
        <pc:chgData name="Merlin Gutter" userId="2abc6f04-74af-430b-bdc8-569c3bfa1dda" providerId="ADAL" clId="{CB1EFBC3-10F5-3048-8961-5969497C0019}" dt="2022-11-23T16:50:41.656" v="79410" actId="2696"/>
        <pc:sldMkLst>
          <pc:docMk/>
          <pc:sldMk cId="1513874634" sldId="361"/>
        </pc:sldMkLst>
        <pc:spChg chg="del">
          <ac:chgData name="Merlin Gutter" userId="2abc6f04-74af-430b-bdc8-569c3bfa1dda" providerId="ADAL" clId="{CB1EFBC3-10F5-3048-8961-5969497C0019}" dt="2022-11-11T18:10:27.975" v="1508"/>
          <ac:spMkLst>
            <pc:docMk/>
            <pc:sldMk cId="1513874634" sldId="361"/>
            <ac:spMk id="2" creationId="{43B61DF4-55BE-BC2D-D4AB-F039A7915A6F}"/>
          </ac:spMkLst>
        </pc:spChg>
        <pc:spChg chg="del">
          <ac:chgData name="Merlin Gutter" userId="2abc6f04-74af-430b-bdc8-569c3bfa1dda" providerId="ADAL" clId="{CB1EFBC3-10F5-3048-8961-5969497C0019}" dt="2022-11-11T18:10:27.975" v="1508"/>
          <ac:spMkLst>
            <pc:docMk/>
            <pc:sldMk cId="1513874634" sldId="361"/>
            <ac:spMk id="3" creationId="{E64E3E6C-57C5-6FDF-95E1-45B04C42428D}"/>
          </ac:spMkLst>
        </pc:spChg>
        <pc:spChg chg="mod ord">
          <ac:chgData name="Merlin Gutter" userId="2abc6f04-74af-430b-bdc8-569c3bfa1dda" providerId="ADAL" clId="{CB1EFBC3-10F5-3048-8961-5969497C0019}" dt="2022-11-11T18:10:31.453" v="1510"/>
          <ac:spMkLst>
            <pc:docMk/>
            <pc:sldMk cId="1513874634" sldId="361"/>
            <ac:spMk id="4" creationId="{EE82E01C-8139-B8BF-FC80-96D63495173C}"/>
          </ac:spMkLst>
        </pc:spChg>
        <pc:spChg chg="mod ord">
          <ac:chgData name="Merlin Gutter" userId="2abc6f04-74af-430b-bdc8-569c3bfa1dda" providerId="ADAL" clId="{CB1EFBC3-10F5-3048-8961-5969497C0019}" dt="2022-11-11T18:10:31.453" v="1510"/>
          <ac:spMkLst>
            <pc:docMk/>
            <pc:sldMk cId="1513874634" sldId="361"/>
            <ac:spMk id="5" creationId="{C029108C-2B99-06B5-7F09-E7D70B9A3FB5}"/>
          </ac:spMkLst>
        </pc:spChg>
        <pc:spChg chg="mod ord">
          <ac:chgData name="Merlin Gutter" userId="2abc6f04-74af-430b-bdc8-569c3bfa1dda" providerId="ADAL" clId="{CB1EFBC3-10F5-3048-8961-5969497C0019}" dt="2022-11-11T18:10:31.453" v="1510"/>
          <ac:spMkLst>
            <pc:docMk/>
            <pc:sldMk cId="1513874634" sldId="361"/>
            <ac:spMk id="6" creationId="{B145A3D9-DB11-36F6-D1D6-DA9054AC059C}"/>
          </ac:spMkLst>
        </pc:spChg>
        <pc:spChg chg="add mod">
          <ac:chgData name="Merlin Gutter" userId="2abc6f04-74af-430b-bdc8-569c3bfa1dda" providerId="ADAL" clId="{CB1EFBC3-10F5-3048-8961-5969497C0019}" dt="2022-11-11T18:25:08.182" v="1984" actId="20577"/>
          <ac:spMkLst>
            <pc:docMk/>
            <pc:sldMk cId="1513874634" sldId="361"/>
            <ac:spMk id="7" creationId="{E81296B4-12B5-123E-FA64-DCC2862C7F92}"/>
          </ac:spMkLst>
        </pc:spChg>
        <pc:spChg chg="add del mod ord">
          <ac:chgData name="Merlin Gutter" userId="2abc6f04-74af-430b-bdc8-569c3bfa1dda" providerId="ADAL" clId="{CB1EFBC3-10F5-3048-8961-5969497C0019}" dt="2022-11-11T18:10:31.453" v="1510"/>
          <ac:spMkLst>
            <pc:docMk/>
            <pc:sldMk cId="1513874634" sldId="361"/>
            <ac:spMk id="8" creationId="{548F8F3C-D0B1-FFBD-E675-0DB55A6AF35C}"/>
          </ac:spMkLst>
        </pc:spChg>
        <pc:spChg chg="add del mod ord">
          <ac:chgData name="Merlin Gutter" userId="2abc6f04-74af-430b-bdc8-569c3bfa1dda" providerId="ADAL" clId="{CB1EFBC3-10F5-3048-8961-5969497C0019}" dt="2022-11-11T18:10:31.453" v="1510"/>
          <ac:spMkLst>
            <pc:docMk/>
            <pc:sldMk cId="1513874634" sldId="361"/>
            <ac:spMk id="9" creationId="{CEA907FF-BFE5-A1D8-F528-B1135BD55257}"/>
          </ac:spMkLst>
        </pc:spChg>
        <pc:spChg chg="add mod ord">
          <ac:chgData name="Merlin Gutter" userId="2abc6f04-74af-430b-bdc8-569c3bfa1dda" providerId="ADAL" clId="{CB1EFBC3-10F5-3048-8961-5969497C0019}" dt="2022-11-11T18:10:31.453" v="1510"/>
          <ac:spMkLst>
            <pc:docMk/>
            <pc:sldMk cId="1513874634" sldId="361"/>
            <ac:spMk id="10" creationId="{D931F3B9-D3C7-DA69-2E31-6CF39DBC1388}"/>
          </ac:spMkLst>
        </pc:spChg>
        <pc:spChg chg="add mod ord">
          <ac:chgData name="Merlin Gutter" userId="2abc6f04-74af-430b-bdc8-569c3bfa1dda" providerId="ADAL" clId="{CB1EFBC3-10F5-3048-8961-5969497C0019}" dt="2022-11-11T18:10:31.453" v="1510"/>
          <ac:spMkLst>
            <pc:docMk/>
            <pc:sldMk cId="1513874634" sldId="361"/>
            <ac:spMk id="11" creationId="{9F9BCDD5-D3E6-2D00-0C24-FBC2D1ECC63E}"/>
          </ac:spMkLst>
        </pc:spChg>
      </pc:sldChg>
      <pc:sldChg chg="addSp delSp modSp new add del mod ord modNotesTx">
        <pc:chgData name="Merlin Gutter" userId="2abc6f04-74af-430b-bdc8-569c3bfa1dda" providerId="ADAL" clId="{CB1EFBC3-10F5-3048-8961-5969497C0019}" dt="2022-11-23T17:24:20.616" v="83239" actId="2696"/>
        <pc:sldMkLst>
          <pc:docMk/>
          <pc:sldMk cId="4027008501" sldId="362"/>
        </pc:sldMkLst>
        <pc:spChg chg="mod">
          <ac:chgData name="Merlin Gutter" userId="2abc6f04-74af-430b-bdc8-569c3bfa1dda" providerId="ADAL" clId="{CB1EFBC3-10F5-3048-8961-5969497C0019}" dt="2022-11-13T01:15:40.975" v="54622"/>
          <ac:spMkLst>
            <pc:docMk/>
            <pc:sldMk cId="4027008501" sldId="362"/>
            <ac:spMk id="2" creationId="{EBDD7A3D-4F52-3DE2-F933-8449D83DCF02}"/>
          </ac:spMkLst>
        </pc:spChg>
        <pc:spChg chg="mod">
          <ac:chgData name="Merlin Gutter" userId="2abc6f04-74af-430b-bdc8-569c3bfa1dda" providerId="ADAL" clId="{CB1EFBC3-10F5-3048-8961-5969497C0019}" dt="2022-11-13T01:15:40.975" v="54623"/>
          <ac:spMkLst>
            <pc:docMk/>
            <pc:sldMk cId="4027008501" sldId="362"/>
            <ac:spMk id="3" creationId="{4B23F066-78F6-ED99-A2E1-FCA243435AA8}"/>
          </ac:spMkLst>
        </pc:spChg>
        <pc:spChg chg="mod">
          <ac:chgData name="Merlin Gutter" userId="2abc6f04-74af-430b-bdc8-569c3bfa1dda" providerId="ADAL" clId="{CB1EFBC3-10F5-3048-8961-5969497C0019}" dt="2022-11-13T01:15:40.976" v="54624"/>
          <ac:spMkLst>
            <pc:docMk/>
            <pc:sldMk cId="4027008501" sldId="362"/>
            <ac:spMk id="4" creationId="{419A56F2-33FC-B13B-F824-5320C14683F0}"/>
          </ac:spMkLst>
        </pc:spChg>
        <pc:spChg chg="mod">
          <ac:chgData name="Merlin Gutter" userId="2abc6f04-74af-430b-bdc8-569c3bfa1dda" providerId="ADAL" clId="{CB1EFBC3-10F5-3048-8961-5969497C0019}" dt="2022-11-13T01:15:40.976" v="54625"/>
          <ac:spMkLst>
            <pc:docMk/>
            <pc:sldMk cId="4027008501" sldId="362"/>
            <ac:spMk id="5" creationId="{64E62B09-B628-9390-D8F1-925831825F25}"/>
          </ac:spMkLst>
        </pc:spChg>
        <pc:spChg chg="mod">
          <ac:chgData name="Merlin Gutter" userId="2abc6f04-74af-430b-bdc8-569c3bfa1dda" providerId="ADAL" clId="{CB1EFBC3-10F5-3048-8961-5969497C0019}" dt="2022-11-13T01:15:40.976" v="54626"/>
          <ac:spMkLst>
            <pc:docMk/>
            <pc:sldMk cId="4027008501" sldId="362"/>
            <ac:spMk id="6" creationId="{5CD15DEF-BD86-6BAD-F618-0FCA1640781D}"/>
          </ac:spMkLst>
        </pc:spChg>
        <pc:spChg chg="add del mod">
          <ac:chgData name="Merlin Gutter" userId="2abc6f04-74af-430b-bdc8-569c3bfa1dda" providerId="ADAL" clId="{CB1EFBC3-10F5-3048-8961-5969497C0019}" dt="2022-11-12T16:52:11.519" v="16189" actId="478"/>
          <ac:spMkLst>
            <pc:docMk/>
            <pc:sldMk cId="4027008501" sldId="362"/>
            <ac:spMk id="7" creationId="{D23725AF-29A5-5EB5-1225-57E7DCDA462D}"/>
          </ac:spMkLst>
        </pc:spChg>
        <pc:spChg chg="add del mod modVis">
          <ac:chgData name="Merlin Gutter" userId="2abc6f04-74af-430b-bdc8-569c3bfa1dda" providerId="ADAL" clId="{CB1EFBC3-10F5-3048-8961-5969497C0019}" dt="2022-11-12T16:20:47.674" v="3416"/>
          <ac:spMkLst>
            <pc:docMk/>
            <pc:sldMk cId="4027008501" sldId="362"/>
            <ac:spMk id="8" creationId="{35A8876A-937E-0C59-E60B-DDBCA32AFEBC}"/>
          </ac:spMkLst>
        </pc:spChg>
        <pc:spChg chg="add del mod replST">
          <ac:chgData name="Merlin Gutter" userId="2abc6f04-74af-430b-bdc8-569c3bfa1dda" providerId="ADAL" clId="{CB1EFBC3-10F5-3048-8961-5969497C0019}" dt="2022-11-12T16:27:43.815" v="3874"/>
          <ac:spMkLst>
            <pc:docMk/>
            <pc:sldMk cId="4027008501" sldId="362"/>
            <ac:spMk id="8" creationId="{AA5FB40B-C7A6-167C-A222-02FFD2CF67A9}"/>
          </ac:spMkLst>
        </pc:spChg>
        <pc:spChg chg="add del mod">
          <ac:chgData name="Merlin Gutter" userId="2abc6f04-74af-430b-bdc8-569c3bfa1dda" providerId="ADAL" clId="{CB1EFBC3-10F5-3048-8961-5969497C0019}" dt="2022-11-11T18:15:17.734" v="1565"/>
          <ac:spMkLst>
            <pc:docMk/>
            <pc:sldMk cId="4027008501" sldId="362"/>
            <ac:spMk id="8" creationId="{F9E61798-887C-02F8-326F-460A75415429}"/>
          </ac:spMkLst>
        </pc:spChg>
        <pc:spChg chg="add del mod">
          <ac:chgData name="Merlin Gutter" userId="2abc6f04-74af-430b-bdc8-569c3bfa1dda" providerId="ADAL" clId="{CB1EFBC3-10F5-3048-8961-5969497C0019}" dt="2022-11-11T18:18:58.984" v="1790"/>
          <ac:spMkLst>
            <pc:docMk/>
            <pc:sldMk cId="4027008501" sldId="362"/>
            <ac:spMk id="9" creationId="{2E678CB3-6BF2-2C9B-867D-B0E0FC69D6D7}"/>
          </ac:spMkLst>
        </pc:spChg>
        <pc:spChg chg="add del mod modVis">
          <ac:chgData name="Merlin Gutter" userId="2abc6f04-74af-430b-bdc8-569c3bfa1dda" providerId="ADAL" clId="{CB1EFBC3-10F5-3048-8961-5969497C0019}" dt="2022-11-13T00:58:57.459" v="49717"/>
          <ac:spMkLst>
            <pc:docMk/>
            <pc:sldMk cId="4027008501" sldId="362"/>
            <ac:spMk id="9" creationId="{3EE787FA-0659-7AD5-F8BF-58F096BC96CC}"/>
          </ac:spMkLst>
        </pc:spChg>
        <pc:spChg chg="add del mod replST">
          <ac:chgData name="Merlin Gutter" userId="2abc6f04-74af-430b-bdc8-569c3bfa1dda" providerId="ADAL" clId="{CB1EFBC3-10F5-3048-8961-5969497C0019}" dt="2022-11-12T16:27:43.810" v="3868"/>
          <ac:spMkLst>
            <pc:docMk/>
            <pc:sldMk cId="4027008501" sldId="362"/>
            <ac:spMk id="9" creationId="{E6E45BE0-2596-8DFD-3E7A-7E39B969B338}"/>
          </ac:spMkLst>
        </pc:spChg>
        <pc:spChg chg="add mod">
          <ac:chgData name="Merlin Gutter" userId="2abc6f04-74af-430b-bdc8-569c3bfa1dda" providerId="ADAL" clId="{CB1EFBC3-10F5-3048-8961-5969497C0019}" dt="2022-11-13T01:15:40.976" v="54627"/>
          <ac:spMkLst>
            <pc:docMk/>
            <pc:sldMk cId="4027008501" sldId="362"/>
            <ac:spMk id="10" creationId="{003976EF-1E0A-DE65-AB67-6944C9576531}"/>
          </ac:spMkLst>
        </pc:spChg>
        <pc:spChg chg="add mod replST">
          <ac:chgData name="Merlin Gutter" userId="2abc6f04-74af-430b-bdc8-569c3bfa1dda" providerId="ADAL" clId="{CB1EFBC3-10F5-3048-8961-5969497C0019}" dt="2022-11-13T01:15:40.981" v="54653"/>
          <ac:spMkLst>
            <pc:docMk/>
            <pc:sldMk cId="4027008501" sldId="362"/>
            <ac:spMk id="11" creationId="{A53FEEEA-7C1F-95E2-9F1D-826981E30A99}"/>
          </ac:spMkLst>
        </pc:spChg>
        <pc:spChg chg="add del mod">
          <ac:chgData name="Merlin Gutter" userId="2abc6f04-74af-430b-bdc8-569c3bfa1dda" providerId="ADAL" clId="{CB1EFBC3-10F5-3048-8961-5969497C0019}" dt="2022-11-12T16:52:47.249" v="16391" actId="478"/>
          <ac:spMkLst>
            <pc:docMk/>
            <pc:sldMk cId="4027008501" sldId="362"/>
            <ac:spMk id="11" creationId="{F336C89E-53DC-50EC-2583-8C220893916C}"/>
          </ac:spMkLst>
        </pc:spChg>
        <pc:spChg chg="add del mod">
          <ac:chgData name="Merlin Gutter" userId="2abc6f04-74af-430b-bdc8-569c3bfa1dda" providerId="ADAL" clId="{CB1EFBC3-10F5-3048-8961-5969497C0019}" dt="2022-11-11T18:58:06.826" v="2320"/>
          <ac:spMkLst>
            <pc:docMk/>
            <pc:sldMk cId="4027008501" sldId="362"/>
            <ac:spMk id="12" creationId="{47EC8A40-3EFB-7518-D19C-D233D3DCBF46}"/>
          </ac:spMkLst>
        </pc:spChg>
        <pc:spChg chg="add mod replST">
          <ac:chgData name="Merlin Gutter" userId="2abc6f04-74af-430b-bdc8-569c3bfa1dda" providerId="ADAL" clId="{CB1EFBC3-10F5-3048-8961-5969497C0019}" dt="2022-11-13T01:15:40.982" v="54654"/>
          <ac:spMkLst>
            <pc:docMk/>
            <pc:sldMk cId="4027008501" sldId="362"/>
            <ac:spMk id="12" creationId="{ADDE32B0-4671-19EE-14EC-7DB8A8F0E55A}"/>
          </ac:spMkLst>
        </pc:spChg>
        <pc:spChg chg="add del mod replST">
          <ac:chgData name="Merlin Gutter" userId="2abc6f04-74af-430b-bdc8-569c3bfa1dda" providerId="ADAL" clId="{CB1EFBC3-10F5-3048-8961-5969497C0019}" dt="2022-11-12T16:27:43.813" v="3871"/>
          <ac:spMkLst>
            <pc:docMk/>
            <pc:sldMk cId="4027008501" sldId="362"/>
            <ac:spMk id="12" creationId="{DE00F97D-3865-2C4F-9179-B04E78C20CF0}"/>
          </ac:spMkLst>
        </pc:spChg>
        <pc:spChg chg="add mod replST">
          <ac:chgData name="Merlin Gutter" userId="2abc6f04-74af-430b-bdc8-569c3bfa1dda" providerId="ADAL" clId="{CB1EFBC3-10F5-3048-8961-5969497C0019}" dt="2022-11-13T01:15:40.981" v="54652"/>
          <ac:spMkLst>
            <pc:docMk/>
            <pc:sldMk cId="4027008501" sldId="362"/>
            <ac:spMk id="13" creationId="{0E67283A-44CA-8FAF-8B7B-725B81291DE0}"/>
          </ac:spMkLst>
        </pc:spChg>
        <pc:spChg chg="add del mod modVis">
          <ac:chgData name="Merlin Gutter" userId="2abc6f04-74af-430b-bdc8-569c3bfa1dda" providerId="ADAL" clId="{CB1EFBC3-10F5-3048-8961-5969497C0019}" dt="2022-11-12T16:13:50.965" v="2774"/>
          <ac:spMkLst>
            <pc:docMk/>
            <pc:sldMk cId="4027008501" sldId="362"/>
            <ac:spMk id="13" creationId="{80F7EF46-0C0C-81A7-72A6-C2496A1565B2}"/>
          </ac:spMkLst>
        </pc:spChg>
        <pc:spChg chg="add del mod replST">
          <ac:chgData name="Merlin Gutter" userId="2abc6f04-74af-430b-bdc8-569c3bfa1dda" providerId="ADAL" clId="{CB1EFBC3-10F5-3048-8961-5969497C0019}" dt="2022-11-12T16:27:43.817" v="3877"/>
          <ac:spMkLst>
            <pc:docMk/>
            <pc:sldMk cId="4027008501" sldId="362"/>
            <ac:spMk id="13" creationId="{E851FD8F-A1CB-5FAA-B85C-60AA5D63D7F2}"/>
          </ac:spMkLst>
        </pc:spChg>
        <pc:spChg chg="add del mod replST">
          <ac:chgData name="Merlin Gutter" userId="2abc6f04-74af-430b-bdc8-569c3bfa1dda" providerId="ADAL" clId="{CB1EFBC3-10F5-3048-8961-5969497C0019}" dt="2022-11-12T16:14:46.425" v="2890"/>
          <ac:spMkLst>
            <pc:docMk/>
            <pc:sldMk cId="4027008501" sldId="362"/>
            <ac:spMk id="14" creationId="{7D1F2443-1307-D34C-48AD-3545C769DBBD}"/>
          </ac:spMkLst>
        </pc:spChg>
        <pc:spChg chg="add del mod modVis">
          <ac:chgData name="Merlin Gutter" userId="2abc6f04-74af-430b-bdc8-569c3bfa1dda" providerId="ADAL" clId="{CB1EFBC3-10F5-3048-8961-5969497C0019}" dt="2022-11-12T16:20:49.724" v="3502"/>
          <ac:spMkLst>
            <pc:docMk/>
            <pc:sldMk cId="4027008501" sldId="362"/>
            <ac:spMk id="14" creationId="{D8CE4F7C-8720-07AD-0FFE-01FD644C2E7A}"/>
          </ac:spMkLst>
        </pc:spChg>
        <pc:spChg chg="add del mod replST">
          <ac:chgData name="Merlin Gutter" userId="2abc6f04-74af-430b-bdc8-569c3bfa1dda" providerId="ADAL" clId="{CB1EFBC3-10F5-3048-8961-5969497C0019}" dt="2022-11-12T16:27:43.819" v="3880"/>
          <ac:spMkLst>
            <pc:docMk/>
            <pc:sldMk cId="4027008501" sldId="362"/>
            <ac:spMk id="14" creationId="{FE705962-0AD3-724F-44AB-F8F5EAB13BDA}"/>
          </ac:spMkLst>
        </pc:spChg>
        <pc:spChg chg="add del mod replST">
          <ac:chgData name="Merlin Gutter" userId="2abc6f04-74af-430b-bdc8-569c3bfa1dda" providerId="ADAL" clId="{CB1EFBC3-10F5-3048-8961-5969497C0019}" dt="2022-11-12T16:14:46.425" v="2889"/>
          <ac:spMkLst>
            <pc:docMk/>
            <pc:sldMk cId="4027008501" sldId="362"/>
            <ac:spMk id="15" creationId="{9694540E-F477-D254-6293-0BCE51CBA8DE}"/>
          </ac:spMkLst>
        </pc:spChg>
        <pc:spChg chg="add del mod modVis">
          <ac:chgData name="Merlin Gutter" userId="2abc6f04-74af-430b-bdc8-569c3bfa1dda" providerId="ADAL" clId="{CB1EFBC3-10F5-3048-8961-5969497C0019}" dt="2022-11-13T01:08:07.992" v="51680"/>
          <ac:spMkLst>
            <pc:docMk/>
            <pc:sldMk cId="4027008501" sldId="362"/>
            <ac:spMk id="15" creationId="{F31229F5-1F69-A11D-9124-A117BB3BB78A}"/>
          </ac:spMkLst>
        </pc:spChg>
        <pc:spChg chg="add del mod replST">
          <ac:chgData name="Merlin Gutter" userId="2abc6f04-74af-430b-bdc8-569c3bfa1dda" providerId="ADAL" clId="{CB1EFBC3-10F5-3048-8961-5969497C0019}" dt="2022-11-12T16:14:46.422" v="2888"/>
          <ac:spMkLst>
            <pc:docMk/>
            <pc:sldMk cId="4027008501" sldId="362"/>
            <ac:spMk id="16" creationId="{16243CF8-35A1-3D4B-149E-5539E22779AD}"/>
          </ac:spMkLst>
        </pc:spChg>
        <pc:spChg chg="add del mod replST">
          <ac:chgData name="Merlin Gutter" userId="2abc6f04-74af-430b-bdc8-569c3bfa1dda" providerId="ADAL" clId="{CB1EFBC3-10F5-3048-8961-5969497C0019}" dt="2022-11-12T16:27:43.821" v="3883"/>
          <ac:spMkLst>
            <pc:docMk/>
            <pc:sldMk cId="4027008501" sldId="362"/>
            <ac:spMk id="16" creationId="{4C1124D4-D1C3-D2F9-9579-C4D97BC00549}"/>
          </ac:spMkLst>
        </pc:spChg>
        <pc:spChg chg="add del mod modVis">
          <ac:chgData name="Merlin Gutter" userId="2abc6f04-74af-430b-bdc8-569c3bfa1dda" providerId="ADAL" clId="{CB1EFBC3-10F5-3048-8961-5969497C0019}" dt="2022-11-13T01:09:46.366" v="52418"/>
          <ac:spMkLst>
            <pc:docMk/>
            <pc:sldMk cId="4027008501" sldId="362"/>
            <ac:spMk id="17" creationId="{328A8117-0CDA-E4A7-BF9A-24264EF78211}"/>
          </ac:spMkLst>
        </pc:spChg>
        <pc:spChg chg="add del mod replST">
          <ac:chgData name="Merlin Gutter" userId="2abc6f04-74af-430b-bdc8-569c3bfa1dda" providerId="ADAL" clId="{CB1EFBC3-10F5-3048-8961-5969497C0019}" dt="2022-11-12T16:27:43.823" v="3886"/>
          <ac:spMkLst>
            <pc:docMk/>
            <pc:sldMk cId="4027008501" sldId="362"/>
            <ac:spMk id="17" creationId="{5B3EA1D7-F9F4-1AC2-CA7A-817A50B03D43}"/>
          </ac:spMkLst>
        </pc:spChg>
        <pc:spChg chg="add del mod replST">
          <ac:chgData name="Merlin Gutter" userId="2abc6f04-74af-430b-bdc8-569c3bfa1dda" providerId="ADAL" clId="{CB1EFBC3-10F5-3048-8961-5969497C0019}" dt="2022-11-12T16:14:46.426" v="2892"/>
          <ac:spMkLst>
            <pc:docMk/>
            <pc:sldMk cId="4027008501" sldId="362"/>
            <ac:spMk id="17" creationId="{91C57626-C4E5-7BBB-E32F-6ECA0BF67027}"/>
          </ac:spMkLst>
        </pc:spChg>
        <pc:spChg chg="mod">
          <ac:chgData name="Merlin Gutter" userId="2abc6f04-74af-430b-bdc8-569c3bfa1dda" providerId="ADAL" clId="{CB1EFBC3-10F5-3048-8961-5969497C0019}" dt="2022-11-23T17:08:29.797" v="80185" actId="20577"/>
          <ac:spMkLst>
            <pc:docMk/>
            <pc:sldMk cId="4027008501" sldId="362"/>
            <ac:spMk id="17" creationId="{DD44C274-FD08-2D09-311F-E4389C7B00B0}"/>
          </ac:spMkLst>
        </pc:spChg>
        <pc:spChg chg="add del mod replST">
          <ac:chgData name="Merlin Gutter" userId="2abc6f04-74af-430b-bdc8-569c3bfa1dda" providerId="ADAL" clId="{CB1EFBC3-10F5-3048-8961-5969497C0019}" dt="2022-11-12T16:14:46.426" v="2891"/>
          <ac:spMkLst>
            <pc:docMk/>
            <pc:sldMk cId="4027008501" sldId="362"/>
            <ac:spMk id="18" creationId="{664C01ED-3027-0D70-5400-899DC937DBB1}"/>
          </ac:spMkLst>
        </pc:spChg>
        <pc:spChg chg="add del mod modVis">
          <ac:chgData name="Merlin Gutter" userId="2abc6f04-74af-430b-bdc8-569c3bfa1dda" providerId="ADAL" clId="{CB1EFBC3-10F5-3048-8961-5969497C0019}" dt="2022-11-12T16:27:37.872" v="3863"/>
          <ac:spMkLst>
            <pc:docMk/>
            <pc:sldMk cId="4027008501" sldId="362"/>
            <ac:spMk id="18" creationId="{AE481424-CB39-D1CB-F067-C909AADB2565}"/>
          </ac:spMkLst>
        </pc:spChg>
        <pc:spChg chg="add del mod modVis">
          <ac:chgData name="Merlin Gutter" userId="2abc6f04-74af-430b-bdc8-569c3bfa1dda" providerId="ADAL" clId="{CB1EFBC3-10F5-3048-8961-5969497C0019}" dt="2022-11-13T01:14:11.417" v="52896"/>
          <ac:spMkLst>
            <pc:docMk/>
            <pc:sldMk cId="4027008501" sldId="362"/>
            <ac:spMk id="19" creationId="{BC42B820-6EFB-F3D0-16EC-EF1AB326CCD6}"/>
          </ac:spMkLst>
        </pc:spChg>
        <pc:spChg chg="add del mod modVis">
          <ac:chgData name="Merlin Gutter" userId="2abc6f04-74af-430b-bdc8-569c3bfa1dda" providerId="ADAL" clId="{CB1EFBC3-10F5-3048-8961-5969497C0019}" dt="2022-11-12T16:14:20.871" v="2885"/>
          <ac:spMkLst>
            <pc:docMk/>
            <pc:sldMk cId="4027008501" sldId="362"/>
            <ac:spMk id="21" creationId="{318183C3-18B0-9E50-721F-12094C6C294F}"/>
          </ac:spMkLst>
        </pc:spChg>
        <pc:spChg chg="add del mod modVis">
          <ac:chgData name="Merlin Gutter" userId="2abc6f04-74af-430b-bdc8-569c3bfa1dda" providerId="ADAL" clId="{CB1EFBC3-10F5-3048-8961-5969497C0019}" dt="2022-11-13T01:14:13.886" v="53161"/>
          <ac:spMkLst>
            <pc:docMk/>
            <pc:sldMk cId="4027008501" sldId="362"/>
            <ac:spMk id="22" creationId="{FA7D2E75-183D-B38A-07D2-4E3BAE6E6C03}"/>
          </ac:spMkLst>
        </pc:spChg>
        <pc:spChg chg="add del mod modVis">
          <ac:chgData name="Merlin Gutter" userId="2abc6f04-74af-430b-bdc8-569c3bfa1dda" providerId="ADAL" clId="{CB1EFBC3-10F5-3048-8961-5969497C0019}" dt="2022-11-12T16:14:50.624" v="3152"/>
          <ac:spMkLst>
            <pc:docMk/>
            <pc:sldMk cId="4027008501" sldId="362"/>
            <ac:spMk id="23" creationId="{BCBA2248-13F1-58E1-D03E-04FEBFFD3CDB}"/>
          </ac:spMkLst>
        </pc:spChg>
        <pc:spChg chg="add del mod replST">
          <ac:chgData name="Merlin Gutter" userId="2abc6f04-74af-430b-bdc8-569c3bfa1dda" providerId="ADAL" clId="{CB1EFBC3-10F5-3048-8961-5969497C0019}" dt="2022-11-12T16:14:56.981" v="3156"/>
          <ac:spMkLst>
            <pc:docMk/>
            <pc:sldMk cId="4027008501" sldId="362"/>
            <ac:spMk id="24" creationId="{4CD583D7-4381-342B-BB99-7219D7B1752B}"/>
          </ac:spMkLst>
        </pc:spChg>
        <pc:spChg chg="add del mod modVis">
          <ac:chgData name="Merlin Gutter" userId="2abc6f04-74af-430b-bdc8-569c3bfa1dda" providerId="ADAL" clId="{CB1EFBC3-10F5-3048-8961-5969497C0019}" dt="2022-11-13T01:14:15.987" v="53428"/>
          <ac:spMkLst>
            <pc:docMk/>
            <pc:sldMk cId="4027008501" sldId="362"/>
            <ac:spMk id="24" creationId="{8A1BF260-2FF5-AE78-670D-3C6AD2B69B3A}"/>
          </ac:spMkLst>
        </pc:spChg>
        <pc:spChg chg="add del mod replST">
          <ac:chgData name="Merlin Gutter" userId="2abc6f04-74af-430b-bdc8-569c3bfa1dda" providerId="ADAL" clId="{CB1EFBC3-10F5-3048-8961-5969497C0019}" dt="2022-11-12T16:14:56.980" v="3155"/>
          <ac:spMkLst>
            <pc:docMk/>
            <pc:sldMk cId="4027008501" sldId="362"/>
            <ac:spMk id="25" creationId="{4EF1ED7C-234D-2FEF-ED3D-6920A21299D3}"/>
          </ac:spMkLst>
        </pc:spChg>
        <pc:spChg chg="add del mod modVis">
          <ac:chgData name="Merlin Gutter" userId="2abc6f04-74af-430b-bdc8-569c3bfa1dda" providerId="ADAL" clId="{CB1EFBC3-10F5-3048-8961-5969497C0019}" dt="2022-11-13T01:14:21.295" v="53695"/>
          <ac:spMkLst>
            <pc:docMk/>
            <pc:sldMk cId="4027008501" sldId="362"/>
            <ac:spMk id="26" creationId="{3C6E91DF-57C9-6183-5856-E96FB0AD0B02}"/>
          </ac:spMkLst>
        </pc:spChg>
        <pc:spChg chg="add del mod modVis">
          <ac:chgData name="Merlin Gutter" userId="2abc6f04-74af-430b-bdc8-569c3bfa1dda" providerId="ADAL" clId="{CB1EFBC3-10F5-3048-8961-5969497C0019}" dt="2022-11-13T01:14:26.935" v="53962"/>
          <ac:spMkLst>
            <pc:docMk/>
            <pc:sldMk cId="4027008501" sldId="362"/>
            <ac:spMk id="28" creationId="{070E15ED-C8AE-D14B-1B29-9B5C8003BA42}"/>
          </ac:spMkLst>
        </pc:spChg>
        <pc:spChg chg="add del mod modVis">
          <ac:chgData name="Merlin Gutter" userId="2abc6f04-74af-430b-bdc8-569c3bfa1dda" providerId="ADAL" clId="{CB1EFBC3-10F5-3048-8961-5969497C0019}" dt="2022-11-12T16:27:43.898" v="3986"/>
          <ac:spMkLst>
            <pc:docMk/>
            <pc:sldMk cId="4027008501" sldId="362"/>
            <ac:spMk id="28" creationId="{A6FECE27-5868-43B0-5B40-1E0B386993A5}"/>
          </ac:spMkLst>
        </pc:spChg>
        <pc:spChg chg="add del mod modVis">
          <ac:chgData name="Merlin Gutter" userId="2abc6f04-74af-430b-bdc8-569c3bfa1dda" providerId="ADAL" clId="{CB1EFBC3-10F5-3048-8961-5969497C0019}" dt="2022-11-13T01:15:11.538" v="54219"/>
          <ac:spMkLst>
            <pc:docMk/>
            <pc:sldMk cId="4027008501" sldId="362"/>
            <ac:spMk id="30" creationId="{0E8B46B8-AA8B-7E69-4D10-4406E16D4EDB}"/>
          </ac:spMkLst>
        </pc:spChg>
        <pc:spChg chg="add del mod modVis">
          <ac:chgData name="Merlin Gutter" userId="2abc6f04-74af-430b-bdc8-569c3bfa1dda" providerId="ADAL" clId="{CB1EFBC3-10F5-3048-8961-5969497C0019}" dt="2022-11-12T16:27:55.526" v="4638"/>
          <ac:spMkLst>
            <pc:docMk/>
            <pc:sldMk cId="4027008501" sldId="362"/>
            <ac:spMk id="30" creationId="{B81F6A96-B291-3B66-62A3-6D506F345FE5}"/>
          </ac:spMkLst>
        </pc:spChg>
        <pc:spChg chg="add del mod replST">
          <ac:chgData name="Merlin Gutter" userId="2abc6f04-74af-430b-bdc8-569c3bfa1dda" providerId="ADAL" clId="{CB1EFBC3-10F5-3048-8961-5969497C0019}" dt="2022-11-12T16:28:06.273" v="4799"/>
          <ac:spMkLst>
            <pc:docMk/>
            <pc:sldMk cId="4027008501" sldId="362"/>
            <ac:spMk id="31" creationId="{0DAC737A-ADB6-EF60-09AA-3682E4B589D3}"/>
          </ac:spMkLst>
        </pc:spChg>
        <pc:spChg chg="add del mod modVis">
          <ac:chgData name="Merlin Gutter" userId="2abc6f04-74af-430b-bdc8-569c3bfa1dda" providerId="ADAL" clId="{CB1EFBC3-10F5-3048-8961-5969497C0019}" dt="2022-11-13T01:15:28.225" v="54477"/>
          <ac:spMkLst>
            <pc:docMk/>
            <pc:sldMk cId="4027008501" sldId="362"/>
            <ac:spMk id="32" creationId="{08E89D57-E661-D4EC-4064-C836FC5C2461}"/>
          </ac:spMkLst>
        </pc:spChg>
        <pc:spChg chg="add del mod replST">
          <ac:chgData name="Merlin Gutter" userId="2abc6f04-74af-430b-bdc8-569c3bfa1dda" providerId="ADAL" clId="{CB1EFBC3-10F5-3048-8961-5969497C0019}" dt="2022-11-12T16:29:13.209" v="5223"/>
          <ac:spMkLst>
            <pc:docMk/>
            <pc:sldMk cId="4027008501" sldId="362"/>
            <ac:spMk id="32" creationId="{17523B51-87D1-7F09-F7EB-0C1427F32C9A}"/>
          </ac:spMkLst>
        </pc:spChg>
        <pc:spChg chg="add del mod replST">
          <ac:chgData name="Merlin Gutter" userId="2abc6f04-74af-430b-bdc8-569c3bfa1dda" providerId="ADAL" clId="{CB1EFBC3-10F5-3048-8961-5969497C0019}" dt="2022-11-12T16:29:10.623" v="5119"/>
          <ac:spMkLst>
            <pc:docMk/>
            <pc:sldMk cId="4027008501" sldId="362"/>
            <ac:spMk id="33" creationId="{4A214C9A-3F1F-A019-27EC-24590D5E8B53}"/>
          </ac:spMkLst>
        </pc:spChg>
        <pc:spChg chg="add del mod modVis">
          <ac:chgData name="Merlin Gutter" userId="2abc6f04-74af-430b-bdc8-569c3bfa1dda" providerId="ADAL" clId="{CB1EFBC3-10F5-3048-8961-5969497C0019}" dt="2022-11-13T01:15:40.998" v="54735"/>
          <ac:spMkLst>
            <pc:docMk/>
            <pc:sldMk cId="4027008501" sldId="362"/>
            <ac:spMk id="34" creationId="{46F1658F-9BBD-5004-31E0-A15D068814A5}"/>
          </ac:spMkLst>
        </pc:spChg>
        <pc:spChg chg="add del mod replST">
          <ac:chgData name="Merlin Gutter" userId="2abc6f04-74af-430b-bdc8-569c3bfa1dda" providerId="ADAL" clId="{CB1EFBC3-10F5-3048-8961-5969497C0019}" dt="2022-11-12T16:29:10.626" v="5125"/>
          <ac:spMkLst>
            <pc:docMk/>
            <pc:sldMk cId="4027008501" sldId="362"/>
            <ac:spMk id="34" creationId="{57AEFDE5-030A-F8EC-5428-31D7FC79B459}"/>
          </ac:spMkLst>
        </pc:spChg>
        <pc:spChg chg="add del mod replST">
          <ac:chgData name="Merlin Gutter" userId="2abc6f04-74af-430b-bdc8-569c3bfa1dda" providerId="ADAL" clId="{CB1EFBC3-10F5-3048-8961-5969497C0019}" dt="2022-11-12T16:29:10.628" v="5128"/>
          <ac:spMkLst>
            <pc:docMk/>
            <pc:sldMk cId="4027008501" sldId="362"/>
            <ac:spMk id="35" creationId="{F5948C10-C758-AF5C-09DA-4B8134D9E330}"/>
          </ac:spMkLst>
        </pc:spChg>
        <pc:spChg chg="add del mod replST">
          <ac:chgData name="Merlin Gutter" userId="2abc6f04-74af-430b-bdc8-569c3bfa1dda" providerId="ADAL" clId="{CB1EFBC3-10F5-3048-8961-5969497C0019}" dt="2022-11-12T16:29:10.630" v="5131"/>
          <ac:spMkLst>
            <pc:docMk/>
            <pc:sldMk cId="4027008501" sldId="362"/>
            <ac:spMk id="36" creationId="{7C56A9C5-CC5D-3D69-9F8B-9BB30D193604}"/>
          </ac:spMkLst>
        </pc:spChg>
        <pc:spChg chg="add del mod replST">
          <ac:chgData name="Merlin Gutter" userId="2abc6f04-74af-430b-bdc8-569c3bfa1dda" providerId="ADAL" clId="{CB1EFBC3-10F5-3048-8961-5969497C0019}" dt="2022-11-12T16:29:10.625" v="5122"/>
          <ac:spMkLst>
            <pc:docMk/>
            <pc:sldMk cId="4027008501" sldId="362"/>
            <ac:spMk id="37" creationId="{749A5009-4797-3D2D-7F4F-BE2D7D236F72}"/>
          </ac:spMkLst>
        </pc:spChg>
        <pc:spChg chg="add del mod modVis">
          <ac:chgData name="Merlin Gutter" userId="2abc6f04-74af-430b-bdc8-569c3bfa1dda" providerId="ADAL" clId="{CB1EFBC3-10F5-3048-8961-5969497C0019}" dt="2022-11-12T16:28:04.718" v="4737"/>
          <ac:spMkLst>
            <pc:docMk/>
            <pc:sldMk cId="4027008501" sldId="362"/>
            <ac:spMk id="46" creationId="{19F44A9D-3EAC-FD3C-E7C6-DDDD4C201318}"/>
          </ac:spMkLst>
        </pc:spChg>
        <pc:spChg chg="add del mod modVis">
          <ac:chgData name="Merlin Gutter" userId="2abc6f04-74af-430b-bdc8-569c3bfa1dda" providerId="ADAL" clId="{CB1EFBC3-10F5-3048-8961-5969497C0019}" dt="2022-11-12T16:28:06.303" v="4868"/>
          <ac:spMkLst>
            <pc:docMk/>
            <pc:sldMk cId="4027008501" sldId="362"/>
            <ac:spMk id="48" creationId="{33015D2C-6427-9BC6-8743-C68880A17180}"/>
          </ac:spMkLst>
        </pc:spChg>
        <pc:spChg chg="add del mod modVis">
          <ac:chgData name="Merlin Gutter" userId="2abc6f04-74af-430b-bdc8-569c3bfa1dda" providerId="ADAL" clId="{CB1EFBC3-10F5-3048-8961-5969497C0019}" dt="2022-11-12T16:28:14.647" v="5012"/>
          <ac:spMkLst>
            <pc:docMk/>
            <pc:sldMk cId="4027008501" sldId="362"/>
            <ac:spMk id="50" creationId="{4DDC236C-CC23-DA12-2ABC-D013FE272127}"/>
          </ac:spMkLst>
        </pc:spChg>
        <pc:spChg chg="add del mod modVis">
          <ac:chgData name="Merlin Gutter" userId="2abc6f04-74af-430b-bdc8-569c3bfa1dda" providerId="ADAL" clId="{CB1EFBC3-10F5-3048-8961-5969497C0019}" dt="2022-11-12T16:28:27.023" v="5114"/>
          <ac:spMkLst>
            <pc:docMk/>
            <pc:sldMk cId="4027008501" sldId="362"/>
            <ac:spMk id="52" creationId="{7B6F5AA3-9EF8-9D17-8532-74C41BB40A46}"/>
          </ac:spMkLst>
        </pc:spChg>
        <pc:spChg chg="add del mod modVis">
          <ac:chgData name="Merlin Gutter" userId="2abc6f04-74af-430b-bdc8-569c3bfa1dda" providerId="ADAL" clId="{CB1EFBC3-10F5-3048-8961-5969497C0019}" dt="2022-11-12T16:29:10.707" v="5218"/>
          <ac:spMkLst>
            <pc:docMk/>
            <pc:sldMk cId="4027008501" sldId="362"/>
            <ac:spMk id="54" creationId="{139FE410-BB2B-913A-18FE-358F695A7F25}"/>
          </ac:spMkLst>
        </pc:spChg>
        <pc:spChg chg="add del mod modVis">
          <ac:chgData name="Merlin Gutter" userId="2abc6f04-74af-430b-bdc8-569c3bfa1dda" providerId="ADAL" clId="{CB1EFBC3-10F5-3048-8961-5969497C0019}" dt="2022-11-12T16:29:13.288" v="5301"/>
          <ac:spMkLst>
            <pc:docMk/>
            <pc:sldMk cId="4027008501" sldId="362"/>
            <ac:spMk id="56" creationId="{021E05EB-5050-37AB-BED7-F85206CED7A4}"/>
          </ac:spMkLst>
        </pc:spChg>
        <pc:spChg chg="add del mod modVis">
          <ac:chgData name="Merlin Gutter" userId="2abc6f04-74af-430b-bdc8-569c3bfa1dda" providerId="ADAL" clId="{CB1EFBC3-10F5-3048-8961-5969497C0019}" dt="2022-11-12T16:29:16.122" v="5393"/>
          <ac:spMkLst>
            <pc:docMk/>
            <pc:sldMk cId="4027008501" sldId="362"/>
            <ac:spMk id="58" creationId="{DEB03927-1E4B-736C-2C40-1AC2E2DB4EAA}"/>
          </ac:spMkLst>
        </pc:spChg>
        <pc:spChg chg="add del mod modVis">
          <ac:chgData name="Merlin Gutter" userId="2abc6f04-74af-430b-bdc8-569c3bfa1dda" providerId="ADAL" clId="{CB1EFBC3-10F5-3048-8961-5969497C0019}" dt="2022-11-12T16:29:38.506" v="5473"/>
          <ac:spMkLst>
            <pc:docMk/>
            <pc:sldMk cId="4027008501" sldId="362"/>
            <ac:spMk id="60" creationId="{48E9CF7B-1FE7-F7EE-B26C-B8D55CB52A7E}"/>
          </ac:spMkLst>
        </pc:spChg>
        <pc:spChg chg="add del mod modVis">
          <ac:chgData name="Merlin Gutter" userId="2abc6f04-74af-430b-bdc8-569c3bfa1dda" providerId="ADAL" clId="{CB1EFBC3-10F5-3048-8961-5969497C0019}" dt="2022-11-12T16:29:40.345" v="6341"/>
          <ac:spMkLst>
            <pc:docMk/>
            <pc:sldMk cId="4027008501" sldId="362"/>
            <ac:spMk id="62" creationId="{A5422A63-0CFB-3C91-E116-7F7AD5370C0E}"/>
          </ac:spMkLst>
        </pc:spChg>
        <pc:spChg chg="add del mod replST">
          <ac:chgData name="Merlin Gutter" userId="2abc6f04-74af-430b-bdc8-569c3bfa1dda" providerId="ADAL" clId="{CB1EFBC3-10F5-3048-8961-5969497C0019}" dt="2022-11-12T16:50:20.708" v="8885"/>
          <ac:spMkLst>
            <pc:docMk/>
            <pc:sldMk cId="4027008501" sldId="362"/>
            <ac:spMk id="63" creationId="{7E4A27F4-85BA-709A-35D3-DB1EDC90EADE}"/>
          </ac:spMkLst>
        </pc:spChg>
        <pc:spChg chg="add del mod replST">
          <ac:chgData name="Merlin Gutter" userId="2abc6f04-74af-430b-bdc8-569c3bfa1dda" providerId="ADAL" clId="{CB1EFBC3-10F5-3048-8961-5969497C0019}" dt="2022-11-12T16:50:20.708" v="8884"/>
          <ac:spMkLst>
            <pc:docMk/>
            <pc:sldMk cId="4027008501" sldId="362"/>
            <ac:spMk id="64" creationId="{E3ED18CB-BDDC-732E-B17A-960C2EEDB3C7}"/>
          </ac:spMkLst>
        </pc:spChg>
        <pc:spChg chg="add del mod replST">
          <ac:chgData name="Merlin Gutter" userId="2abc6f04-74af-430b-bdc8-569c3bfa1dda" providerId="ADAL" clId="{CB1EFBC3-10F5-3048-8961-5969497C0019}" dt="2022-11-12T16:50:20.708" v="8883"/>
          <ac:spMkLst>
            <pc:docMk/>
            <pc:sldMk cId="4027008501" sldId="362"/>
            <ac:spMk id="65" creationId="{348135E2-705C-C181-EBDA-C944839172EC}"/>
          </ac:spMkLst>
        </pc:spChg>
        <pc:spChg chg="add del mod replST">
          <ac:chgData name="Merlin Gutter" userId="2abc6f04-74af-430b-bdc8-569c3bfa1dda" providerId="ADAL" clId="{CB1EFBC3-10F5-3048-8961-5969497C0019}" dt="2022-11-12T16:50:20.708" v="8882"/>
          <ac:spMkLst>
            <pc:docMk/>
            <pc:sldMk cId="4027008501" sldId="362"/>
            <ac:spMk id="66" creationId="{55BE36AE-79BC-165D-D621-A54A7F9AC98F}"/>
          </ac:spMkLst>
        </pc:spChg>
        <pc:spChg chg="add del mod replST">
          <ac:chgData name="Merlin Gutter" userId="2abc6f04-74af-430b-bdc8-569c3bfa1dda" providerId="ADAL" clId="{CB1EFBC3-10F5-3048-8961-5969497C0019}" dt="2022-11-12T16:50:20.708" v="8881"/>
          <ac:spMkLst>
            <pc:docMk/>
            <pc:sldMk cId="4027008501" sldId="362"/>
            <ac:spMk id="67" creationId="{4EBCDF85-320F-A150-51D0-5B62D85F1415}"/>
          </ac:spMkLst>
        </pc:spChg>
        <pc:spChg chg="add del mod replST">
          <ac:chgData name="Merlin Gutter" userId="2abc6f04-74af-430b-bdc8-569c3bfa1dda" providerId="ADAL" clId="{CB1EFBC3-10F5-3048-8961-5969497C0019}" dt="2022-11-12T16:50:20.708" v="8880"/>
          <ac:spMkLst>
            <pc:docMk/>
            <pc:sldMk cId="4027008501" sldId="362"/>
            <ac:spMk id="68" creationId="{C08E8073-14ED-CD23-4BF7-C4B16880C561}"/>
          </ac:spMkLst>
        </pc:spChg>
        <pc:spChg chg="add del mod replST">
          <ac:chgData name="Merlin Gutter" userId="2abc6f04-74af-430b-bdc8-569c3bfa1dda" providerId="ADAL" clId="{CB1EFBC3-10F5-3048-8961-5969497C0019}" dt="2022-11-12T16:50:20.707" v="8879"/>
          <ac:spMkLst>
            <pc:docMk/>
            <pc:sldMk cId="4027008501" sldId="362"/>
            <ac:spMk id="69" creationId="{8BAF965D-40FA-231A-3554-C74747AD5EB2}"/>
          </ac:spMkLst>
        </pc:spChg>
        <pc:spChg chg="add del mod replST">
          <ac:chgData name="Merlin Gutter" userId="2abc6f04-74af-430b-bdc8-569c3bfa1dda" providerId="ADAL" clId="{CB1EFBC3-10F5-3048-8961-5969497C0019}" dt="2022-11-12T16:50:20.707" v="8878"/>
          <ac:spMkLst>
            <pc:docMk/>
            <pc:sldMk cId="4027008501" sldId="362"/>
            <ac:spMk id="70" creationId="{8EB1028F-EFFF-8BAD-20CD-24A8AC2CEB50}"/>
          </ac:spMkLst>
        </pc:spChg>
        <pc:spChg chg="add del mod replST">
          <ac:chgData name="Merlin Gutter" userId="2abc6f04-74af-430b-bdc8-569c3bfa1dda" providerId="ADAL" clId="{CB1EFBC3-10F5-3048-8961-5969497C0019}" dt="2022-11-12T16:50:20.707" v="8877"/>
          <ac:spMkLst>
            <pc:docMk/>
            <pc:sldMk cId="4027008501" sldId="362"/>
            <ac:spMk id="71" creationId="{732DBFB2-38D2-0FBD-159B-CB1C356295FB}"/>
          </ac:spMkLst>
        </pc:spChg>
        <pc:spChg chg="add del mod replST">
          <ac:chgData name="Merlin Gutter" userId="2abc6f04-74af-430b-bdc8-569c3bfa1dda" providerId="ADAL" clId="{CB1EFBC3-10F5-3048-8961-5969497C0019}" dt="2022-11-12T16:50:20.707" v="8876"/>
          <ac:spMkLst>
            <pc:docMk/>
            <pc:sldMk cId="4027008501" sldId="362"/>
            <ac:spMk id="72" creationId="{E5AE157C-8A11-536E-EE41-AE4878F76FB6}"/>
          </ac:spMkLst>
        </pc:spChg>
        <pc:spChg chg="add del mod replST">
          <ac:chgData name="Merlin Gutter" userId="2abc6f04-74af-430b-bdc8-569c3bfa1dda" providerId="ADAL" clId="{CB1EFBC3-10F5-3048-8961-5969497C0019}" dt="2022-11-12T16:50:20.705" v="8875"/>
          <ac:spMkLst>
            <pc:docMk/>
            <pc:sldMk cId="4027008501" sldId="362"/>
            <ac:spMk id="73" creationId="{989C372E-5BF7-1857-6B32-8CAB7C597967}"/>
          </ac:spMkLst>
        </pc:spChg>
        <pc:spChg chg="add del mod replST">
          <ac:chgData name="Merlin Gutter" userId="2abc6f04-74af-430b-bdc8-569c3bfa1dda" providerId="ADAL" clId="{CB1EFBC3-10F5-3048-8961-5969497C0019}" dt="2022-11-12T16:29:43.710" v="6639"/>
          <ac:spMkLst>
            <pc:docMk/>
            <pc:sldMk cId="4027008501" sldId="362"/>
            <ac:spMk id="74" creationId="{9C5B4B8F-E220-EC5B-B0A3-641F8AD0F090}"/>
          </ac:spMkLst>
        </pc:spChg>
        <pc:spChg chg="add del mod modVis">
          <ac:chgData name="Merlin Gutter" userId="2abc6f04-74af-430b-bdc8-569c3bfa1dda" providerId="ADAL" clId="{CB1EFBC3-10F5-3048-8961-5969497C0019}" dt="2022-11-12T16:29:41.194" v="6636"/>
          <ac:spMkLst>
            <pc:docMk/>
            <pc:sldMk cId="4027008501" sldId="362"/>
            <ac:spMk id="76" creationId="{422D78D0-7554-2091-E970-B6E476D19AA5}"/>
          </ac:spMkLst>
        </pc:spChg>
        <pc:spChg chg="add del mod modVis">
          <ac:chgData name="Merlin Gutter" userId="2abc6f04-74af-430b-bdc8-569c3bfa1dda" providerId="ADAL" clId="{CB1EFBC3-10F5-3048-8961-5969497C0019}" dt="2022-11-12T16:29:43.802" v="6739"/>
          <ac:spMkLst>
            <pc:docMk/>
            <pc:sldMk cId="4027008501" sldId="362"/>
            <ac:spMk id="78" creationId="{CCF3A74A-DD1F-9589-A3C2-21FE47387957}"/>
          </ac:spMkLst>
        </pc:spChg>
        <pc:spChg chg="add del mod modVis">
          <ac:chgData name="Merlin Gutter" userId="2abc6f04-74af-430b-bdc8-569c3bfa1dda" providerId="ADAL" clId="{CB1EFBC3-10F5-3048-8961-5969497C0019}" dt="2022-11-12T16:29:46.636" v="6841"/>
          <ac:spMkLst>
            <pc:docMk/>
            <pc:sldMk cId="4027008501" sldId="362"/>
            <ac:spMk id="80" creationId="{0E227434-698C-193E-9B97-8EBB16BE020E}"/>
          </ac:spMkLst>
        </pc:spChg>
        <pc:spChg chg="add del mod modVis">
          <ac:chgData name="Merlin Gutter" userId="2abc6f04-74af-430b-bdc8-569c3bfa1dda" providerId="ADAL" clId="{CB1EFBC3-10F5-3048-8961-5969497C0019}" dt="2022-11-12T16:29:49.757" v="6943"/>
          <ac:spMkLst>
            <pc:docMk/>
            <pc:sldMk cId="4027008501" sldId="362"/>
            <ac:spMk id="82" creationId="{1A402C47-C44E-82AB-5393-6B68561B0FA7}"/>
          </ac:spMkLst>
        </pc:spChg>
        <pc:spChg chg="add del mod modVis">
          <ac:chgData name="Merlin Gutter" userId="2abc6f04-74af-430b-bdc8-569c3bfa1dda" providerId="ADAL" clId="{CB1EFBC3-10F5-3048-8961-5969497C0019}" dt="2022-11-12T16:29:53.728" v="7045"/>
          <ac:spMkLst>
            <pc:docMk/>
            <pc:sldMk cId="4027008501" sldId="362"/>
            <ac:spMk id="84" creationId="{CAEA7F92-FDD3-7673-814C-60B73870D8D9}"/>
          </ac:spMkLst>
        </pc:spChg>
        <pc:spChg chg="add del mod modVis">
          <ac:chgData name="Merlin Gutter" userId="2abc6f04-74af-430b-bdc8-569c3bfa1dda" providerId="ADAL" clId="{CB1EFBC3-10F5-3048-8961-5969497C0019}" dt="2022-11-12T16:29:56.082" v="7167"/>
          <ac:spMkLst>
            <pc:docMk/>
            <pc:sldMk cId="4027008501" sldId="362"/>
            <ac:spMk id="86" creationId="{7D3C66C5-BB6A-ED49-67FB-9BB5231F2D17}"/>
          </ac:spMkLst>
        </pc:spChg>
        <pc:spChg chg="add del mod modVis">
          <ac:chgData name="Merlin Gutter" userId="2abc6f04-74af-430b-bdc8-569c3bfa1dda" providerId="ADAL" clId="{CB1EFBC3-10F5-3048-8961-5969497C0019}" dt="2022-11-12T16:30:03.993" v="7291"/>
          <ac:spMkLst>
            <pc:docMk/>
            <pc:sldMk cId="4027008501" sldId="362"/>
            <ac:spMk id="88" creationId="{06EE9896-3820-B33A-DB09-027F5EBEB731}"/>
          </ac:spMkLst>
        </pc:spChg>
        <pc:spChg chg="add del mod modVis">
          <ac:chgData name="Merlin Gutter" userId="2abc6f04-74af-430b-bdc8-569c3bfa1dda" providerId="ADAL" clId="{CB1EFBC3-10F5-3048-8961-5969497C0019}" dt="2022-11-12T16:30:07.075" v="7415"/>
          <ac:spMkLst>
            <pc:docMk/>
            <pc:sldMk cId="4027008501" sldId="362"/>
            <ac:spMk id="90" creationId="{978D34F1-FBD4-78AF-26C9-9341EF423807}"/>
          </ac:spMkLst>
        </pc:spChg>
        <pc:spChg chg="add del mod modVis">
          <ac:chgData name="Merlin Gutter" userId="2abc6f04-74af-430b-bdc8-569c3bfa1dda" providerId="ADAL" clId="{CB1EFBC3-10F5-3048-8961-5969497C0019}" dt="2022-11-12T16:30:11.178" v="8155"/>
          <ac:spMkLst>
            <pc:docMk/>
            <pc:sldMk cId="4027008501" sldId="362"/>
            <ac:spMk id="92" creationId="{0A40ADDD-9EA6-D0AE-B470-74B9DDD6A5AB}"/>
          </ac:spMkLst>
        </pc:spChg>
        <pc:spChg chg="add del mod replST">
          <ac:chgData name="Merlin Gutter" userId="2abc6f04-74af-430b-bdc8-569c3bfa1dda" providerId="ADAL" clId="{CB1EFBC3-10F5-3048-8961-5969497C0019}" dt="2022-11-12T16:30:30.600" v="8738"/>
          <ac:spMkLst>
            <pc:docMk/>
            <pc:sldMk cId="4027008501" sldId="362"/>
            <ac:spMk id="93" creationId="{E50387F4-9081-5170-1E1D-CFDA0A89B725}"/>
          </ac:spMkLst>
        </pc:spChg>
        <pc:spChg chg="add del mod replST">
          <ac:chgData name="Merlin Gutter" userId="2abc6f04-74af-430b-bdc8-569c3bfa1dda" providerId="ADAL" clId="{CB1EFBC3-10F5-3048-8961-5969497C0019}" dt="2022-11-12T16:30:30.600" v="8736"/>
          <ac:spMkLst>
            <pc:docMk/>
            <pc:sldMk cId="4027008501" sldId="362"/>
            <ac:spMk id="94" creationId="{BFF122C0-04E2-E412-5D36-31D19A84320C}"/>
          </ac:spMkLst>
        </pc:spChg>
        <pc:spChg chg="add del mod replST">
          <ac:chgData name="Merlin Gutter" userId="2abc6f04-74af-430b-bdc8-569c3bfa1dda" providerId="ADAL" clId="{CB1EFBC3-10F5-3048-8961-5969497C0019}" dt="2022-11-12T16:30:30.599" v="8734"/>
          <ac:spMkLst>
            <pc:docMk/>
            <pc:sldMk cId="4027008501" sldId="362"/>
            <ac:spMk id="95" creationId="{F42E43B3-3A67-019E-4593-4CA25B1433EC}"/>
          </ac:spMkLst>
        </pc:spChg>
        <pc:spChg chg="add del mod replST">
          <ac:chgData name="Merlin Gutter" userId="2abc6f04-74af-430b-bdc8-569c3bfa1dda" providerId="ADAL" clId="{CB1EFBC3-10F5-3048-8961-5969497C0019}" dt="2022-11-12T16:30:30.599" v="8732"/>
          <ac:spMkLst>
            <pc:docMk/>
            <pc:sldMk cId="4027008501" sldId="362"/>
            <ac:spMk id="96" creationId="{B0E05BD7-A1D1-1D01-676C-D396EA080AB0}"/>
          </ac:spMkLst>
        </pc:spChg>
        <pc:spChg chg="add del mod replST">
          <ac:chgData name="Merlin Gutter" userId="2abc6f04-74af-430b-bdc8-569c3bfa1dda" providerId="ADAL" clId="{CB1EFBC3-10F5-3048-8961-5969497C0019}" dt="2022-11-12T16:30:30.599" v="8731"/>
          <ac:spMkLst>
            <pc:docMk/>
            <pc:sldMk cId="4027008501" sldId="362"/>
            <ac:spMk id="97" creationId="{EE3E2E1A-FC77-677B-A37D-6E2DFD2B6579}"/>
          </ac:spMkLst>
        </pc:spChg>
        <pc:spChg chg="add del mod replST">
          <ac:chgData name="Merlin Gutter" userId="2abc6f04-74af-430b-bdc8-569c3bfa1dda" providerId="ADAL" clId="{CB1EFBC3-10F5-3048-8961-5969497C0019}" dt="2022-11-12T16:30:30.597" v="8730"/>
          <ac:spMkLst>
            <pc:docMk/>
            <pc:sldMk cId="4027008501" sldId="362"/>
            <ac:spMk id="98" creationId="{557482CF-5D38-CF3A-32B7-D4CE0049049D}"/>
          </ac:spMkLst>
        </pc:spChg>
        <pc:spChg chg="add del mod replST">
          <ac:chgData name="Merlin Gutter" userId="2abc6f04-74af-430b-bdc8-569c3bfa1dda" providerId="ADAL" clId="{CB1EFBC3-10F5-3048-8961-5969497C0019}" dt="2022-11-12T16:30:30.659" v="8826"/>
          <ac:spMkLst>
            <pc:docMk/>
            <pc:sldMk cId="4027008501" sldId="362"/>
            <ac:spMk id="99" creationId="{91E787AC-62CB-827B-F91F-E70CE08CA5D1}"/>
          </ac:spMkLst>
        </pc:spChg>
        <pc:spChg chg="add del mod replST">
          <ac:chgData name="Merlin Gutter" userId="2abc6f04-74af-430b-bdc8-569c3bfa1dda" providerId="ADAL" clId="{CB1EFBC3-10F5-3048-8961-5969497C0019}" dt="2022-11-12T16:30:30.646" v="8802"/>
          <ac:spMkLst>
            <pc:docMk/>
            <pc:sldMk cId="4027008501" sldId="362"/>
            <ac:spMk id="100" creationId="{4E7435CC-F59F-1FF9-74D4-C9BCD2A9803D}"/>
          </ac:spMkLst>
        </pc:spChg>
        <pc:spChg chg="add del mod replST">
          <ac:chgData name="Merlin Gutter" userId="2abc6f04-74af-430b-bdc8-569c3bfa1dda" providerId="ADAL" clId="{CB1EFBC3-10F5-3048-8961-5969497C0019}" dt="2022-11-12T16:30:30.659" v="8828"/>
          <ac:spMkLst>
            <pc:docMk/>
            <pc:sldMk cId="4027008501" sldId="362"/>
            <ac:spMk id="101" creationId="{9960F731-D129-B133-EE16-0ED9FF84A95D}"/>
          </ac:spMkLst>
        </pc:spChg>
        <pc:spChg chg="add del mod replST">
          <ac:chgData name="Merlin Gutter" userId="2abc6f04-74af-430b-bdc8-569c3bfa1dda" providerId="ADAL" clId="{CB1EFBC3-10F5-3048-8961-5969497C0019}" dt="2022-11-12T16:30:30.646" v="8799"/>
          <ac:spMkLst>
            <pc:docMk/>
            <pc:sldMk cId="4027008501" sldId="362"/>
            <ac:spMk id="102" creationId="{39BD6D83-D5B1-FF8A-E2B8-38FE6D59263C}"/>
          </ac:spMkLst>
        </pc:spChg>
        <pc:spChg chg="add del mod replST">
          <ac:chgData name="Merlin Gutter" userId="2abc6f04-74af-430b-bdc8-569c3bfa1dda" providerId="ADAL" clId="{CB1EFBC3-10F5-3048-8961-5969497C0019}" dt="2022-11-12T16:30:30.659" v="8829"/>
          <ac:spMkLst>
            <pc:docMk/>
            <pc:sldMk cId="4027008501" sldId="362"/>
            <ac:spMk id="103" creationId="{4D7BB4C3-5172-FD0E-B954-81A85C04FF17}"/>
          </ac:spMkLst>
        </pc:spChg>
        <pc:spChg chg="add del mod replST">
          <ac:chgData name="Merlin Gutter" userId="2abc6f04-74af-430b-bdc8-569c3bfa1dda" providerId="ADAL" clId="{CB1EFBC3-10F5-3048-8961-5969497C0019}" dt="2022-11-12T16:30:30.645" v="8796"/>
          <ac:spMkLst>
            <pc:docMk/>
            <pc:sldMk cId="4027008501" sldId="362"/>
            <ac:spMk id="104" creationId="{765C4214-B374-972D-47A9-85B1ACF99020}"/>
          </ac:spMkLst>
        </pc:spChg>
        <pc:spChg chg="add del mod replST">
          <ac:chgData name="Merlin Gutter" userId="2abc6f04-74af-430b-bdc8-569c3bfa1dda" providerId="ADAL" clId="{CB1EFBC3-10F5-3048-8961-5969497C0019}" dt="2022-11-12T16:30:30.659" v="8830"/>
          <ac:spMkLst>
            <pc:docMk/>
            <pc:sldMk cId="4027008501" sldId="362"/>
            <ac:spMk id="105" creationId="{31D3C069-C6BF-6D5E-23AE-C2A8F6C6380C}"/>
          </ac:spMkLst>
        </pc:spChg>
        <pc:spChg chg="add del mod modVis">
          <ac:chgData name="Merlin Gutter" userId="2abc6f04-74af-430b-bdc8-569c3bfa1dda" providerId="ADAL" clId="{CB1EFBC3-10F5-3048-8961-5969497C0019}" dt="2022-11-12T16:30:19.696" v="8368"/>
          <ac:spMkLst>
            <pc:docMk/>
            <pc:sldMk cId="4027008501" sldId="362"/>
            <ac:spMk id="114" creationId="{6B931F6E-AF4B-D883-779A-D1C0C2BF4FA0}"/>
          </ac:spMkLst>
        </pc:spChg>
        <pc:spChg chg="add del mod modVis">
          <ac:chgData name="Merlin Gutter" userId="2abc6f04-74af-430b-bdc8-569c3bfa1dda" providerId="ADAL" clId="{CB1EFBC3-10F5-3048-8961-5969497C0019}" dt="2022-11-12T16:30:28.754" v="8726"/>
          <ac:spMkLst>
            <pc:docMk/>
            <pc:sldMk cId="4027008501" sldId="362"/>
            <ac:spMk id="116" creationId="{53FD3543-E7C5-40E9-5C75-9C6A13D0CED2}"/>
          </ac:spMkLst>
        </pc:spChg>
        <pc:spChg chg="add del mod replST">
          <ac:chgData name="Merlin Gutter" userId="2abc6f04-74af-430b-bdc8-569c3bfa1dda" providerId="ADAL" clId="{CB1EFBC3-10F5-3048-8961-5969497C0019}" dt="2022-11-12T16:30:30.647" v="8805"/>
          <ac:spMkLst>
            <pc:docMk/>
            <pc:sldMk cId="4027008501" sldId="362"/>
            <ac:spMk id="117" creationId="{F19F0AE8-876A-4D9B-3D35-578FABABB4A0}"/>
          </ac:spMkLst>
        </pc:spChg>
        <pc:spChg chg="add del mod replST">
          <ac:chgData name="Merlin Gutter" userId="2abc6f04-74af-430b-bdc8-569c3bfa1dda" providerId="ADAL" clId="{CB1EFBC3-10F5-3048-8961-5969497C0019}" dt="2022-11-12T16:30:30.659" v="8827"/>
          <ac:spMkLst>
            <pc:docMk/>
            <pc:sldMk cId="4027008501" sldId="362"/>
            <ac:spMk id="118" creationId="{268697C9-934D-6D0A-5FA4-978AAC74EFA2}"/>
          </ac:spMkLst>
        </pc:spChg>
        <pc:spChg chg="add del mod modVis">
          <ac:chgData name="Merlin Gutter" userId="2abc6f04-74af-430b-bdc8-569c3bfa1dda" providerId="ADAL" clId="{CB1EFBC3-10F5-3048-8961-5969497C0019}" dt="2022-11-12T16:30:30.680" v="8872"/>
          <ac:spMkLst>
            <pc:docMk/>
            <pc:sldMk cId="4027008501" sldId="362"/>
            <ac:spMk id="122" creationId="{E9FE73A6-8A50-07E5-E3A1-5A4B8547721C}"/>
          </ac:spMkLst>
        </pc:spChg>
        <pc:spChg chg="add del mod modVis">
          <ac:chgData name="Merlin Gutter" userId="2abc6f04-74af-430b-bdc8-569c3bfa1dda" providerId="ADAL" clId="{CB1EFBC3-10F5-3048-8961-5969497C0019}" dt="2022-11-12T16:50:22.414" v="11989"/>
          <ac:spMkLst>
            <pc:docMk/>
            <pc:sldMk cId="4027008501" sldId="362"/>
            <ac:spMk id="124" creationId="{FD21878E-9621-DC7C-6EB7-692031B28739}"/>
          </ac:spMkLst>
        </pc:spChg>
        <pc:spChg chg="add del mod replST">
          <ac:chgData name="Merlin Gutter" userId="2abc6f04-74af-430b-bdc8-569c3bfa1dda" providerId="ADAL" clId="{CB1EFBC3-10F5-3048-8961-5969497C0019}" dt="2022-11-13T01:15:40.991" v="54702"/>
          <ac:spMkLst>
            <pc:docMk/>
            <pc:sldMk cId="4027008501" sldId="362"/>
            <ac:spMk id="125" creationId="{DE60708C-C90B-3DFC-AE23-71A9F3AEAF48}"/>
          </ac:spMkLst>
        </pc:spChg>
        <pc:spChg chg="add del mod replST">
          <ac:chgData name="Merlin Gutter" userId="2abc6f04-74af-430b-bdc8-569c3bfa1dda" providerId="ADAL" clId="{CB1EFBC3-10F5-3048-8961-5969497C0019}" dt="2022-11-13T01:15:40.988" v="54685"/>
          <ac:spMkLst>
            <pc:docMk/>
            <pc:sldMk cId="4027008501" sldId="362"/>
            <ac:spMk id="126" creationId="{93D1F641-308D-9713-5F4B-6C85F504F8B1}"/>
          </ac:spMkLst>
        </pc:spChg>
        <pc:spChg chg="add del mod replST">
          <ac:chgData name="Merlin Gutter" userId="2abc6f04-74af-430b-bdc8-569c3bfa1dda" providerId="ADAL" clId="{CB1EFBC3-10F5-3048-8961-5969497C0019}" dt="2022-11-13T01:15:40.989" v="54693"/>
          <ac:spMkLst>
            <pc:docMk/>
            <pc:sldMk cId="4027008501" sldId="362"/>
            <ac:spMk id="127" creationId="{C6B2962A-FB1B-3469-95D8-629FD74FE675}"/>
          </ac:spMkLst>
        </pc:spChg>
        <pc:spChg chg="add del mod replST">
          <ac:chgData name="Merlin Gutter" userId="2abc6f04-74af-430b-bdc8-569c3bfa1dda" providerId="ADAL" clId="{CB1EFBC3-10F5-3048-8961-5969497C0019}" dt="2022-11-13T01:15:40.987" v="54682"/>
          <ac:spMkLst>
            <pc:docMk/>
            <pc:sldMk cId="4027008501" sldId="362"/>
            <ac:spMk id="128" creationId="{C16680B5-DB37-2F62-5B84-AFEB3120FABF}"/>
          </ac:spMkLst>
        </pc:spChg>
        <pc:spChg chg="add del mod replST">
          <ac:chgData name="Merlin Gutter" userId="2abc6f04-74af-430b-bdc8-569c3bfa1dda" providerId="ADAL" clId="{CB1EFBC3-10F5-3048-8961-5969497C0019}" dt="2022-11-13T01:15:40.993" v="54710"/>
          <ac:spMkLst>
            <pc:docMk/>
            <pc:sldMk cId="4027008501" sldId="362"/>
            <ac:spMk id="129" creationId="{249EC2D3-8F67-704B-301C-A65728D8723C}"/>
          </ac:spMkLst>
        </pc:spChg>
        <pc:spChg chg="add del mod replST">
          <ac:chgData name="Merlin Gutter" userId="2abc6f04-74af-430b-bdc8-569c3bfa1dda" providerId="ADAL" clId="{CB1EFBC3-10F5-3048-8961-5969497C0019}" dt="2022-11-13T01:15:40.987" v="54680"/>
          <ac:spMkLst>
            <pc:docMk/>
            <pc:sldMk cId="4027008501" sldId="362"/>
            <ac:spMk id="130" creationId="{C983C178-09C1-45E5-362D-7FCAC7DDE5B1}"/>
          </ac:spMkLst>
        </pc:spChg>
        <pc:spChg chg="add del mod replST">
          <ac:chgData name="Merlin Gutter" userId="2abc6f04-74af-430b-bdc8-569c3bfa1dda" providerId="ADAL" clId="{CB1EFBC3-10F5-3048-8961-5969497C0019}" dt="2022-11-13T01:15:40.986" v="54677"/>
          <ac:spMkLst>
            <pc:docMk/>
            <pc:sldMk cId="4027008501" sldId="362"/>
            <ac:spMk id="131" creationId="{83C6DF27-0B51-C660-244B-01EA3BD93791}"/>
          </ac:spMkLst>
        </pc:spChg>
        <pc:spChg chg="add del mod replST">
          <ac:chgData name="Merlin Gutter" userId="2abc6f04-74af-430b-bdc8-569c3bfa1dda" providerId="ADAL" clId="{CB1EFBC3-10F5-3048-8961-5969497C0019}" dt="2022-11-13T01:15:40.985" v="54673"/>
          <ac:spMkLst>
            <pc:docMk/>
            <pc:sldMk cId="4027008501" sldId="362"/>
            <ac:spMk id="132" creationId="{BF41C1AA-8718-2498-87B2-AD74A78674ED}"/>
          </ac:spMkLst>
        </pc:spChg>
        <pc:spChg chg="add del mod replST">
          <ac:chgData name="Merlin Gutter" userId="2abc6f04-74af-430b-bdc8-569c3bfa1dda" providerId="ADAL" clId="{CB1EFBC3-10F5-3048-8961-5969497C0019}" dt="2022-11-13T01:15:40.985" v="54670"/>
          <ac:spMkLst>
            <pc:docMk/>
            <pc:sldMk cId="4027008501" sldId="362"/>
            <ac:spMk id="133" creationId="{B1A10525-C936-C150-CB97-4A0674D9D86E}"/>
          </ac:spMkLst>
        </pc:spChg>
        <pc:spChg chg="add del mod replST">
          <ac:chgData name="Merlin Gutter" userId="2abc6f04-74af-430b-bdc8-569c3bfa1dda" providerId="ADAL" clId="{CB1EFBC3-10F5-3048-8961-5969497C0019}" dt="2022-11-13T01:15:40.990" v="54699"/>
          <ac:spMkLst>
            <pc:docMk/>
            <pc:sldMk cId="4027008501" sldId="362"/>
            <ac:spMk id="134" creationId="{135CA4E2-CCA3-BCED-DDA1-95A66642CBB8}"/>
          </ac:spMkLst>
        </pc:spChg>
        <pc:spChg chg="add del mod replST">
          <ac:chgData name="Merlin Gutter" userId="2abc6f04-74af-430b-bdc8-569c3bfa1dda" providerId="ADAL" clId="{CB1EFBC3-10F5-3048-8961-5969497C0019}" dt="2022-11-13T01:15:40.987" v="54683"/>
          <ac:spMkLst>
            <pc:docMk/>
            <pc:sldMk cId="4027008501" sldId="362"/>
            <ac:spMk id="135" creationId="{E61E8E78-6D7D-62BD-FFB2-E51497EB21FF}"/>
          </ac:spMkLst>
        </pc:spChg>
        <pc:spChg chg="add del mod replST">
          <ac:chgData name="Merlin Gutter" userId="2abc6f04-74af-430b-bdc8-569c3bfa1dda" providerId="ADAL" clId="{CB1EFBC3-10F5-3048-8961-5969497C0019}" dt="2022-11-13T01:15:40.985" v="54674"/>
          <ac:spMkLst>
            <pc:docMk/>
            <pc:sldMk cId="4027008501" sldId="362"/>
            <ac:spMk id="136" creationId="{A30C869F-4C44-1FEB-2E00-766EA02E2871}"/>
          </ac:spMkLst>
        </pc:spChg>
        <pc:spChg chg="add del mod replST">
          <ac:chgData name="Merlin Gutter" userId="2abc6f04-74af-430b-bdc8-569c3bfa1dda" providerId="ADAL" clId="{CB1EFBC3-10F5-3048-8961-5969497C0019}" dt="2022-11-13T01:15:40.984" v="54668"/>
          <ac:spMkLst>
            <pc:docMk/>
            <pc:sldMk cId="4027008501" sldId="362"/>
            <ac:spMk id="137" creationId="{90A0CE48-2CE3-B352-EB4A-C226EEC28B00}"/>
          </ac:spMkLst>
        </pc:spChg>
        <pc:spChg chg="add del mod replST">
          <ac:chgData name="Merlin Gutter" userId="2abc6f04-74af-430b-bdc8-569c3bfa1dda" providerId="ADAL" clId="{CB1EFBC3-10F5-3048-8961-5969497C0019}" dt="2022-11-13T01:15:40.984" v="54667"/>
          <ac:spMkLst>
            <pc:docMk/>
            <pc:sldMk cId="4027008501" sldId="362"/>
            <ac:spMk id="138" creationId="{8BC9E89F-5EA9-704E-3BC1-F582ACEBF715}"/>
          </ac:spMkLst>
        </pc:spChg>
        <pc:spChg chg="add del mod replST">
          <ac:chgData name="Merlin Gutter" userId="2abc6f04-74af-430b-bdc8-569c3bfa1dda" providerId="ADAL" clId="{CB1EFBC3-10F5-3048-8961-5969497C0019}" dt="2022-11-13T01:15:40.984" v="54666"/>
          <ac:spMkLst>
            <pc:docMk/>
            <pc:sldMk cId="4027008501" sldId="362"/>
            <ac:spMk id="139" creationId="{995343CC-C281-045E-CD70-B7B7949058D7}"/>
          </ac:spMkLst>
        </pc:spChg>
        <pc:spChg chg="add del mod replST">
          <ac:chgData name="Merlin Gutter" userId="2abc6f04-74af-430b-bdc8-569c3bfa1dda" providerId="ADAL" clId="{CB1EFBC3-10F5-3048-8961-5969497C0019}" dt="2022-11-13T01:15:40.988" v="54686"/>
          <ac:spMkLst>
            <pc:docMk/>
            <pc:sldMk cId="4027008501" sldId="362"/>
            <ac:spMk id="140" creationId="{995ABC59-F07B-2A6B-E371-6B58815C820F}"/>
          </ac:spMkLst>
        </pc:spChg>
        <pc:spChg chg="add del mod replST">
          <ac:chgData name="Merlin Gutter" userId="2abc6f04-74af-430b-bdc8-569c3bfa1dda" providerId="ADAL" clId="{CB1EFBC3-10F5-3048-8961-5969497C0019}" dt="2022-11-13T01:15:40.986" v="54676"/>
          <ac:spMkLst>
            <pc:docMk/>
            <pc:sldMk cId="4027008501" sldId="362"/>
            <ac:spMk id="141" creationId="{08B3CF0E-168B-FD45-758D-71B5E2C25E8D}"/>
          </ac:spMkLst>
        </pc:spChg>
        <pc:spChg chg="add del mod replST">
          <ac:chgData name="Merlin Gutter" userId="2abc6f04-74af-430b-bdc8-569c3bfa1dda" providerId="ADAL" clId="{CB1EFBC3-10F5-3048-8961-5969497C0019}" dt="2022-11-13T01:15:40.987" v="54681"/>
          <ac:spMkLst>
            <pc:docMk/>
            <pc:sldMk cId="4027008501" sldId="362"/>
            <ac:spMk id="142" creationId="{578517E2-F1FE-D68E-DEA2-ADCBE8740C15}"/>
          </ac:spMkLst>
        </pc:spChg>
        <pc:spChg chg="add del mod replST">
          <ac:chgData name="Merlin Gutter" userId="2abc6f04-74af-430b-bdc8-569c3bfa1dda" providerId="ADAL" clId="{CB1EFBC3-10F5-3048-8961-5969497C0019}" dt="2022-11-13T01:15:40.985" v="54671"/>
          <ac:spMkLst>
            <pc:docMk/>
            <pc:sldMk cId="4027008501" sldId="362"/>
            <ac:spMk id="143" creationId="{DD14D22D-B152-0144-49A1-CB16D4DEAE7C}"/>
          </ac:spMkLst>
        </pc:spChg>
        <pc:spChg chg="add del mod replST">
          <ac:chgData name="Merlin Gutter" userId="2abc6f04-74af-430b-bdc8-569c3bfa1dda" providerId="ADAL" clId="{CB1EFBC3-10F5-3048-8961-5969497C0019}" dt="2022-11-13T01:15:40.990" v="54696"/>
          <ac:spMkLst>
            <pc:docMk/>
            <pc:sldMk cId="4027008501" sldId="362"/>
            <ac:spMk id="144" creationId="{972779A2-C737-9FAF-422F-1F3017E1FFF8}"/>
          </ac:spMkLst>
        </pc:spChg>
        <pc:spChg chg="add del mod replST">
          <ac:chgData name="Merlin Gutter" userId="2abc6f04-74af-430b-bdc8-569c3bfa1dda" providerId="ADAL" clId="{CB1EFBC3-10F5-3048-8961-5969497C0019}" dt="2022-11-13T01:15:40.990" v="54697"/>
          <ac:spMkLst>
            <pc:docMk/>
            <pc:sldMk cId="4027008501" sldId="362"/>
            <ac:spMk id="145" creationId="{7AC40686-4E40-C6A1-E20A-F8B4CB4F3AD8}"/>
          </ac:spMkLst>
        </pc:spChg>
        <pc:spChg chg="add del mod replST">
          <ac:chgData name="Merlin Gutter" userId="2abc6f04-74af-430b-bdc8-569c3bfa1dda" providerId="ADAL" clId="{CB1EFBC3-10F5-3048-8961-5969497C0019}" dt="2022-11-13T01:15:40.990" v="54698"/>
          <ac:spMkLst>
            <pc:docMk/>
            <pc:sldMk cId="4027008501" sldId="362"/>
            <ac:spMk id="146" creationId="{EFE7EF36-3478-1DD0-3FD7-DB93C2773EB0}"/>
          </ac:spMkLst>
        </pc:spChg>
        <pc:spChg chg="add del mod replST">
          <ac:chgData name="Merlin Gutter" userId="2abc6f04-74af-430b-bdc8-569c3bfa1dda" providerId="ADAL" clId="{CB1EFBC3-10F5-3048-8961-5969497C0019}" dt="2022-11-13T01:15:40.991" v="54703"/>
          <ac:spMkLst>
            <pc:docMk/>
            <pc:sldMk cId="4027008501" sldId="362"/>
            <ac:spMk id="147" creationId="{FA29487A-4402-1B15-A560-7DF41B2A8352}"/>
          </ac:spMkLst>
        </pc:spChg>
        <pc:spChg chg="add del mod replST">
          <ac:chgData name="Merlin Gutter" userId="2abc6f04-74af-430b-bdc8-569c3bfa1dda" providerId="ADAL" clId="{CB1EFBC3-10F5-3048-8961-5969497C0019}" dt="2022-11-13T01:15:40.993" v="54713"/>
          <ac:spMkLst>
            <pc:docMk/>
            <pc:sldMk cId="4027008501" sldId="362"/>
            <ac:spMk id="148" creationId="{F664D887-8534-D264-5EE8-81DABA811AD0}"/>
          </ac:spMkLst>
        </pc:spChg>
        <pc:spChg chg="add del mod replST">
          <ac:chgData name="Merlin Gutter" userId="2abc6f04-74af-430b-bdc8-569c3bfa1dda" providerId="ADAL" clId="{CB1EFBC3-10F5-3048-8961-5969497C0019}" dt="2022-11-13T01:15:40.991" v="54700"/>
          <ac:spMkLst>
            <pc:docMk/>
            <pc:sldMk cId="4027008501" sldId="362"/>
            <ac:spMk id="149" creationId="{1660FB55-9F23-B26A-3A09-E37CF90F73CA}"/>
          </ac:spMkLst>
        </pc:spChg>
        <pc:spChg chg="add del mod replST">
          <ac:chgData name="Merlin Gutter" userId="2abc6f04-74af-430b-bdc8-569c3bfa1dda" providerId="ADAL" clId="{CB1EFBC3-10F5-3048-8961-5969497C0019}" dt="2022-11-13T01:15:40.993" v="54709"/>
          <ac:spMkLst>
            <pc:docMk/>
            <pc:sldMk cId="4027008501" sldId="362"/>
            <ac:spMk id="150" creationId="{0D29C39E-F2EF-F6F8-626C-DFF5AA585A83}"/>
          </ac:spMkLst>
        </pc:spChg>
        <pc:spChg chg="add del mod replST">
          <ac:chgData name="Merlin Gutter" userId="2abc6f04-74af-430b-bdc8-569c3bfa1dda" providerId="ADAL" clId="{CB1EFBC3-10F5-3048-8961-5969497C0019}" dt="2022-11-13T01:15:40.987" v="54684"/>
          <ac:spMkLst>
            <pc:docMk/>
            <pc:sldMk cId="4027008501" sldId="362"/>
            <ac:spMk id="151" creationId="{6203F2F5-E415-4903-0BD5-F13812216840}"/>
          </ac:spMkLst>
        </pc:spChg>
        <pc:spChg chg="add del mod replST">
          <ac:chgData name="Merlin Gutter" userId="2abc6f04-74af-430b-bdc8-569c3bfa1dda" providerId="ADAL" clId="{CB1EFBC3-10F5-3048-8961-5969497C0019}" dt="2022-11-13T01:15:40.986" v="54675"/>
          <ac:spMkLst>
            <pc:docMk/>
            <pc:sldMk cId="4027008501" sldId="362"/>
            <ac:spMk id="152" creationId="{FDD022B4-9263-1D0B-0FA7-25997597224A}"/>
          </ac:spMkLst>
        </pc:spChg>
        <pc:spChg chg="add del mod replST">
          <ac:chgData name="Merlin Gutter" userId="2abc6f04-74af-430b-bdc8-569c3bfa1dda" providerId="ADAL" clId="{CB1EFBC3-10F5-3048-8961-5969497C0019}" dt="2022-11-13T01:15:40.992" v="54705"/>
          <ac:spMkLst>
            <pc:docMk/>
            <pc:sldMk cId="4027008501" sldId="362"/>
            <ac:spMk id="153" creationId="{487FF4C6-75BC-74B7-595C-048CA566E232}"/>
          </ac:spMkLst>
        </pc:spChg>
        <pc:spChg chg="add del mod replST">
          <ac:chgData name="Merlin Gutter" userId="2abc6f04-74af-430b-bdc8-569c3bfa1dda" providerId="ADAL" clId="{CB1EFBC3-10F5-3048-8961-5969497C0019}" dt="2022-11-13T01:15:40.991" v="54701"/>
          <ac:spMkLst>
            <pc:docMk/>
            <pc:sldMk cId="4027008501" sldId="362"/>
            <ac:spMk id="154" creationId="{1BE0DC21-9A03-D7B6-1A07-B82C5056D735}"/>
          </ac:spMkLst>
        </pc:spChg>
        <pc:spChg chg="add del mod replST">
          <ac:chgData name="Merlin Gutter" userId="2abc6f04-74af-430b-bdc8-569c3bfa1dda" providerId="ADAL" clId="{CB1EFBC3-10F5-3048-8961-5969497C0019}" dt="2022-11-13T01:15:40.992" v="54706"/>
          <ac:spMkLst>
            <pc:docMk/>
            <pc:sldMk cId="4027008501" sldId="362"/>
            <ac:spMk id="155" creationId="{B9FB4172-78EC-1DBD-430E-8D44879E9715}"/>
          </ac:spMkLst>
        </pc:spChg>
        <pc:spChg chg="add del mod replST">
          <ac:chgData name="Merlin Gutter" userId="2abc6f04-74af-430b-bdc8-569c3bfa1dda" providerId="ADAL" clId="{CB1EFBC3-10F5-3048-8961-5969497C0019}" dt="2022-11-13T01:15:40.991" v="54704"/>
          <ac:spMkLst>
            <pc:docMk/>
            <pc:sldMk cId="4027008501" sldId="362"/>
            <ac:spMk id="156" creationId="{D2E26725-795F-692E-D465-B3D5673AA974}"/>
          </ac:spMkLst>
        </pc:spChg>
        <pc:spChg chg="add del mod replST">
          <ac:chgData name="Merlin Gutter" userId="2abc6f04-74af-430b-bdc8-569c3bfa1dda" providerId="ADAL" clId="{CB1EFBC3-10F5-3048-8961-5969497C0019}" dt="2022-11-13T01:15:40.992" v="54708"/>
          <ac:spMkLst>
            <pc:docMk/>
            <pc:sldMk cId="4027008501" sldId="362"/>
            <ac:spMk id="157" creationId="{060DBE4B-0768-E5A2-73A8-A9CEF6967041}"/>
          </ac:spMkLst>
        </pc:spChg>
        <pc:spChg chg="add del mod replST">
          <ac:chgData name="Merlin Gutter" userId="2abc6f04-74af-430b-bdc8-569c3bfa1dda" providerId="ADAL" clId="{CB1EFBC3-10F5-3048-8961-5969497C0019}" dt="2022-11-13T01:15:40.990" v="54695"/>
          <ac:spMkLst>
            <pc:docMk/>
            <pc:sldMk cId="4027008501" sldId="362"/>
            <ac:spMk id="158" creationId="{2B7BE101-9172-0609-7E48-D9C5B7F4AE01}"/>
          </ac:spMkLst>
        </pc:spChg>
        <pc:spChg chg="add del mod replST">
          <ac:chgData name="Merlin Gutter" userId="2abc6f04-74af-430b-bdc8-569c3bfa1dda" providerId="ADAL" clId="{CB1EFBC3-10F5-3048-8961-5969497C0019}" dt="2022-11-13T01:15:40.993" v="54711"/>
          <ac:spMkLst>
            <pc:docMk/>
            <pc:sldMk cId="4027008501" sldId="362"/>
            <ac:spMk id="159" creationId="{36BBC77D-07A7-CC56-DF9A-F863D16FCFC3}"/>
          </ac:spMkLst>
        </pc:spChg>
        <pc:spChg chg="add del mod replST">
          <ac:chgData name="Merlin Gutter" userId="2abc6f04-74af-430b-bdc8-569c3bfa1dda" providerId="ADAL" clId="{CB1EFBC3-10F5-3048-8961-5969497C0019}" dt="2022-11-13T01:15:40.993" v="54712"/>
          <ac:spMkLst>
            <pc:docMk/>
            <pc:sldMk cId="4027008501" sldId="362"/>
            <ac:spMk id="160" creationId="{0314C8F0-3CD9-EEF6-ADED-D49E7D8353FC}"/>
          </ac:spMkLst>
        </pc:spChg>
        <pc:spChg chg="add del mod replST">
          <ac:chgData name="Merlin Gutter" userId="2abc6f04-74af-430b-bdc8-569c3bfa1dda" providerId="ADAL" clId="{CB1EFBC3-10F5-3048-8961-5969497C0019}" dt="2022-11-13T01:15:40.985" v="54672"/>
          <ac:spMkLst>
            <pc:docMk/>
            <pc:sldMk cId="4027008501" sldId="362"/>
            <ac:spMk id="161" creationId="{B2FF1CBD-0CCC-417F-818E-F1A8E08F58EB}"/>
          </ac:spMkLst>
        </pc:spChg>
        <pc:spChg chg="add del mod replST">
          <ac:chgData name="Merlin Gutter" userId="2abc6f04-74af-430b-bdc8-569c3bfa1dda" providerId="ADAL" clId="{CB1EFBC3-10F5-3048-8961-5969497C0019}" dt="2022-11-13T01:15:40.992" v="54707"/>
          <ac:spMkLst>
            <pc:docMk/>
            <pc:sldMk cId="4027008501" sldId="362"/>
            <ac:spMk id="162" creationId="{27977A41-AB41-C72B-02F1-F456C6EB7DCB}"/>
          </ac:spMkLst>
        </pc:spChg>
        <pc:spChg chg="add del mod replST">
          <ac:chgData name="Merlin Gutter" userId="2abc6f04-74af-430b-bdc8-569c3bfa1dda" providerId="ADAL" clId="{CB1EFBC3-10F5-3048-8961-5969497C0019}" dt="2022-11-13T01:15:40.989" v="54694"/>
          <ac:spMkLst>
            <pc:docMk/>
            <pc:sldMk cId="4027008501" sldId="362"/>
            <ac:spMk id="163" creationId="{5C4E85DC-2CE8-41D1-B83A-03F8C561A0CE}"/>
          </ac:spMkLst>
        </pc:spChg>
        <pc:spChg chg="add del mod replST">
          <ac:chgData name="Merlin Gutter" userId="2abc6f04-74af-430b-bdc8-569c3bfa1dda" providerId="ADAL" clId="{CB1EFBC3-10F5-3048-8961-5969497C0019}" dt="2022-11-13T01:15:40.984" v="54665"/>
          <ac:spMkLst>
            <pc:docMk/>
            <pc:sldMk cId="4027008501" sldId="362"/>
            <ac:spMk id="164" creationId="{3448B320-747D-C22C-8C36-4F04CD473BF9}"/>
          </ac:spMkLst>
        </pc:spChg>
        <pc:spChg chg="add del mod replST">
          <ac:chgData name="Merlin Gutter" userId="2abc6f04-74af-430b-bdc8-569c3bfa1dda" providerId="ADAL" clId="{CB1EFBC3-10F5-3048-8961-5969497C0019}" dt="2022-11-13T01:15:40.984" v="54669"/>
          <ac:spMkLst>
            <pc:docMk/>
            <pc:sldMk cId="4027008501" sldId="362"/>
            <ac:spMk id="165" creationId="{35F8EC9B-E066-6A85-AD3B-7C759E5052E6}"/>
          </ac:spMkLst>
        </pc:spChg>
        <pc:spChg chg="add del mod replST">
          <ac:chgData name="Merlin Gutter" userId="2abc6f04-74af-430b-bdc8-569c3bfa1dda" providerId="ADAL" clId="{CB1EFBC3-10F5-3048-8961-5969497C0019}" dt="2022-11-13T01:15:40.986" v="54679"/>
          <ac:spMkLst>
            <pc:docMk/>
            <pc:sldMk cId="4027008501" sldId="362"/>
            <ac:spMk id="166" creationId="{9E75DBEC-F848-151D-59CF-CF802B007ED5}"/>
          </ac:spMkLst>
        </pc:spChg>
        <pc:spChg chg="add del mod replST">
          <ac:chgData name="Merlin Gutter" userId="2abc6f04-74af-430b-bdc8-569c3bfa1dda" providerId="ADAL" clId="{CB1EFBC3-10F5-3048-8961-5969497C0019}" dt="2022-11-13T01:15:40.988" v="54687"/>
          <ac:spMkLst>
            <pc:docMk/>
            <pc:sldMk cId="4027008501" sldId="362"/>
            <ac:spMk id="167" creationId="{C9D964D3-5384-A093-D3E1-75F979956F26}"/>
          </ac:spMkLst>
        </pc:spChg>
        <pc:spChg chg="add del mod replST">
          <ac:chgData name="Merlin Gutter" userId="2abc6f04-74af-430b-bdc8-569c3bfa1dda" providerId="ADAL" clId="{CB1EFBC3-10F5-3048-8961-5969497C0019}" dt="2022-11-13T01:15:40.988" v="54689"/>
          <ac:spMkLst>
            <pc:docMk/>
            <pc:sldMk cId="4027008501" sldId="362"/>
            <ac:spMk id="168" creationId="{26219115-148A-1BA4-7641-BE8C47E30640}"/>
          </ac:spMkLst>
        </pc:spChg>
        <pc:spChg chg="add del mod replST">
          <ac:chgData name="Merlin Gutter" userId="2abc6f04-74af-430b-bdc8-569c3bfa1dda" providerId="ADAL" clId="{CB1EFBC3-10F5-3048-8961-5969497C0019}" dt="2022-11-13T01:15:40.986" v="54678"/>
          <ac:spMkLst>
            <pc:docMk/>
            <pc:sldMk cId="4027008501" sldId="362"/>
            <ac:spMk id="169" creationId="{BC95B0D2-88F3-A643-2A2D-34F6A89CB1DF}"/>
          </ac:spMkLst>
        </pc:spChg>
        <pc:spChg chg="add del mod replST">
          <ac:chgData name="Merlin Gutter" userId="2abc6f04-74af-430b-bdc8-569c3bfa1dda" providerId="ADAL" clId="{CB1EFBC3-10F5-3048-8961-5969497C0019}" dt="2022-11-13T01:15:40.983" v="54664"/>
          <ac:spMkLst>
            <pc:docMk/>
            <pc:sldMk cId="4027008501" sldId="362"/>
            <ac:spMk id="170" creationId="{C655087D-AF87-8885-6B98-070818D2B9D8}"/>
          </ac:spMkLst>
        </pc:spChg>
        <pc:spChg chg="add del mod replST">
          <ac:chgData name="Merlin Gutter" userId="2abc6f04-74af-430b-bdc8-569c3bfa1dda" providerId="ADAL" clId="{CB1EFBC3-10F5-3048-8961-5969497C0019}" dt="2022-11-13T01:15:40.989" v="54692"/>
          <ac:spMkLst>
            <pc:docMk/>
            <pc:sldMk cId="4027008501" sldId="362"/>
            <ac:spMk id="171" creationId="{9ECE62BE-B535-650F-267D-7E23F4B7E401}"/>
          </ac:spMkLst>
        </pc:spChg>
        <pc:spChg chg="add del mod replST">
          <ac:chgData name="Merlin Gutter" userId="2abc6f04-74af-430b-bdc8-569c3bfa1dda" providerId="ADAL" clId="{CB1EFBC3-10F5-3048-8961-5969497C0019}" dt="2022-11-13T01:15:40.988" v="54688"/>
          <ac:spMkLst>
            <pc:docMk/>
            <pc:sldMk cId="4027008501" sldId="362"/>
            <ac:spMk id="172" creationId="{DA7E4DEF-A5C0-3F5C-ACE7-35DCF57E0E47}"/>
          </ac:spMkLst>
        </pc:spChg>
        <pc:spChg chg="add del mod replST">
          <ac:chgData name="Merlin Gutter" userId="2abc6f04-74af-430b-bdc8-569c3bfa1dda" providerId="ADAL" clId="{CB1EFBC3-10F5-3048-8961-5969497C0019}" dt="2022-11-13T01:15:40.989" v="54690"/>
          <ac:spMkLst>
            <pc:docMk/>
            <pc:sldMk cId="4027008501" sldId="362"/>
            <ac:spMk id="173" creationId="{0554C27D-A1F7-6F82-5906-3AC2476CF0A8}"/>
          </ac:spMkLst>
        </pc:spChg>
        <pc:spChg chg="add del mod replST">
          <ac:chgData name="Merlin Gutter" userId="2abc6f04-74af-430b-bdc8-569c3bfa1dda" providerId="ADAL" clId="{CB1EFBC3-10F5-3048-8961-5969497C0019}" dt="2022-11-13T01:15:40.989" v="54691"/>
          <ac:spMkLst>
            <pc:docMk/>
            <pc:sldMk cId="4027008501" sldId="362"/>
            <ac:spMk id="174" creationId="{FDA60125-CB12-7656-A25D-E2EACDFBF9AA}"/>
          </ac:spMkLst>
        </pc:spChg>
        <pc:spChg chg="add del mod modVis">
          <ac:chgData name="Merlin Gutter" userId="2abc6f04-74af-430b-bdc8-569c3bfa1dda" providerId="ADAL" clId="{CB1EFBC3-10F5-3048-8961-5969497C0019}" dt="2022-11-12T16:50:30.308" v="12261"/>
          <ac:spMkLst>
            <pc:docMk/>
            <pc:sldMk cId="4027008501" sldId="362"/>
            <ac:spMk id="176" creationId="{11006487-BCDB-80CA-4E4B-DB9FF39B8477}"/>
          </ac:spMkLst>
        </pc:spChg>
        <pc:spChg chg="add del mod modVis">
          <ac:chgData name="Merlin Gutter" userId="2abc6f04-74af-430b-bdc8-569c3bfa1dda" providerId="ADAL" clId="{CB1EFBC3-10F5-3048-8961-5969497C0019}" dt="2022-11-12T16:50:41.661" v="12919"/>
          <ac:spMkLst>
            <pc:docMk/>
            <pc:sldMk cId="4027008501" sldId="362"/>
            <ac:spMk id="178" creationId="{C27CDB3B-AC67-0F3C-4C64-DB4C1FDC866A}"/>
          </ac:spMkLst>
        </pc:spChg>
        <pc:spChg chg="add del mod modVis">
          <ac:chgData name="Merlin Gutter" userId="2abc6f04-74af-430b-bdc8-569c3bfa1dda" providerId="ADAL" clId="{CB1EFBC3-10F5-3048-8961-5969497C0019}" dt="2022-11-12T16:51:06.812" v="13773"/>
          <ac:spMkLst>
            <pc:docMk/>
            <pc:sldMk cId="4027008501" sldId="362"/>
            <ac:spMk id="180" creationId="{833FA4E7-3A12-7F5A-5623-366316B987CC}"/>
          </ac:spMkLst>
        </pc:spChg>
        <pc:spChg chg="add del mod replST">
          <ac:chgData name="Merlin Gutter" userId="2abc6f04-74af-430b-bdc8-569c3bfa1dda" providerId="ADAL" clId="{CB1EFBC3-10F5-3048-8961-5969497C0019}" dt="2022-11-12T16:51:17.023" v="14319"/>
          <ac:spMkLst>
            <pc:docMk/>
            <pc:sldMk cId="4027008501" sldId="362"/>
            <ac:spMk id="181" creationId="{0783F4C3-2F18-A637-8308-9CE04FE0F4DD}"/>
          </ac:spMkLst>
        </pc:spChg>
        <pc:spChg chg="add del mod replST">
          <ac:chgData name="Merlin Gutter" userId="2abc6f04-74af-430b-bdc8-569c3bfa1dda" providerId="ADAL" clId="{CB1EFBC3-10F5-3048-8961-5969497C0019}" dt="2022-11-12T16:51:17.027" v="14335"/>
          <ac:spMkLst>
            <pc:docMk/>
            <pc:sldMk cId="4027008501" sldId="362"/>
            <ac:spMk id="182" creationId="{DB7BC36E-370D-BC6A-5A6E-83495F1C9E4B}"/>
          </ac:spMkLst>
        </pc:spChg>
        <pc:spChg chg="add del mod replST">
          <ac:chgData name="Merlin Gutter" userId="2abc6f04-74af-430b-bdc8-569c3bfa1dda" providerId="ADAL" clId="{CB1EFBC3-10F5-3048-8961-5969497C0019}" dt="2022-11-12T16:51:17.031" v="14352"/>
          <ac:spMkLst>
            <pc:docMk/>
            <pc:sldMk cId="4027008501" sldId="362"/>
            <ac:spMk id="183" creationId="{89A7A9B1-ABD4-6F29-D8AF-0760368CAAEC}"/>
          </ac:spMkLst>
        </pc:spChg>
        <pc:spChg chg="add del mod replST">
          <ac:chgData name="Merlin Gutter" userId="2abc6f04-74af-430b-bdc8-569c3bfa1dda" providerId="ADAL" clId="{CB1EFBC3-10F5-3048-8961-5969497C0019}" dt="2022-11-12T16:51:20.463" v="15203"/>
          <ac:spMkLst>
            <pc:docMk/>
            <pc:sldMk cId="4027008501" sldId="362"/>
            <ac:spMk id="184" creationId="{1309B3E4-AE39-FB1C-6904-F03DB373A4A6}"/>
          </ac:spMkLst>
        </pc:spChg>
        <pc:spChg chg="add del mod replST">
          <ac:chgData name="Merlin Gutter" userId="2abc6f04-74af-430b-bdc8-569c3bfa1dda" providerId="ADAL" clId="{CB1EFBC3-10F5-3048-8961-5969497C0019}" dt="2022-11-12T16:51:20.438" v="15143"/>
          <ac:spMkLst>
            <pc:docMk/>
            <pc:sldMk cId="4027008501" sldId="362"/>
            <ac:spMk id="185" creationId="{7E1618EC-E754-18B5-6582-952EABC5B9E7}"/>
          </ac:spMkLst>
        </pc:spChg>
        <pc:spChg chg="add del mod replST">
          <ac:chgData name="Merlin Gutter" userId="2abc6f04-74af-430b-bdc8-569c3bfa1dda" providerId="ADAL" clId="{CB1EFBC3-10F5-3048-8961-5969497C0019}" dt="2022-11-12T16:51:20.438" v="15140"/>
          <ac:spMkLst>
            <pc:docMk/>
            <pc:sldMk cId="4027008501" sldId="362"/>
            <ac:spMk id="186" creationId="{E6A4CD91-9543-94DB-EC3C-B10E82F039EF}"/>
          </ac:spMkLst>
        </pc:spChg>
        <pc:spChg chg="add del mod replST">
          <ac:chgData name="Merlin Gutter" userId="2abc6f04-74af-430b-bdc8-569c3bfa1dda" providerId="ADAL" clId="{CB1EFBC3-10F5-3048-8961-5969497C0019}" dt="2022-11-12T16:51:20.463" v="15205"/>
          <ac:spMkLst>
            <pc:docMk/>
            <pc:sldMk cId="4027008501" sldId="362"/>
            <ac:spMk id="187" creationId="{EDFD31F8-8749-1623-FA38-841D1386813C}"/>
          </ac:spMkLst>
        </pc:spChg>
        <pc:spChg chg="add del mod replST">
          <ac:chgData name="Merlin Gutter" userId="2abc6f04-74af-430b-bdc8-569c3bfa1dda" providerId="ADAL" clId="{CB1EFBC3-10F5-3048-8961-5969497C0019}" dt="2022-11-12T16:51:20.437" v="15137"/>
          <ac:spMkLst>
            <pc:docMk/>
            <pc:sldMk cId="4027008501" sldId="362"/>
            <ac:spMk id="188" creationId="{2CCAE0C5-ED1C-40F6-107B-BCE3DCD37EE8}"/>
          </ac:spMkLst>
        </pc:spChg>
        <pc:spChg chg="add del mod replST">
          <ac:chgData name="Merlin Gutter" userId="2abc6f04-74af-430b-bdc8-569c3bfa1dda" providerId="ADAL" clId="{CB1EFBC3-10F5-3048-8961-5969497C0019}" dt="2022-11-12T16:51:20.463" v="15206"/>
          <ac:spMkLst>
            <pc:docMk/>
            <pc:sldMk cId="4027008501" sldId="362"/>
            <ac:spMk id="189" creationId="{DBD1D044-4550-D406-3E1D-1CB5C3F31575}"/>
          </ac:spMkLst>
        </pc:spChg>
        <pc:spChg chg="add del mod replST">
          <ac:chgData name="Merlin Gutter" userId="2abc6f04-74af-430b-bdc8-569c3bfa1dda" providerId="ADAL" clId="{CB1EFBC3-10F5-3048-8961-5969497C0019}" dt="2022-11-12T16:51:20.437" v="15134"/>
          <ac:spMkLst>
            <pc:docMk/>
            <pc:sldMk cId="4027008501" sldId="362"/>
            <ac:spMk id="190" creationId="{8C1E6C62-F58A-9227-FCB1-83DCBA64E9FA}"/>
          </ac:spMkLst>
        </pc:spChg>
        <pc:spChg chg="add del mod replST">
          <ac:chgData name="Merlin Gutter" userId="2abc6f04-74af-430b-bdc8-569c3bfa1dda" providerId="ADAL" clId="{CB1EFBC3-10F5-3048-8961-5969497C0019}" dt="2022-11-12T16:51:20.464" v="15207"/>
          <ac:spMkLst>
            <pc:docMk/>
            <pc:sldMk cId="4027008501" sldId="362"/>
            <ac:spMk id="191" creationId="{30AC8ADE-773D-03BB-842A-AE37D69F9782}"/>
          </ac:spMkLst>
        </pc:spChg>
        <pc:spChg chg="add del mod modVis">
          <ac:chgData name="Merlin Gutter" userId="2abc6f04-74af-430b-bdc8-569c3bfa1dda" providerId="ADAL" clId="{CB1EFBC3-10F5-3048-8961-5969497C0019}" dt="2022-11-12T16:51:13.105" v="14265"/>
          <ac:spMkLst>
            <pc:docMk/>
            <pc:sldMk cId="4027008501" sldId="362"/>
            <ac:spMk id="201" creationId="{047A5A51-0B5D-E915-2F1E-B1A3B205C9B3}"/>
          </ac:spMkLst>
        </pc:spChg>
        <pc:spChg chg="add del mod replST delST">
          <ac:chgData name="Merlin Gutter" userId="2abc6f04-74af-430b-bdc8-569c3bfa1dda" providerId="ADAL" clId="{CB1EFBC3-10F5-3048-8961-5969497C0019}" dt="2022-11-12T16:51:13.105" v="14265"/>
          <ac:spMkLst>
            <pc:docMk/>
            <pc:sldMk cId="4027008501" sldId="362"/>
            <ac:spMk id="202" creationId="{C45B6129-BB2F-581E-C6F1-A899B345F8B7}"/>
          </ac:spMkLst>
        </pc:spChg>
        <pc:spChg chg="add del mod modVis">
          <ac:chgData name="Merlin Gutter" userId="2abc6f04-74af-430b-bdc8-569c3bfa1dda" providerId="ADAL" clId="{CB1EFBC3-10F5-3048-8961-5969497C0019}" dt="2022-11-12T16:51:17.241" v="14814"/>
          <ac:spMkLst>
            <pc:docMk/>
            <pc:sldMk cId="4027008501" sldId="362"/>
            <ac:spMk id="205" creationId="{10D47C63-56F3-58F6-D119-B85F6BFCABBA}"/>
          </ac:spMkLst>
        </pc:spChg>
        <pc:spChg chg="add del mod replST">
          <ac:chgData name="Merlin Gutter" userId="2abc6f04-74af-430b-bdc8-569c3bfa1dda" providerId="ADAL" clId="{CB1EFBC3-10F5-3048-8961-5969497C0019}" dt="2022-11-12T16:51:20.409" v="15082"/>
          <ac:spMkLst>
            <pc:docMk/>
            <pc:sldMk cId="4027008501" sldId="362"/>
            <ac:spMk id="206" creationId="{85D2CE6A-BFC3-59EB-86C6-A5180E49822D}"/>
          </ac:spMkLst>
        </pc:spChg>
        <pc:spChg chg="add del mod replST">
          <ac:chgData name="Merlin Gutter" userId="2abc6f04-74af-430b-bdc8-569c3bfa1dda" providerId="ADAL" clId="{CB1EFBC3-10F5-3048-8961-5969497C0019}" dt="2022-11-12T16:51:20.409" v="15081"/>
          <ac:spMkLst>
            <pc:docMk/>
            <pc:sldMk cId="4027008501" sldId="362"/>
            <ac:spMk id="207" creationId="{B63D6CD4-D957-9EB6-CFC6-41F2E3B15BF0}"/>
          </ac:spMkLst>
        </pc:spChg>
        <pc:spChg chg="add del mod replST">
          <ac:chgData name="Merlin Gutter" userId="2abc6f04-74af-430b-bdc8-569c3bfa1dda" providerId="ADAL" clId="{CB1EFBC3-10F5-3048-8961-5969497C0019}" dt="2022-11-12T16:51:20.404" v="15080"/>
          <ac:spMkLst>
            <pc:docMk/>
            <pc:sldMk cId="4027008501" sldId="362"/>
            <ac:spMk id="208" creationId="{4AF85D65-F119-8D6C-2D78-F4B151B675AE}"/>
          </ac:spMkLst>
        </pc:spChg>
        <pc:spChg chg="add del mod replST">
          <ac:chgData name="Merlin Gutter" userId="2abc6f04-74af-430b-bdc8-569c3bfa1dda" providerId="ADAL" clId="{CB1EFBC3-10F5-3048-8961-5969497C0019}" dt="2022-11-12T16:51:20.463" v="15204"/>
          <ac:spMkLst>
            <pc:docMk/>
            <pc:sldMk cId="4027008501" sldId="362"/>
            <ac:spMk id="209" creationId="{5BFF7F8B-3DD3-097D-45C8-F44039501D8E}"/>
          </ac:spMkLst>
        </pc:spChg>
        <pc:spChg chg="add del mod modVis">
          <ac:chgData name="Merlin Gutter" userId="2abc6f04-74af-430b-bdc8-569c3bfa1dda" providerId="ADAL" clId="{CB1EFBC3-10F5-3048-8961-5969497C0019}" dt="2022-11-12T16:51:19.138" v="15076"/>
          <ac:spMkLst>
            <pc:docMk/>
            <pc:sldMk cId="4027008501" sldId="362"/>
            <ac:spMk id="212" creationId="{A30F690E-D86F-0508-04DC-6A05FB103F4A}"/>
          </ac:spMkLst>
        </pc:spChg>
        <pc:spChg chg="add del mod modVis">
          <ac:chgData name="Merlin Gutter" userId="2abc6f04-74af-430b-bdc8-569c3bfa1dda" providerId="ADAL" clId="{CB1EFBC3-10F5-3048-8961-5969497C0019}" dt="2022-11-12T16:51:20.490" v="15288"/>
          <ac:spMkLst>
            <pc:docMk/>
            <pc:sldMk cId="4027008501" sldId="362"/>
            <ac:spMk id="214" creationId="{CCA35A6B-CFA9-680C-51CE-A5BDD46A9B23}"/>
          </ac:spMkLst>
        </pc:spChg>
        <pc:spChg chg="add del mod modVis">
          <ac:chgData name="Merlin Gutter" userId="2abc6f04-74af-430b-bdc8-569c3bfa1dda" providerId="ADAL" clId="{CB1EFBC3-10F5-3048-8961-5969497C0019}" dt="2022-11-12T16:51:31.911" v="16142"/>
          <ac:spMkLst>
            <pc:docMk/>
            <pc:sldMk cId="4027008501" sldId="362"/>
            <ac:spMk id="216" creationId="{B413EC56-C7BF-A0AC-E1E6-FB14C6987A3A}"/>
          </ac:spMkLst>
        </pc:spChg>
        <pc:spChg chg="add del mod replST">
          <ac:chgData name="Merlin Gutter" userId="2abc6f04-74af-430b-bdc8-569c3bfa1dda" providerId="ADAL" clId="{CB1EFBC3-10F5-3048-8961-5969497C0019}" dt="2022-11-12T16:53:23.195" v="16443"/>
          <ac:spMkLst>
            <pc:docMk/>
            <pc:sldMk cId="4027008501" sldId="362"/>
            <ac:spMk id="217" creationId="{34293D00-340B-E7F2-E94F-E5645FAF185E}"/>
          </ac:spMkLst>
        </pc:spChg>
        <pc:spChg chg="add del mod replST">
          <ac:chgData name="Merlin Gutter" userId="2abc6f04-74af-430b-bdc8-569c3bfa1dda" providerId="ADAL" clId="{CB1EFBC3-10F5-3048-8961-5969497C0019}" dt="2022-11-12T16:53:23.200" v="16459"/>
          <ac:spMkLst>
            <pc:docMk/>
            <pc:sldMk cId="4027008501" sldId="362"/>
            <ac:spMk id="218" creationId="{4BA971E3-3621-122A-566A-FAEABA393E2F}"/>
          </ac:spMkLst>
        </pc:spChg>
        <pc:spChg chg="add del mod replST">
          <ac:chgData name="Merlin Gutter" userId="2abc6f04-74af-430b-bdc8-569c3bfa1dda" providerId="ADAL" clId="{CB1EFBC3-10F5-3048-8961-5969497C0019}" dt="2022-11-12T16:53:23.205" v="16476"/>
          <ac:spMkLst>
            <pc:docMk/>
            <pc:sldMk cId="4027008501" sldId="362"/>
            <ac:spMk id="219" creationId="{2B7064EF-C7EF-A382-6F5B-3CFEB36F585C}"/>
          </ac:spMkLst>
        </pc:spChg>
        <pc:spChg chg="add del mod replST">
          <ac:chgData name="Merlin Gutter" userId="2abc6f04-74af-430b-bdc8-569c3bfa1dda" providerId="ADAL" clId="{CB1EFBC3-10F5-3048-8961-5969497C0019}" dt="2022-11-13T01:15:40.980" v="54646"/>
          <ac:spMkLst>
            <pc:docMk/>
            <pc:sldMk cId="4027008501" sldId="362"/>
            <ac:spMk id="220" creationId="{E4B69861-E3F5-0F16-CC91-A82610558EC4}"/>
          </ac:spMkLst>
        </pc:spChg>
        <pc:spChg chg="add del mod replST">
          <ac:chgData name="Merlin Gutter" userId="2abc6f04-74af-430b-bdc8-569c3bfa1dda" providerId="ADAL" clId="{CB1EFBC3-10F5-3048-8961-5969497C0019}" dt="2022-11-12T17:02:15.334" v="34925"/>
          <ac:spMkLst>
            <pc:docMk/>
            <pc:sldMk cId="4027008501" sldId="362"/>
            <ac:spMk id="221" creationId="{72DD4237-13B2-509A-B093-7EF4546CAFC7}"/>
          </ac:spMkLst>
        </pc:spChg>
        <pc:spChg chg="add del mod replST">
          <ac:chgData name="Merlin Gutter" userId="2abc6f04-74af-430b-bdc8-569c3bfa1dda" providerId="ADAL" clId="{CB1EFBC3-10F5-3048-8961-5969497C0019}" dt="2022-11-12T17:02:15.333" v="34920"/>
          <ac:spMkLst>
            <pc:docMk/>
            <pc:sldMk cId="4027008501" sldId="362"/>
            <ac:spMk id="222" creationId="{0EB342FB-945B-9D96-3266-131AD8EB9FA2}"/>
          </ac:spMkLst>
        </pc:spChg>
        <pc:spChg chg="add del mod replST">
          <ac:chgData name="Merlin Gutter" userId="2abc6f04-74af-430b-bdc8-569c3bfa1dda" providerId="ADAL" clId="{CB1EFBC3-10F5-3048-8961-5969497C0019}" dt="2022-11-13T01:15:40.980" v="54648"/>
          <ac:spMkLst>
            <pc:docMk/>
            <pc:sldMk cId="4027008501" sldId="362"/>
            <ac:spMk id="223" creationId="{8AB1E456-CB01-D0C6-2400-431698263CBE}"/>
          </ac:spMkLst>
        </pc:spChg>
        <pc:spChg chg="add del mod replST">
          <ac:chgData name="Merlin Gutter" userId="2abc6f04-74af-430b-bdc8-569c3bfa1dda" providerId="ADAL" clId="{CB1EFBC3-10F5-3048-8961-5969497C0019}" dt="2022-11-12T17:02:15.332" v="34915"/>
          <ac:spMkLst>
            <pc:docMk/>
            <pc:sldMk cId="4027008501" sldId="362"/>
            <ac:spMk id="224" creationId="{B150ABE0-D0BD-3F72-757A-E15CFFBB7465}"/>
          </ac:spMkLst>
        </pc:spChg>
        <pc:spChg chg="add del mod replST">
          <ac:chgData name="Merlin Gutter" userId="2abc6f04-74af-430b-bdc8-569c3bfa1dda" providerId="ADAL" clId="{CB1EFBC3-10F5-3048-8961-5969497C0019}" dt="2022-11-13T01:15:40.981" v="54651"/>
          <ac:spMkLst>
            <pc:docMk/>
            <pc:sldMk cId="4027008501" sldId="362"/>
            <ac:spMk id="225" creationId="{7E3BCF8A-261D-191B-B446-31C4905B05AF}"/>
          </ac:spMkLst>
        </pc:spChg>
        <pc:spChg chg="add del mod replST">
          <ac:chgData name="Merlin Gutter" userId="2abc6f04-74af-430b-bdc8-569c3bfa1dda" providerId="ADAL" clId="{CB1EFBC3-10F5-3048-8961-5969497C0019}" dt="2022-11-12T17:02:15.331" v="34910"/>
          <ac:spMkLst>
            <pc:docMk/>
            <pc:sldMk cId="4027008501" sldId="362"/>
            <ac:spMk id="226" creationId="{1D533AC0-3C7F-CBEB-8193-D313B95A27AA}"/>
          </ac:spMkLst>
        </pc:spChg>
        <pc:spChg chg="add del mod replST">
          <ac:chgData name="Merlin Gutter" userId="2abc6f04-74af-430b-bdc8-569c3bfa1dda" providerId="ADAL" clId="{CB1EFBC3-10F5-3048-8961-5969497C0019}" dt="2022-11-13T01:15:40.981" v="54649"/>
          <ac:spMkLst>
            <pc:docMk/>
            <pc:sldMk cId="4027008501" sldId="362"/>
            <ac:spMk id="227" creationId="{5706404A-C5A3-7F57-5FF3-E2871360F7FB}"/>
          </ac:spMkLst>
        </pc:spChg>
        <pc:spChg chg="add del mod modVis">
          <ac:chgData name="Merlin Gutter" userId="2abc6f04-74af-430b-bdc8-569c3bfa1dda" providerId="ADAL" clId="{CB1EFBC3-10F5-3048-8961-5969497C0019}" dt="2022-11-12T16:52:27.237" v="16387"/>
          <ac:spMkLst>
            <pc:docMk/>
            <pc:sldMk cId="4027008501" sldId="362"/>
            <ac:spMk id="237" creationId="{FA556DC0-9E71-B2D1-3E8D-D353BE668911}"/>
          </ac:spMkLst>
        </pc:spChg>
        <pc:spChg chg="add del mod modVis">
          <ac:chgData name="Merlin Gutter" userId="2abc6f04-74af-430b-bdc8-569c3bfa1dda" providerId="ADAL" clId="{CB1EFBC3-10F5-3048-8961-5969497C0019}" dt="2022-11-12T16:53:23.284" v="16730"/>
          <ac:spMkLst>
            <pc:docMk/>
            <pc:sldMk cId="4027008501" sldId="362"/>
            <ac:spMk id="239" creationId="{791385A9-A69F-223A-6CFB-116CD47E10B1}"/>
          </ac:spMkLst>
        </pc:spChg>
        <pc:spChg chg="add del mod replST">
          <ac:chgData name="Merlin Gutter" userId="2abc6f04-74af-430b-bdc8-569c3bfa1dda" providerId="ADAL" clId="{CB1EFBC3-10F5-3048-8961-5969497C0019}" dt="2022-11-12T16:54:08.216" v="18031"/>
          <ac:spMkLst>
            <pc:docMk/>
            <pc:sldMk cId="4027008501" sldId="362"/>
            <ac:spMk id="240" creationId="{FA16E939-30CA-B584-4980-E4F5A686FACD}"/>
          </ac:spMkLst>
        </pc:spChg>
        <pc:spChg chg="add del mod replST">
          <ac:chgData name="Merlin Gutter" userId="2abc6f04-74af-430b-bdc8-569c3bfa1dda" providerId="ADAL" clId="{CB1EFBC3-10F5-3048-8961-5969497C0019}" dt="2022-11-12T16:54:08.220" v="18047"/>
          <ac:spMkLst>
            <pc:docMk/>
            <pc:sldMk cId="4027008501" sldId="362"/>
            <ac:spMk id="241" creationId="{B3D09B36-2FC0-BE3E-402A-04C0A7712C8E}"/>
          </ac:spMkLst>
        </pc:spChg>
        <pc:spChg chg="add del mod replST">
          <ac:chgData name="Merlin Gutter" userId="2abc6f04-74af-430b-bdc8-569c3bfa1dda" providerId="ADAL" clId="{CB1EFBC3-10F5-3048-8961-5969497C0019}" dt="2022-11-12T16:54:08.224" v="18064"/>
          <ac:spMkLst>
            <pc:docMk/>
            <pc:sldMk cId="4027008501" sldId="362"/>
            <ac:spMk id="242" creationId="{98AAB47E-E95B-B6BC-2DCE-9803B14E5F7F}"/>
          </ac:spMkLst>
        </pc:spChg>
        <pc:spChg chg="add del mod modVis">
          <ac:chgData name="Merlin Gutter" userId="2abc6f04-74af-430b-bdc8-569c3bfa1dda" providerId="ADAL" clId="{CB1EFBC3-10F5-3048-8961-5969497C0019}" dt="2022-11-12T16:53:55.830" v="17977"/>
          <ac:spMkLst>
            <pc:docMk/>
            <pc:sldMk cId="4027008501" sldId="362"/>
            <ac:spMk id="244" creationId="{8DA5B14D-5C74-441A-2B33-18F1E235ECBB}"/>
          </ac:spMkLst>
        </pc:spChg>
        <pc:spChg chg="add del mod modVis">
          <ac:chgData name="Merlin Gutter" userId="2abc6f04-74af-430b-bdc8-569c3bfa1dda" providerId="ADAL" clId="{CB1EFBC3-10F5-3048-8961-5969497C0019}" dt="2022-11-12T16:53:54.455" v="17916"/>
          <ac:spMkLst>
            <pc:docMk/>
            <pc:sldMk cId="4027008501" sldId="362"/>
            <ac:spMk id="246" creationId="{DAB4EBA3-2008-E93A-3DA4-6CF7EE78C11A}"/>
          </ac:spMkLst>
        </pc:spChg>
        <pc:spChg chg="add del mod modVis">
          <ac:chgData name="Merlin Gutter" userId="2abc6f04-74af-430b-bdc8-569c3bfa1dda" providerId="ADAL" clId="{CB1EFBC3-10F5-3048-8961-5969497C0019}" dt="2022-11-12T16:53:52.157" v="17855"/>
          <ac:spMkLst>
            <pc:docMk/>
            <pc:sldMk cId="4027008501" sldId="362"/>
            <ac:spMk id="248" creationId="{0DD15DDE-636A-754F-894B-B1D6A873A472}"/>
          </ac:spMkLst>
        </pc:spChg>
        <pc:spChg chg="add del mod modVis">
          <ac:chgData name="Merlin Gutter" userId="2abc6f04-74af-430b-bdc8-569c3bfa1dda" providerId="ADAL" clId="{CB1EFBC3-10F5-3048-8961-5969497C0019}" dt="2022-11-12T16:53:51.575" v="17794"/>
          <ac:spMkLst>
            <pc:docMk/>
            <pc:sldMk cId="4027008501" sldId="362"/>
            <ac:spMk id="250" creationId="{E2E2E57F-178F-FD54-36FD-8688270F8066}"/>
          </ac:spMkLst>
        </pc:spChg>
        <pc:spChg chg="add del mod modVis">
          <ac:chgData name="Merlin Gutter" userId="2abc6f04-74af-430b-bdc8-569c3bfa1dda" providerId="ADAL" clId="{CB1EFBC3-10F5-3048-8961-5969497C0019}" dt="2022-11-12T16:53:50.965" v="17733"/>
          <ac:spMkLst>
            <pc:docMk/>
            <pc:sldMk cId="4027008501" sldId="362"/>
            <ac:spMk id="252" creationId="{698BE1EE-78AF-4085-C2AC-0302BEF5BDD9}"/>
          </ac:spMkLst>
        </pc:spChg>
        <pc:spChg chg="add del mod modVis">
          <ac:chgData name="Merlin Gutter" userId="2abc6f04-74af-430b-bdc8-569c3bfa1dda" providerId="ADAL" clId="{CB1EFBC3-10F5-3048-8961-5969497C0019}" dt="2022-11-12T16:54:08.433" v="18498"/>
          <ac:spMkLst>
            <pc:docMk/>
            <pc:sldMk cId="4027008501" sldId="362"/>
            <ac:spMk id="254" creationId="{8397FFA9-0841-6DDB-EC1C-8867A9F1A584}"/>
          </ac:spMkLst>
        </pc:spChg>
        <pc:spChg chg="add del mod replST">
          <ac:chgData name="Merlin Gutter" userId="2abc6f04-74af-430b-bdc8-569c3bfa1dda" providerId="ADAL" clId="{CB1EFBC3-10F5-3048-8961-5969497C0019}" dt="2022-11-12T16:55:03.726" v="21005"/>
          <ac:spMkLst>
            <pc:docMk/>
            <pc:sldMk cId="4027008501" sldId="362"/>
            <ac:spMk id="255" creationId="{BB6E00DD-63F3-B528-EB0F-4467C214A2C3}"/>
          </ac:spMkLst>
        </pc:spChg>
        <pc:spChg chg="add del mod replST">
          <ac:chgData name="Merlin Gutter" userId="2abc6f04-74af-430b-bdc8-569c3bfa1dda" providerId="ADAL" clId="{CB1EFBC3-10F5-3048-8961-5969497C0019}" dt="2022-11-12T16:55:03.731" v="21021"/>
          <ac:spMkLst>
            <pc:docMk/>
            <pc:sldMk cId="4027008501" sldId="362"/>
            <ac:spMk id="256" creationId="{E6AF7DBF-3B7A-6DE2-3F49-570A221E90CF}"/>
          </ac:spMkLst>
        </pc:spChg>
        <pc:spChg chg="add del mod replST">
          <ac:chgData name="Merlin Gutter" userId="2abc6f04-74af-430b-bdc8-569c3bfa1dda" providerId="ADAL" clId="{CB1EFBC3-10F5-3048-8961-5969497C0019}" dt="2022-11-12T16:55:03.735" v="21038"/>
          <ac:spMkLst>
            <pc:docMk/>
            <pc:sldMk cId="4027008501" sldId="362"/>
            <ac:spMk id="257" creationId="{58EAA0AA-49F9-C37E-3A56-BCA88ECFEC52}"/>
          </ac:spMkLst>
        </pc:spChg>
        <pc:spChg chg="add del mod replST">
          <ac:chgData name="Merlin Gutter" userId="2abc6f04-74af-430b-bdc8-569c3bfa1dda" providerId="ADAL" clId="{CB1EFBC3-10F5-3048-8961-5969497C0019}" dt="2022-11-12T16:54:10.828" v="18505"/>
          <ac:spMkLst>
            <pc:docMk/>
            <pc:sldMk cId="4027008501" sldId="362"/>
            <ac:spMk id="258" creationId="{8A42F8B1-4F07-17A6-B275-7CB1380EEBFE}"/>
          </ac:spMkLst>
        </pc:spChg>
        <pc:spChg chg="add del mod replST">
          <ac:chgData name="Merlin Gutter" userId="2abc6f04-74af-430b-bdc8-569c3bfa1dda" providerId="ADAL" clId="{CB1EFBC3-10F5-3048-8961-5969497C0019}" dt="2022-11-12T16:54:10.828" v="18504"/>
          <ac:spMkLst>
            <pc:docMk/>
            <pc:sldMk cId="4027008501" sldId="362"/>
            <ac:spMk id="259" creationId="{B836C7CD-CF3D-D832-0C1D-11BD70E7346B}"/>
          </ac:spMkLst>
        </pc:spChg>
        <pc:spChg chg="add del mod modVis">
          <ac:chgData name="Merlin Gutter" userId="2abc6f04-74af-430b-bdc8-569c3bfa1dda" providerId="ADAL" clId="{CB1EFBC3-10F5-3048-8961-5969497C0019}" dt="2022-11-12T16:54:10.934" v="18702"/>
          <ac:spMkLst>
            <pc:docMk/>
            <pc:sldMk cId="4027008501" sldId="362"/>
            <ac:spMk id="262" creationId="{1FDD5B08-B70C-A19A-3A83-42A51553F3AC}"/>
          </ac:spMkLst>
        </pc:spChg>
        <pc:spChg chg="add del mod modVis">
          <ac:chgData name="Merlin Gutter" userId="2abc6f04-74af-430b-bdc8-569c3bfa1dda" providerId="ADAL" clId="{CB1EFBC3-10F5-3048-8961-5969497C0019}" dt="2022-11-12T16:54:18.734" v="19029"/>
          <ac:spMkLst>
            <pc:docMk/>
            <pc:sldMk cId="4027008501" sldId="362"/>
            <ac:spMk id="264" creationId="{FD19EBBA-69CC-B700-D537-47A3091C3FC2}"/>
          </ac:spMkLst>
        </pc:spChg>
        <pc:spChg chg="add del mod replST">
          <ac:chgData name="Merlin Gutter" userId="2abc6f04-74af-430b-bdc8-569c3bfa1dda" providerId="ADAL" clId="{CB1EFBC3-10F5-3048-8961-5969497C0019}" dt="2022-11-12T16:54:28.953" v="19036"/>
          <ac:spMkLst>
            <pc:docMk/>
            <pc:sldMk cId="4027008501" sldId="362"/>
            <ac:spMk id="265" creationId="{0C017292-7686-2AA3-A72A-56E0939B934A}"/>
          </ac:spMkLst>
        </pc:spChg>
        <pc:spChg chg="add del mod replST">
          <ac:chgData name="Merlin Gutter" userId="2abc6f04-74af-430b-bdc8-569c3bfa1dda" providerId="ADAL" clId="{CB1EFBC3-10F5-3048-8961-5969497C0019}" dt="2022-11-12T16:54:28.953" v="19035"/>
          <ac:spMkLst>
            <pc:docMk/>
            <pc:sldMk cId="4027008501" sldId="362"/>
            <ac:spMk id="266" creationId="{1394B8FE-0B5A-0A39-8770-15F557CA00D4}"/>
          </ac:spMkLst>
        </pc:spChg>
        <pc:spChg chg="add del mod modVis">
          <ac:chgData name="Merlin Gutter" userId="2abc6f04-74af-430b-bdc8-569c3bfa1dda" providerId="ADAL" clId="{CB1EFBC3-10F5-3048-8961-5969497C0019}" dt="2022-11-12T16:54:29.043" v="19233"/>
          <ac:spMkLst>
            <pc:docMk/>
            <pc:sldMk cId="4027008501" sldId="362"/>
            <ac:spMk id="269" creationId="{42733F1C-795E-7770-246F-EA266D6A71D5}"/>
          </ac:spMkLst>
        </pc:spChg>
        <pc:spChg chg="add del mod modVis">
          <ac:chgData name="Merlin Gutter" userId="2abc6f04-74af-430b-bdc8-569c3bfa1dda" providerId="ADAL" clId="{CB1EFBC3-10F5-3048-8961-5969497C0019}" dt="2022-11-12T16:54:34.708" v="19432"/>
          <ac:spMkLst>
            <pc:docMk/>
            <pc:sldMk cId="4027008501" sldId="362"/>
            <ac:spMk id="271" creationId="{70C8E9DC-3A47-9937-06B2-3CCED0055402}"/>
          </ac:spMkLst>
        </pc:spChg>
        <pc:spChg chg="add del mod modVis">
          <ac:chgData name="Merlin Gutter" userId="2abc6f04-74af-430b-bdc8-569c3bfa1dda" providerId="ADAL" clId="{CB1EFBC3-10F5-3048-8961-5969497C0019}" dt="2022-11-12T16:54:41.128" v="19631"/>
          <ac:spMkLst>
            <pc:docMk/>
            <pc:sldMk cId="4027008501" sldId="362"/>
            <ac:spMk id="273" creationId="{A58F9F07-04F7-B6EC-A8C8-0AD6A9DD35F0}"/>
          </ac:spMkLst>
        </pc:spChg>
        <pc:spChg chg="add del mod modVis">
          <ac:chgData name="Merlin Gutter" userId="2abc6f04-74af-430b-bdc8-569c3bfa1dda" providerId="ADAL" clId="{CB1EFBC3-10F5-3048-8961-5969497C0019}" dt="2022-11-12T16:54:59.741" v="20644"/>
          <ac:spMkLst>
            <pc:docMk/>
            <pc:sldMk cId="4027008501" sldId="362"/>
            <ac:spMk id="275" creationId="{51D755CE-79E6-C277-BC2C-8905AF24B0D4}"/>
          </ac:spMkLst>
        </pc:spChg>
        <pc:spChg chg="add del mod replST delST">
          <ac:chgData name="Merlin Gutter" userId="2abc6f04-74af-430b-bdc8-569c3bfa1dda" providerId="ADAL" clId="{CB1EFBC3-10F5-3048-8961-5969497C0019}" dt="2022-11-12T16:54:59.741" v="20644"/>
          <ac:spMkLst>
            <pc:docMk/>
            <pc:sldMk cId="4027008501" sldId="362"/>
            <ac:spMk id="276" creationId="{DFDAAAE2-88FA-9140-C99C-8DD0A1EE5681}"/>
          </ac:spMkLst>
        </pc:spChg>
        <pc:spChg chg="add del mod replST delST">
          <ac:chgData name="Merlin Gutter" userId="2abc6f04-74af-430b-bdc8-569c3bfa1dda" providerId="ADAL" clId="{CB1EFBC3-10F5-3048-8961-5969497C0019}" dt="2022-11-12T16:54:59.741" v="20644"/>
          <ac:spMkLst>
            <pc:docMk/>
            <pc:sldMk cId="4027008501" sldId="362"/>
            <ac:spMk id="277" creationId="{E808225A-8735-3018-7BFA-837DEE2EF057}"/>
          </ac:spMkLst>
        </pc:spChg>
        <pc:spChg chg="add del mod replST delST">
          <ac:chgData name="Merlin Gutter" userId="2abc6f04-74af-430b-bdc8-569c3bfa1dda" providerId="ADAL" clId="{CB1EFBC3-10F5-3048-8961-5969497C0019}" dt="2022-11-12T16:54:59.741" v="20644"/>
          <ac:spMkLst>
            <pc:docMk/>
            <pc:sldMk cId="4027008501" sldId="362"/>
            <ac:spMk id="278" creationId="{82565F03-2F6A-8EAE-AB53-4FBB96979AF7}"/>
          </ac:spMkLst>
        </pc:spChg>
        <pc:spChg chg="add del mod replST delST">
          <ac:chgData name="Merlin Gutter" userId="2abc6f04-74af-430b-bdc8-569c3bfa1dda" providerId="ADAL" clId="{CB1EFBC3-10F5-3048-8961-5969497C0019}" dt="2022-11-12T16:54:59.741" v="20644"/>
          <ac:spMkLst>
            <pc:docMk/>
            <pc:sldMk cId="4027008501" sldId="362"/>
            <ac:spMk id="279" creationId="{1E775D5E-67FF-C579-612A-E1369BAF9C12}"/>
          </ac:spMkLst>
        </pc:spChg>
        <pc:spChg chg="add del mod replST delST">
          <ac:chgData name="Merlin Gutter" userId="2abc6f04-74af-430b-bdc8-569c3bfa1dda" providerId="ADAL" clId="{CB1EFBC3-10F5-3048-8961-5969497C0019}" dt="2022-11-12T16:54:59.741" v="20644"/>
          <ac:spMkLst>
            <pc:docMk/>
            <pc:sldMk cId="4027008501" sldId="362"/>
            <ac:spMk id="280" creationId="{85BDD030-AB85-84ED-EEC8-B9CD6175CBC0}"/>
          </ac:spMkLst>
        </pc:spChg>
        <pc:spChg chg="add del mod replST delST">
          <ac:chgData name="Merlin Gutter" userId="2abc6f04-74af-430b-bdc8-569c3bfa1dda" providerId="ADAL" clId="{CB1EFBC3-10F5-3048-8961-5969497C0019}" dt="2022-11-12T16:54:59.741" v="20644"/>
          <ac:spMkLst>
            <pc:docMk/>
            <pc:sldMk cId="4027008501" sldId="362"/>
            <ac:spMk id="281" creationId="{97DAACFA-2AB5-EAA2-75BA-155FFCD55C90}"/>
          </ac:spMkLst>
        </pc:spChg>
        <pc:spChg chg="add del mod replST">
          <ac:chgData name="Merlin Gutter" userId="2abc6f04-74af-430b-bdc8-569c3bfa1dda" providerId="ADAL" clId="{CB1EFBC3-10F5-3048-8961-5969497C0019}" dt="2022-11-13T01:15:40.996" v="54726"/>
          <ac:spMkLst>
            <pc:docMk/>
            <pc:sldMk cId="4027008501" sldId="362"/>
            <ac:spMk id="288" creationId="{AC96D36E-6CAF-B30E-7B16-EA36E1225B72}"/>
          </ac:spMkLst>
        </pc:spChg>
        <pc:spChg chg="add del mod modVis">
          <ac:chgData name="Merlin Gutter" userId="2abc6f04-74af-430b-bdc8-569c3bfa1dda" providerId="ADAL" clId="{CB1EFBC3-10F5-3048-8961-5969497C0019}" dt="2022-11-12T16:55:03.951" v="21513"/>
          <ac:spMkLst>
            <pc:docMk/>
            <pc:sldMk cId="4027008501" sldId="362"/>
            <ac:spMk id="289" creationId="{42B0F729-3E9B-09F9-5811-761BDDB46EC3}"/>
          </ac:spMkLst>
        </pc:spChg>
        <pc:spChg chg="add del mod replST">
          <ac:chgData name="Merlin Gutter" userId="2abc6f04-74af-430b-bdc8-569c3bfa1dda" providerId="ADAL" clId="{CB1EFBC3-10F5-3048-8961-5969497C0019}" dt="2022-11-13T01:15:40.996" v="54724"/>
          <ac:spMkLst>
            <pc:docMk/>
            <pc:sldMk cId="4027008501" sldId="362"/>
            <ac:spMk id="290" creationId="{7F1C03CA-A329-115F-0B5A-AAF40395BD1B}"/>
          </ac:spMkLst>
        </pc:spChg>
        <pc:spChg chg="add del mod replST">
          <ac:chgData name="Merlin Gutter" userId="2abc6f04-74af-430b-bdc8-569c3bfa1dda" providerId="ADAL" clId="{CB1EFBC3-10F5-3048-8961-5969497C0019}" dt="2022-11-13T01:15:40.995" v="54723"/>
          <ac:spMkLst>
            <pc:docMk/>
            <pc:sldMk cId="4027008501" sldId="362"/>
            <ac:spMk id="291" creationId="{31A21AE4-5FC6-C98D-0E70-3EB86EAD7A83}"/>
          </ac:spMkLst>
        </pc:spChg>
        <pc:spChg chg="add del mod replST">
          <ac:chgData name="Merlin Gutter" userId="2abc6f04-74af-430b-bdc8-569c3bfa1dda" providerId="ADAL" clId="{CB1EFBC3-10F5-3048-8961-5969497C0019}" dt="2022-11-13T01:15:40.996" v="54727"/>
          <ac:spMkLst>
            <pc:docMk/>
            <pc:sldMk cId="4027008501" sldId="362"/>
            <ac:spMk id="292" creationId="{C84A9513-74E9-7485-E1F3-BE54A812450A}"/>
          </ac:spMkLst>
        </pc:spChg>
        <pc:spChg chg="add del mod replST">
          <ac:chgData name="Merlin Gutter" userId="2abc6f04-74af-430b-bdc8-569c3bfa1dda" providerId="ADAL" clId="{CB1EFBC3-10F5-3048-8961-5969497C0019}" dt="2022-11-13T01:15:40.996" v="54725"/>
          <ac:spMkLst>
            <pc:docMk/>
            <pc:sldMk cId="4027008501" sldId="362"/>
            <ac:spMk id="293" creationId="{C543F24D-090F-5844-4F15-3BC52DAB79C0}"/>
          </ac:spMkLst>
        </pc:spChg>
        <pc:spChg chg="add del mod replST">
          <ac:chgData name="Merlin Gutter" userId="2abc6f04-74af-430b-bdc8-569c3bfa1dda" providerId="ADAL" clId="{CB1EFBC3-10F5-3048-8961-5969497C0019}" dt="2022-11-13T01:15:40.996" v="54728"/>
          <ac:spMkLst>
            <pc:docMk/>
            <pc:sldMk cId="4027008501" sldId="362"/>
            <ac:spMk id="294" creationId="{903BC470-FC00-5BEA-8070-C6EC566B5F2C}"/>
          </ac:spMkLst>
        </pc:spChg>
        <pc:spChg chg="add del mod replST">
          <ac:chgData name="Merlin Gutter" userId="2abc6f04-74af-430b-bdc8-569c3bfa1dda" providerId="ADAL" clId="{CB1EFBC3-10F5-3048-8961-5969497C0019}" dt="2022-11-12T16:55:50.234" v="22807"/>
          <ac:spMkLst>
            <pc:docMk/>
            <pc:sldMk cId="4027008501" sldId="362"/>
            <ac:spMk id="295" creationId="{6DCFF5D0-DF25-6DE9-522D-16C062B7F641}"/>
          </ac:spMkLst>
        </pc:spChg>
        <pc:spChg chg="add del mod replST">
          <ac:chgData name="Merlin Gutter" userId="2abc6f04-74af-430b-bdc8-569c3bfa1dda" providerId="ADAL" clId="{CB1EFBC3-10F5-3048-8961-5969497C0019}" dt="2022-11-12T16:55:50.238" v="22823"/>
          <ac:spMkLst>
            <pc:docMk/>
            <pc:sldMk cId="4027008501" sldId="362"/>
            <ac:spMk id="296" creationId="{57D46FE6-578D-B2B5-65EC-FC205F4A6A0A}"/>
          </ac:spMkLst>
        </pc:spChg>
        <pc:spChg chg="add del mod replST">
          <ac:chgData name="Merlin Gutter" userId="2abc6f04-74af-430b-bdc8-569c3bfa1dda" providerId="ADAL" clId="{CB1EFBC3-10F5-3048-8961-5969497C0019}" dt="2022-11-12T16:55:50.242" v="22840"/>
          <ac:spMkLst>
            <pc:docMk/>
            <pc:sldMk cId="4027008501" sldId="362"/>
            <ac:spMk id="297" creationId="{9256AD7E-5C4E-2745-FF53-7595413D2298}"/>
          </ac:spMkLst>
        </pc:spChg>
        <pc:spChg chg="add del mod replST">
          <ac:chgData name="Merlin Gutter" userId="2abc6f04-74af-430b-bdc8-569c3bfa1dda" providerId="ADAL" clId="{CB1EFBC3-10F5-3048-8961-5969497C0019}" dt="2022-11-13T01:15:40.995" v="54722"/>
          <ac:spMkLst>
            <pc:docMk/>
            <pc:sldMk cId="4027008501" sldId="362"/>
            <ac:spMk id="299" creationId="{2AA32A3B-B5B6-080D-7EC9-76F5DE375242}"/>
          </ac:spMkLst>
        </pc:spChg>
        <pc:spChg chg="add del mod replST">
          <ac:chgData name="Merlin Gutter" userId="2abc6f04-74af-430b-bdc8-569c3bfa1dda" providerId="ADAL" clId="{CB1EFBC3-10F5-3048-8961-5969497C0019}" dt="2022-11-13T01:15:40.995" v="54719"/>
          <ac:spMkLst>
            <pc:docMk/>
            <pc:sldMk cId="4027008501" sldId="362"/>
            <ac:spMk id="300" creationId="{4147C07B-121F-31CE-49D8-FFCC1F35C415}"/>
          </ac:spMkLst>
        </pc:spChg>
        <pc:spChg chg="add del mod replST">
          <ac:chgData name="Merlin Gutter" userId="2abc6f04-74af-430b-bdc8-569c3bfa1dda" providerId="ADAL" clId="{CB1EFBC3-10F5-3048-8961-5969497C0019}" dt="2022-11-13T01:15:40.995" v="54720"/>
          <ac:spMkLst>
            <pc:docMk/>
            <pc:sldMk cId="4027008501" sldId="362"/>
            <ac:spMk id="301" creationId="{0C4B5EAB-AB30-AF4E-6532-CE160C971A58}"/>
          </ac:spMkLst>
        </pc:spChg>
        <pc:spChg chg="add del mod replST">
          <ac:chgData name="Merlin Gutter" userId="2abc6f04-74af-430b-bdc8-569c3bfa1dda" providerId="ADAL" clId="{CB1EFBC3-10F5-3048-8961-5969497C0019}" dt="2022-11-13T01:15:40.995" v="54721"/>
          <ac:spMkLst>
            <pc:docMk/>
            <pc:sldMk cId="4027008501" sldId="362"/>
            <ac:spMk id="302" creationId="{6841E149-E141-1C32-BE40-6F06DCC69F57}"/>
          </ac:spMkLst>
        </pc:spChg>
        <pc:spChg chg="add del mod replST">
          <ac:chgData name="Merlin Gutter" userId="2abc6f04-74af-430b-bdc8-569c3bfa1dda" providerId="ADAL" clId="{CB1EFBC3-10F5-3048-8961-5969497C0019}" dt="2022-11-13T01:15:40.994" v="54718"/>
          <ac:spMkLst>
            <pc:docMk/>
            <pc:sldMk cId="4027008501" sldId="362"/>
            <ac:spMk id="303" creationId="{9135C931-423E-C0D9-1C2E-21C3F802E253}"/>
          </ac:spMkLst>
        </pc:spChg>
        <pc:spChg chg="add del mod replST">
          <ac:chgData name="Merlin Gutter" userId="2abc6f04-74af-430b-bdc8-569c3bfa1dda" providerId="ADAL" clId="{CB1EFBC3-10F5-3048-8961-5969497C0019}" dt="2022-11-13T01:15:40.994" v="54717"/>
          <ac:spMkLst>
            <pc:docMk/>
            <pc:sldMk cId="4027008501" sldId="362"/>
            <ac:spMk id="304" creationId="{E67D4B80-2963-D00D-E4F8-90B622076ECF}"/>
          </ac:spMkLst>
        </pc:spChg>
        <pc:spChg chg="add del mod modVis">
          <ac:chgData name="Merlin Gutter" userId="2abc6f04-74af-430b-bdc8-569c3bfa1dda" providerId="ADAL" clId="{CB1EFBC3-10F5-3048-8961-5969497C0019}" dt="2022-11-12T16:55:36.435" v="22009"/>
          <ac:spMkLst>
            <pc:docMk/>
            <pc:sldMk cId="4027008501" sldId="362"/>
            <ac:spMk id="305" creationId="{EA993618-8C07-9A7D-6AD0-72B0024CD67C}"/>
          </ac:spMkLst>
        </pc:spChg>
        <pc:spChg chg="add del mod replST">
          <ac:chgData name="Merlin Gutter" userId="2abc6f04-74af-430b-bdc8-569c3bfa1dda" providerId="ADAL" clId="{CB1EFBC3-10F5-3048-8961-5969497C0019}" dt="2022-11-12T16:55:39.536" v="22019"/>
          <ac:spMkLst>
            <pc:docMk/>
            <pc:sldMk cId="4027008501" sldId="362"/>
            <ac:spMk id="306" creationId="{796AD9FF-D3F6-3160-2DB2-B2564F5C73A1}"/>
          </ac:spMkLst>
        </pc:spChg>
        <pc:spChg chg="add del mod modVis">
          <ac:chgData name="Merlin Gutter" userId="2abc6f04-74af-430b-bdc8-569c3bfa1dda" providerId="ADAL" clId="{CB1EFBC3-10F5-3048-8961-5969497C0019}" dt="2022-11-12T16:55:39.627" v="22234"/>
          <ac:spMkLst>
            <pc:docMk/>
            <pc:sldMk cId="4027008501" sldId="362"/>
            <ac:spMk id="311" creationId="{3CAD1682-ECE5-E34B-BC4A-A659295CE843}"/>
          </ac:spMkLst>
        </pc:spChg>
        <pc:spChg chg="add del mod modVis">
          <ac:chgData name="Merlin Gutter" userId="2abc6f04-74af-430b-bdc8-569c3bfa1dda" providerId="ADAL" clId="{CB1EFBC3-10F5-3048-8961-5969497C0019}" dt="2022-11-12T16:55:45.556" v="22578"/>
          <ac:spMkLst>
            <pc:docMk/>
            <pc:sldMk cId="4027008501" sldId="362"/>
            <ac:spMk id="313" creationId="{44792BC0-0C38-69B0-1F65-26112175D6AE}"/>
          </ac:spMkLst>
        </pc:spChg>
        <pc:spChg chg="add del mod replST">
          <ac:chgData name="Merlin Gutter" userId="2abc6f04-74af-430b-bdc8-569c3bfa1dda" providerId="ADAL" clId="{CB1EFBC3-10F5-3048-8961-5969497C0019}" dt="2022-11-12T16:55:50.166" v="22724"/>
          <ac:spMkLst>
            <pc:docMk/>
            <pc:sldMk cId="4027008501" sldId="362"/>
            <ac:spMk id="314" creationId="{A101A3EA-9CB0-2D01-3F9A-807EBDB0081F}"/>
          </ac:spMkLst>
        </pc:spChg>
        <pc:spChg chg="add del mod modVis">
          <ac:chgData name="Merlin Gutter" userId="2abc6f04-74af-430b-bdc8-569c3bfa1dda" providerId="ADAL" clId="{CB1EFBC3-10F5-3048-8961-5969497C0019}" dt="2022-11-12T16:55:50.411" v="23171"/>
          <ac:spMkLst>
            <pc:docMk/>
            <pc:sldMk cId="4027008501" sldId="362"/>
            <ac:spMk id="319" creationId="{EBD874D5-B399-AF50-2C3B-39CA07D8C80D}"/>
          </ac:spMkLst>
        </pc:spChg>
        <pc:spChg chg="add del mod replST">
          <ac:chgData name="Merlin Gutter" userId="2abc6f04-74af-430b-bdc8-569c3bfa1dda" providerId="ADAL" clId="{CB1EFBC3-10F5-3048-8961-5969497C0019}" dt="2022-11-12T16:57:54.595" v="26404"/>
          <ac:spMkLst>
            <pc:docMk/>
            <pc:sldMk cId="4027008501" sldId="362"/>
            <ac:spMk id="320" creationId="{4704CAC5-D704-B450-DCC2-B45C3614A2E2}"/>
          </ac:spMkLst>
        </pc:spChg>
        <pc:spChg chg="add del mod replST">
          <ac:chgData name="Merlin Gutter" userId="2abc6f04-74af-430b-bdc8-569c3bfa1dda" providerId="ADAL" clId="{CB1EFBC3-10F5-3048-8961-5969497C0019}" dt="2022-11-12T16:57:54.599" v="26420"/>
          <ac:spMkLst>
            <pc:docMk/>
            <pc:sldMk cId="4027008501" sldId="362"/>
            <ac:spMk id="321" creationId="{C689AE4A-D4C4-B740-0A5E-C41A1143B306}"/>
          </ac:spMkLst>
        </pc:spChg>
        <pc:spChg chg="add del mod replST">
          <ac:chgData name="Merlin Gutter" userId="2abc6f04-74af-430b-bdc8-569c3bfa1dda" providerId="ADAL" clId="{CB1EFBC3-10F5-3048-8961-5969497C0019}" dt="2022-11-12T16:57:54.603" v="26437"/>
          <ac:spMkLst>
            <pc:docMk/>
            <pc:sldMk cId="4027008501" sldId="362"/>
            <ac:spMk id="322" creationId="{EBB213A2-C5B9-DEEC-EDF1-B28D9BC86C4E}"/>
          </ac:spMkLst>
        </pc:spChg>
        <pc:spChg chg="add del mod modVis">
          <ac:chgData name="Merlin Gutter" userId="2abc6f04-74af-430b-bdc8-569c3bfa1dda" providerId="ADAL" clId="{CB1EFBC3-10F5-3048-8961-5969497C0019}" dt="2022-11-12T16:55:52.736" v="23513"/>
          <ac:spMkLst>
            <pc:docMk/>
            <pc:sldMk cId="4027008501" sldId="362"/>
            <ac:spMk id="324" creationId="{00CB77F8-29BE-7C58-FBE5-DF0A86605D17}"/>
          </ac:spMkLst>
        </pc:spChg>
        <pc:spChg chg="add mod replST">
          <ac:chgData name="Merlin Gutter" userId="2abc6f04-74af-430b-bdc8-569c3bfa1dda" providerId="ADAL" clId="{CB1EFBC3-10F5-3048-8961-5969497C0019}" dt="2022-11-13T01:15:40.994" v="54716"/>
          <ac:spMkLst>
            <pc:docMk/>
            <pc:sldMk cId="4027008501" sldId="362"/>
            <ac:spMk id="325" creationId="{D587C69E-A71E-6130-EFF9-F6584C0F6F7D}"/>
          </ac:spMkLst>
        </pc:spChg>
        <pc:spChg chg="add del mod modVis">
          <ac:chgData name="Merlin Gutter" userId="2abc6f04-74af-430b-bdc8-569c3bfa1dda" providerId="ADAL" clId="{CB1EFBC3-10F5-3048-8961-5969497C0019}" dt="2022-11-12T16:56:04.869" v="23803"/>
          <ac:spMkLst>
            <pc:docMk/>
            <pc:sldMk cId="4027008501" sldId="362"/>
            <ac:spMk id="330" creationId="{1F5602FA-B111-7C05-90C8-42A57C45C9C7}"/>
          </ac:spMkLst>
        </pc:spChg>
        <pc:spChg chg="add del mod modVis">
          <ac:chgData name="Merlin Gutter" userId="2abc6f04-74af-430b-bdc8-569c3bfa1dda" providerId="ADAL" clId="{CB1EFBC3-10F5-3048-8961-5969497C0019}" dt="2022-11-12T16:56:07.623" v="24095"/>
          <ac:spMkLst>
            <pc:docMk/>
            <pc:sldMk cId="4027008501" sldId="362"/>
            <ac:spMk id="332" creationId="{3044A22B-9AE8-D5DD-4A27-7C17266C7A02}"/>
          </ac:spMkLst>
        </pc:spChg>
        <pc:spChg chg="add del mod modVis">
          <ac:chgData name="Merlin Gutter" userId="2abc6f04-74af-430b-bdc8-569c3bfa1dda" providerId="ADAL" clId="{CB1EFBC3-10F5-3048-8961-5969497C0019}" dt="2022-11-12T16:56:12.695" v="24373"/>
          <ac:spMkLst>
            <pc:docMk/>
            <pc:sldMk cId="4027008501" sldId="362"/>
            <ac:spMk id="334" creationId="{7765F874-A59B-D80C-AFB0-6BC1E4C23AD7}"/>
          </ac:spMkLst>
        </pc:spChg>
        <pc:spChg chg="add del mod modVis">
          <ac:chgData name="Merlin Gutter" userId="2abc6f04-74af-430b-bdc8-569c3bfa1dda" providerId="ADAL" clId="{CB1EFBC3-10F5-3048-8961-5969497C0019}" dt="2022-11-12T16:56:14.949" v="24651"/>
          <ac:spMkLst>
            <pc:docMk/>
            <pc:sldMk cId="4027008501" sldId="362"/>
            <ac:spMk id="336" creationId="{A71B0402-1547-311F-9682-DA734F80FB6D}"/>
          </ac:spMkLst>
        </pc:spChg>
        <pc:spChg chg="add del mod modVis">
          <ac:chgData name="Merlin Gutter" userId="2abc6f04-74af-430b-bdc8-569c3bfa1dda" providerId="ADAL" clId="{CB1EFBC3-10F5-3048-8961-5969497C0019}" dt="2022-11-12T16:56:18.022" v="24941"/>
          <ac:spMkLst>
            <pc:docMk/>
            <pc:sldMk cId="4027008501" sldId="362"/>
            <ac:spMk id="338" creationId="{A233A20F-5290-FEF2-9ADA-C7A5FAAC30AF}"/>
          </ac:spMkLst>
        </pc:spChg>
        <pc:spChg chg="add del mod modVis">
          <ac:chgData name="Merlin Gutter" userId="2abc6f04-74af-430b-bdc8-569c3bfa1dda" providerId="ADAL" clId="{CB1EFBC3-10F5-3048-8961-5969497C0019}" dt="2022-11-12T16:56:23.814" v="25221"/>
          <ac:spMkLst>
            <pc:docMk/>
            <pc:sldMk cId="4027008501" sldId="362"/>
            <ac:spMk id="340" creationId="{FAA15A8B-AE10-BEAC-B429-A1F709CC2BBC}"/>
          </ac:spMkLst>
        </pc:spChg>
        <pc:spChg chg="add del mod modVis">
          <ac:chgData name="Merlin Gutter" userId="2abc6f04-74af-430b-bdc8-569c3bfa1dda" providerId="ADAL" clId="{CB1EFBC3-10F5-3048-8961-5969497C0019}" dt="2022-11-12T16:56:25.707" v="25511"/>
          <ac:spMkLst>
            <pc:docMk/>
            <pc:sldMk cId="4027008501" sldId="362"/>
            <ac:spMk id="342" creationId="{FEAA0406-F011-8F45-B34E-79916AB7DD37}"/>
          </ac:spMkLst>
        </pc:spChg>
        <pc:spChg chg="add del mod modVis">
          <ac:chgData name="Merlin Gutter" userId="2abc6f04-74af-430b-bdc8-569c3bfa1dda" providerId="ADAL" clId="{CB1EFBC3-10F5-3048-8961-5969497C0019}" dt="2022-11-12T16:56:27.806" v="25801"/>
          <ac:spMkLst>
            <pc:docMk/>
            <pc:sldMk cId="4027008501" sldId="362"/>
            <ac:spMk id="344" creationId="{0B1633A7-26BB-D23A-0A94-333E973C3543}"/>
          </ac:spMkLst>
        </pc:spChg>
        <pc:spChg chg="add del mod modVis">
          <ac:chgData name="Merlin Gutter" userId="2abc6f04-74af-430b-bdc8-569c3bfa1dda" providerId="ADAL" clId="{CB1EFBC3-10F5-3048-8961-5969497C0019}" dt="2022-11-12T16:56:36.689" v="26037"/>
          <ac:spMkLst>
            <pc:docMk/>
            <pc:sldMk cId="4027008501" sldId="362"/>
            <ac:spMk id="346" creationId="{ACAA8147-2EFA-850B-8AD9-546B441827AF}"/>
          </ac:spMkLst>
        </pc:spChg>
        <pc:spChg chg="add del mod modVis">
          <ac:chgData name="Merlin Gutter" userId="2abc6f04-74af-430b-bdc8-569c3bfa1dda" providerId="ADAL" clId="{CB1EFBC3-10F5-3048-8961-5969497C0019}" dt="2022-11-12T16:57:46.967" v="26319"/>
          <ac:spMkLst>
            <pc:docMk/>
            <pc:sldMk cId="4027008501" sldId="362"/>
            <ac:spMk id="348" creationId="{CB53C30D-DA85-1FE7-8FF8-D2E5A55BA261}"/>
          </ac:spMkLst>
        </pc:spChg>
        <pc:spChg chg="add del mod modVis">
          <ac:chgData name="Merlin Gutter" userId="2abc6f04-74af-430b-bdc8-569c3bfa1dda" providerId="ADAL" clId="{CB1EFBC3-10F5-3048-8961-5969497C0019}" dt="2022-11-12T16:57:54.843" v="26897"/>
          <ac:spMkLst>
            <pc:docMk/>
            <pc:sldMk cId="4027008501" sldId="362"/>
            <ac:spMk id="350" creationId="{CA5605CC-E31E-9466-F8A7-328150F21356}"/>
          </ac:spMkLst>
        </pc:spChg>
        <pc:spChg chg="add del mod replST">
          <ac:chgData name="Merlin Gutter" userId="2abc6f04-74af-430b-bdc8-569c3bfa1dda" providerId="ADAL" clId="{CB1EFBC3-10F5-3048-8961-5969497C0019}" dt="2022-11-12T16:58:38.195" v="28914"/>
          <ac:spMkLst>
            <pc:docMk/>
            <pc:sldMk cId="4027008501" sldId="362"/>
            <ac:spMk id="351" creationId="{E263DA90-E60B-5317-A4A3-FD6B8384FD90}"/>
          </ac:spMkLst>
        </pc:spChg>
        <pc:spChg chg="add del mod replST">
          <ac:chgData name="Merlin Gutter" userId="2abc6f04-74af-430b-bdc8-569c3bfa1dda" providerId="ADAL" clId="{CB1EFBC3-10F5-3048-8961-5969497C0019}" dt="2022-11-12T16:58:38.199" v="28930"/>
          <ac:spMkLst>
            <pc:docMk/>
            <pc:sldMk cId="4027008501" sldId="362"/>
            <ac:spMk id="352" creationId="{5ED20144-4ED9-DDF1-1108-EB99CE3B27D1}"/>
          </ac:spMkLst>
        </pc:spChg>
        <pc:spChg chg="add del mod replST">
          <ac:chgData name="Merlin Gutter" userId="2abc6f04-74af-430b-bdc8-569c3bfa1dda" providerId="ADAL" clId="{CB1EFBC3-10F5-3048-8961-5969497C0019}" dt="2022-11-12T16:58:38.204" v="28947"/>
          <ac:spMkLst>
            <pc:docMk/>
            <pc:sldMk cId="4027008501" sldId="362"/>
            <ac:spMk id="353" creationId="{BC75E3EE-04BD-7CC6-CA17-0E136B7C43CF}"/>
          </ac:spMkLst>
        </pc:spChg>
        <pc:spChg chg="add del mod replST">
          <ac:chgData name="Merlin Gutter" userId="2abc6f04-74af-430b-bdc8-569c3bfa1dda" providerId="ADAL" clId="{CB1EFBC3-10F5-3048-8961-5969497C0019}" dt="2022-11-12T16:58:01.296" v="27445"/>
          <ac:spMkLst>
            <pc:docMk/>
            <pc:sldMk cId="4027008501" sldId="362"/>
            <ac:spMk id="354" creationId="{62E20165-BC48-022A-97BA-3B945877FE49}"/>
          </ac:spMkLst>
        </pc:spChg>
        <pc:spChg chg="add del mod modVis">
          <ac:chgData name="Merlin Gutter" userId="2abc6f04-74af-430b-bdc8-569c3bfa1dda" providerId="ADAL" clId="{CB1EFBC3-10F5-3048-8961-5969497C0019}" dt="2022-11-12T16:57:59.410" v="27121"/>
          <ac:spMkLst>
            <pc:docMk/>
            <pc:sldMk cId="4027008501" sldId="362"/>
            <ac:spMk id="356" creationId="{0DD1F167-249E-3F6B-5D16-77050B91A7E5}"/>
          </ac:spMkLst>
        </pc:spChg>
        <pc:spChg chg="add del mod modVis">
          <ac:chgData name="Merlin Gutter" userId="2abc6f04-74af-430b-bdc8-569c3bfa1dda" providerId="ADAL" clId="{CB1EFBC3-10F5-3048-8961-5969497C0019}" dt="2022-11-12T16:58:00.448" v="27353"/>
          <ac:spMkLst>
            <pc:docMk/>
            <pc:sldMk cId="4027008501" sldId="362"/>
            <ac:spMk id="358" creationId="{FA8D9A00-4BE5-1186-3D21-234DF0D311B3}"/>
          </ac:spMkLst>
        </pc:spChg>
        <pc:spChg chg="add del mod modVis">
          <ac:chgData name="Merlin Gutter" userId="2abc6f04-74af-430b-bdc8-569c3bfa1dda" providerId="ADAL" clId="{CB1EFBC3-10F5-3048-8961-5969497C0019}" dt="2022-11-12T16:58:01.352" v="27577"/>
          <ac:spMkLst>
            <pc:docMk/>
            <pc:sldMk cId="4027008501" sldId="362"/>
            <ac:spMk id="360" creationId="{8ACC6AAE-A3CC-75E1-09D1-D4E5392C181B}"/>
          </ac:spMkLst>
        </pc:spChg>
        <pc:spChg chg="add del mod modVis">
          <ac:chgData name="Merlin Gutter" userId="2abc6f04-74af-430b-bdc8-569c3bfa1dda" providerId="ADAL" clId="{CB1EFBC3-10F5-3048-8961-5969497C0019}" dt="2022-11-12T16:58:12.804" v="27926"/>
          <ac:spMkLst>
            <pc:docMk/>
            <pc:sldMk cId="4027008501" sldId="362"/>
            <ac:spMk id="362" creationId="{467C4845-9F6F-2BB4-B679-CF1038A9CE22}"/>
          </ac:spMkLst>
        </pc:spChg>
        <pc:spChg chg="add del mod modVis">
          <ac:chgData name="Merlin Gutter" userId="2abc6f04-74af-430b-bdc8-569c3bfa1dda" providerId="ADAL" clId="{CB1EFBC3-10F5-3048-8961-5969497C0019}" dt="2022-11-12T16:58:31.215" v="28829"/>
          <ac:spMkLst>
            <pc:docMk/>
            <pc:sldMk cId="4027008501" sldId="362"/>
            <ac:spMk id="364" creationId="{53D040D8-2AE1-8A48-015C-DDD582FF644A}"/>
          </ac:spMkLst>
        </pc:spChg>
        <pc:spChg chg="add del mod replST delST">
          <ac:chgData name="Merlin Gutter" userId="2abc6f04-74af-430b-bdc8-569c3bfa1dda" providerId="ADAL" clId="{CB1EFBC3-10F5-3048-8961-5969497C0019}" dt="2022-11-12T16:58:31.215" v="28829"/>
          <ac:spMkLst>
            <pc:docMk/>
            <pc:sldMk cId="4027008501" sldId="362"/>
            <ac:spMk id="365" creationId="{0DEE6BE8-D3E9-0504-0B38-BFD79ED52810}"/>
          </ac:spMkLst>
        </pc:spChg>
        <pc:spChg chg="add del mod replST delST">
          <ac:chgData name="Merlin Gutter" userId="2abc6f04-74af-430b-bdc8-569c3bfa1dda" providerId="ADAL" clId="{CB1EFBC3-10F5-3048-8961-5969497C0019}" dt="2022-11-12T16:58:31.215" v="28829"/>
          <ac:spMkLst>
            <pc:docMk/>
            <pc:sldMk cId="4027008501" sldId="362"/>
            <ac:spMk id="366" creationId="{6E5A3845-2EAE-DCCA-554C-CAC86D82CA42}"/>
          </ac:spMkLst>
        </pc:spChg>
        <pc:spChg chg="add del mod replST delST">
          <ac:chgData name="Merlin Gutter" userId="2abc6f04-74af-430b-bdc8-569c3bfa1dda" providerId="ADAL" clId="{CB1EFBC3-10F5-3048-8961-5969497C0019}" dt="2022-11-12T16:58:31.215" v="28829"/>
          <ac:spMkLst>
            <pc:docMk/>
            <pc:sldMk cId="4027008501" sldId="362"/>
            <ac:spMk id="367" creationId="{ED40E2D0-2DA4-C73A-64D3-4D74F6057FEB}"/>
          </ac:spMkLst>
        </pc:spChg>
        <pc:spChg chg="add del mod modVis">
          <ac:chgData name="Merlin Gutter" userId="2abc6f04-74af-430b-bdc8-569c3bfa1dda" providerId="ADAL" clId="{CB1EFBC3-10F5-3048-8961-5969497C0019}" dt="2022-11-12T16:58:38.386" v="29412"/>
          <ac:spMkLst>
            <pc:docMk/>
            <pc:sldMk cId="4027008501" sldId="362"/>
            <ac:spMk id="369" creationId="{017B6BBE-7B15-2F09-B90D-3C1845FE6828}"/>
          </ac:spMkLst>
        </pc:spChg>
        <pc:spChg chg="add del mod replST">
          <ac:chgData name="Merlin Gutter" userId="2abc6f04-74af-430b-bdc8-569c3bfa1dda" providerId="ADAL" clId="{CB1EFBC3-10F5-3048-8961-5969497C0019}" dt="2022-11-12T17:00:35.186" v="33520"/>
          <ac:spMkLst>
            <pc:docMk/>
            <pc:sldMk cId="4027008501" sldId="362"/>
            <ac:spMk id="370" creationId="{F4117866-3FBD-E439-A786-6A688B0B17A2}"/>
          </ac:spMkLst>
        </pc:spChg>
        <pc:spChg chg="add del mod replST">
          <ac:chgData name="Merlin Gutter" userId="2abc6f04-74af-430b-bdc8-569c3bfa1dda" providerId="ADAL" clId="{CB1EFBC3-10F5-3048-8961-5969497C0019}" dt="2022-11-12T17:00:35.191" v="33536"/>
          <ac:spMkLst>
            <pc:docMk/>
            <pc:sldMk cId="4027008501" sldId="362"/>
            <ac:spMk id="371" creationId="{66AF8BB3-0D87-36F9-3F5A-902217B5FB40}"/>
          </ac:spMkLst>
        </pc:spChg>
        <pc:spChg chg="add del mod replST">
          <ac:chgData name="Merlin Gutter" userId="2abc6f04-74af-430b-bdc8-569c3bfa1dda" providerId="ADAL" clId="{CB1EFBC3-10F5-3048-8961-5969497C0019}" dt="2022-11-12T17:00:35.196" v="33553"/>
          <ac:spMkLst>
            <pc:docMk/>
            <pc:sldMk cId="4027008501" sldId="362"/>
            <ac:spMk id="372" creationId="{71246471-51BA-B535-F2AB-FDF5811EBB6C}"/>
          </ac:spMkLst>
        </pc:spChg>
        <pc:spChg chg="add del mod modVis">
          <ac:chgData name="Merlin Gutter" userId="2abc6f04-74af-430b-bdc8-569c3bfa1dda" providerId="ADAL" clId="{CB1EFBC3-10F5-3048-8961-5969497C0019}" dt="2022-11-12T16:58:51.700" v="29707"/>
          <ac:spMkLst>
            <pc:docMk/>
            <pc:sldMk cId="4027008501" sldId="362"/>
            <ac:spMk id="374" creationId="{6EE7497B-F653-CFD2-FABC-922649D66A27}"/>
          </ac:spMkLst>
        </pc:spChg>
        <pc:spChg chg="add del mod replST">
          <ac:chgData name="Merlin Gutter" userId="2abc6f04-74af-430b-bdc8-569c3bfa1dda" providerId="ADAL" clId="{CB1EFBC3-10F5-3048-8961-5969497C0019}" dt="2022-11-12T16:58:55.006" v="29710"/>
          <ac:spMkLst>
            <pc:docMk/>
            <pc:sldMk cId="4027008501" sldId="362"/>
            <ac:spMk id="375" creationId="{2081954F-B2E5-2504-3185-A4DAB9FBEF52}"/>
          </ac:spMkLst>
        </pc:spChg>
        <pc:spChg chg="add del mod modVis">
          <ac:chgData name="Merlin Gutter" userId="2abc6f04-74af-430b-bdc8-569c3bfa1dda" providerId="ADAL" clId="{CB1EFBC3-10F5-3048-8961-5969497C0019}" dt="2022-11-12T16:58:55.116" v="29930"/>
          <ac:spMkLst>
            <pc:docMk/>
            <pc:sldMk cId="4027008501" sldId="362"/>
            <ac:spMk id="377" creationId="{5F71343E-7CEA-FF17-586B-8DD8D1455470}"/>
          </ac:spMkLst>
        </pc:spChg>
        <pc:spChg chg="add del mod modVis">
          <ac:chgData name="Merlin Gutter" userId="2abc6f04-74af-430b-bdc8-569c3bfa1dda" providerId="ADAL" clId="{CB1EFBC3-10F5-3048-8961-5969497C0019}" dt="2022-11-12T16:59:09.625" v="30277"/>
          <ac:spMkLst>
            <pc:docMk/>
            <pc:sldMk cId="4027008501" sldId="362"/>
            <ac:spMk id="379" creationId="{26DD1529-15C6-564D-6A16-CB123B12CE1C}"/>
          </ac:spMkLst>
        </pc:spChg>
        <pc:spChg chg="add mod replST">
          <ac:chgData name="Merlin Gutter" userId="2abc6f04-74af-430b-bdc8-569c3bfa1dda" providerId="ADAL" clId="{CB1EFBC3-10F5-3048-8961-5969497C0019}" dt="2022-11-13T01:15:40.994" v="54715"/>
          <ac:spMkLst>
            <pc:docMk/>
            <pc:sldMk cId="4027008501" sldId="362"/>
            <ac:spMk id="380" creationId="{A4277D2A-A17B-94FB-372B-44CBF51AF92D}"/>
          </ac:spMkLst>
        </pc:spChg>
        <pc:spChg chg="add del mod modVis">
          <ac:chgData name="Merlin Gutter" userId="2abc6f04-74af-430b-bdc8-569c3bfa1dda" providerId="ADAL" clId="{CB1EFBC3-10F5-3048-8961-5969497C0019}" dt="2022-11-12T16:59:24.924" v="30657"/>
          <ac:spMkLst>
            <pc:docMk/>
            <pc:sldMk cId="4027008501" sldId="362"/>
            <ac:spMk id="385" creationId="{7B55A661-7059-CB5B-D7FF-AF142D5D3D24}"/>
          </ac:spMkLst>
        </pc:spChg>
        <pc:spChg chg="add mod replST">
          <ac:chgData name="Merlin Gutter" userId="2abc6f04-74af-430b-bdc8-569c3bfa1dda" providerId="ADAL" clId="{CB1EFBC3-10F5-3048-8961-5969497C0019}" dt="2022-11-13T01:15:40.994" v="54714"/>
          <ac:spMkLst>
            <pc:docMk/>
            <pc:sldMk cId="4027008501" sldId="362"/>
            <ac:spMk id="386" creationId="{99C6B807-141E-3D78-57FC-17751DD454CB}"/>
          </ac:spMkLst>
        </pc:spChg>
        <pc:spChg chg="add del mod modVis">
          <ac:chgData name="Merlin Gutter" userId="2abc6f04-74af-430b-bdc8-569c3bfa1dda" providerId="ADAL" clId="{CB1EFBC3-10F5-3048-8961-5969497C0019}" dt="2022-11-12T16:59:31.821" v="31001"/>
          <ac:spMkLst>
            <pc:docMk/>
            <pc:sldMk cId="4027008501" sldId="362"/>
            <ac:spMk id="391" creationId="{573C6326-CF17-9999-14B6-52B887A94195}"/>
          </ac:spMkLst>
        </pc:spChg>
        <pc:spChg chg="add del mod modVis">
          <ac:chgData name="Merlin Gutter" userId="2abc6f04-74af-430b-bdc8-569c3bfa1dda" providerId="ADAL" clId="{CB1EFBC3-10F5-3048-8961-5969497C0019}" dt="2022-11-12T16:59:34.673" v="31357"/>
          <ac:spMkLst>
            <pc:docMk/>
            <pc:sldMk cId="4027008501" sldId="362"/>
            <ac:spMk id="393" creationId="{B0C1F360-62B4-6CB3-1921-22A1313E1918}"/>
          </ac:spMkLst>
        </pc:spChg>
        <pc:spChg chg="add del mod modVis">
          <ac:chgData name="Merlin Gutter" userId="2abc6f04-74af-430b-bdc8-569c3bfa1dda" providerId="ADAL" clId="{CB1EFBC3-10F5-3048-8961-5969497C0019}" dt="2022-11-12T16:59:37.964" v="32144"/>
          <ac:spMkLst>
            <pc:docMk/>
            <pc:sldMk cId="4027008501" sldId="362"/>
            <ac:spMk id="395" creationId="{9FBECD5F-724B-978D-B546-BB4E1EF75353}"/>
          </ac:spMkLst>
        </pc:spChg>
        <pc:spChg chg="add del mod modVis">
          <ac:chgData name="Merlin Gutter" userId="2abc6f04-74af-430b-bdc8-569c3bfa1dda" providerId="ADAL" clId="{CB1EFBC3-10F5-3048-8961-5969497C0019}" dt="2022-11-12T16:59:42.172" v="33435"/>
          <ac:spMkLst>
            <pc:docMk/>
            <pc:sldMk cId="4027008501" sldId="362"/>
            <ac:spMk id="397" creationId="{2188068B-3632-E497-C134-54BCB46DD4ED}"/>
          </ac:spMkLst>
        </pc:spChg>
        <pc:spChg chg="add del mod replST delST">
          <ac:chgData name="Merlin Gutter" userId="2abc6f04-74af-430b-bdc8-569c3bfa1dda" providerId="ADAL" clId="{CB1EFBC3-10F5-3048-8961-5969497C0019}" dt="2022-11-12T16:59:42.172" v="33435"/>
          <ac:spMkLst>
            <pc:docMk/>
            <pc:sldMk cId="4027008501" sldId="362"/>
            <ac:spMk id="398" creationId="{69A85CE1-3EBC-3B6B-371C-0A427713EEB8}"/>
          </ac:spMkLst>
        </pc:spChg>
        <pc:spChg chg="add del mod replST delST">
          <ac:chgData name="Merlin Gutter" userId="2abc6f04-74af-430b-bdc8-569c3bfa1dda" providerId="ADAL" clId="{CB1EFBC3-10F5-3048-8961-5969497C0019}" dt="2022-11-12T16:59:42.172" v="33435"/>
          <ac:spMkLst>
            <pc:docMk/>
            <pc:sldMk cId="4027008501" sldId="362"/>
            <ac:spMk id="399" creationId="{86E6C5AB-3AAF-4AF2-51EC-DDEBC1E918D2}"/>
          </ac:spMkLst>
        </pc:spChg>
        <pc:spChg chg="add del mod replST delST">
          <ac:chgData name="Merlin Gutter" userId="2abc6f04-74af-430b-bdc8-569c3bfa1dda" providerId="ADAL" clId="{CB1EFBC3-10F5-3048-8961-5969497C0019}" dt="2022-11-12T16:59:42.172" v="33435"/>
          <ac:spMkLst>
            <pc:docMk/>
            <pc:sldMk cId="4027008501" sldId="362"/>
            <ac:spMk id="400" creationId="{1756C920-608B-3B9D-8409-3AFA05F593ED}"/>
          </ac:spMkLst>
        </pc:spChg>
        <pc:spChg chg="add del mod modVis">
          <ac:chgData name="Merlin Gutter" userId="2abc6f04-74af-430b-bdc8-569c3bfa1dda" providerId="ADAL" clId="{CB1EFBC3-10F5-3048-8961-5969497C0019}" dt="2022-11-12T17:00:35.391" v="34058"/>
          <ac:spMkLst>
            <pc:docMk/>
            <pc:sldMk cId="4027008501" sldId="362"/>
            <ac:spMk id="402" creationId="{3663BE46-870F-B73F-A4A9-B11DF8040946}"/>
          </ac:spMkLst>
        </pc:spChg>
        <pc:spChg chg="add del mod replST">
          <ac:chgData name="Merlin Gutter" userId="2abc6f04-74af-430b-bdc8-569c3bfa1dda" providerId="ADAL" clId="{CB1EFBC3-10F5-3048-8961-5969497C0019}" dt="2022-11-12T17:02:03.432" v="34440"/>
          <ac:spMkLst>
            <pc:docMk/>
            <pc:sldMk cId="4027008501" sldId="362"/>
            <ac:spMk id="403" creationId="{915F1AEA-28B3-A465-6F85-8D7004359C8E}"/>
          </ac:spMkLst>
        </pc:spChg>
        <pc:spChg chg="add del mod replST">
          <ac:chgData name="Merlin Gutter" userId="2abc6f04-74af-430b-bdc8-569c3bfa1dda" providerId="ADAL" clId="{CB1EFBC3-10F5-3048-8961-5969497C0019}" dt="2022-11-12T17:02:03.436" v="34456"/>
          <ac:spMkLst>
            <pc:docMk/>
            <pc:sldMk cId="4027008501" sldId="362"/>
            <ac:spMk id="404" creationId="{4B7C854B-D9AD-2EF3-12CE-6E13A55F883D}"/>
          </ac:spMkLst>
        </pc:spChg>
        <pc:spChg chg="add del mod replST">
          <ac:chgData name="Merlin Gutter" userId="2abc6f04-74af-430b-bdc8-569c3bfa1dda" providerId="ADAL" clId="{CB1EFBC3-10F5-3048-8961-5969497C0019}" dt="2022-11-12T17:02:03.441" v="34473"/>
          <ac:spMkLst>
            <pc:docMk/>
            <pc:sldMk cId="4027008501" sldId="362"/>
            <ac:spMk id="405" creationId="{E21E748C-65EC-D818-CB9C-0687F7F6EC62}"/>
          </ac:spMkLst>
        </pc:spChg>
        <pc:spChg chg="add mod">
          <ac:chgData name="Merlin Gutter" userId="2abc6f04-74af-430b-bdc8-569c3bfa1dda" providerId="ADAL" clId="{CB1EFBC3-10F5-3048-8961-5969497C0019}" dt="2022-11-13T01:15:40.997" v="54729"/>
          <ac:spMkLst>
            <pc:docMk/>
            <pc:sldMk cId="4027008501" sldId="362"/>
            <ac:spMk id="414" creationId="{F02F9840-5CF3-A09F-3CFB-95A63CE8FA4D}"/>
          </ac:spMkLst>
        </pc:spChg>
        <pc:spChg chg="add del mod modVis">
          <ac:chgData name="Merlin Gutter" userId="2abc6f04-74af-430b-bdc8-569c3bfa1dda" providerId="ADAL" clId="{CB1EFBC3-10F5-3048-8961-5969497C0019}" dt="2022-11-12T17:02:03.544" v="34850"/>
          <ac:spMkLst>
            <pc:docMk/>
            <pc:sldMk cId="4027008501" sldId="362"/>
            <ac:spMk id="415" creationId="{C71D7672-9907-9803-6460-769C4B40E8BE}"/>
          </ac:spMkLst>
        </pc:spChg>
        <pc:spChg chg="add del mod replST">
          <ac:chgData name="Merlin Gutter" userId="2abc6f04-74af-430b-bdc8-569c3bfa1dda" providerId="ADAL" clId="{CB1EFBC3-10F5-3048-8961-5969497C0019}" dt="2022-11-13T00:58:57.219" v="49187"/>
          <ac:spMkLst>
            <pc:docMk/>
            <pc:sldMk cId="4027008501" sldId="362"/>
            <ac:spMk id="416" creationId="{221870D0-EA67-6580-21B2-9D09FB8E0F35}"/>
          </ac:spMkLst>
        </pc:spChg>
        <pc:spChg chg="add del mod replST">
          <ac:chgData name="Merlin Gutter" userId="2abc6f04-74af-430b-bdc8-569c3bfa1dda" providerId="ADAL" clId="{CB1EFBC3-10F5-3048-8961-5969497C0019}" dt="2022-11-13T00:58:57.226" v="49203"/>
          <ac:spMkLst>
            <pc:docMk/>
            <pc:sldMk cId="4027008501" sldId="362"/>
            <ac:spMk id="417" creationId="{239FE198-B9BB-45C1-2426-C16D406F0FDD}"/>
          </ac:spMkLst>
        </pc:spChg>
        <pc:spChg chg="add del mod replST">
          <ac:chgData name="Merlin Gutter" userId="2abc6f04-74af-430b-bdc8-569c3bfa1dda" providerId="ADAL" clId="{CB1EFBC3-10F5-3048-8961-5969497C0019}" dt="2022-11-13T00:58:57.232" v="49220"/>
          <ac:spMkLst>
            <pc:docMk/>
            <pc:sldMk cId="4027008501" sldId="362"/>
            <ac:spMk id="418" creationId="{77E204D3-9B45-EFBC-EB49-424E6C612EEE}"/>
          </ac:spMkLst>
        </pc:spChg>
        <pc:spChg chg="add del mod modVis">
          <ac:chgData name="Merlin Gutter" userId="2abc6f04-74af-430b-bdc8-569c3bfa1dda" providerId="ADAL" clId="{CB1EFBC3-10F5-3048-8961-5969497C0019}" dt="2022-11-12T17:02:15.434" v="35284"/>
          <ac:spMkLst>
            <pc:docMk/>
            <pc:sldMk cId="4027008501" sldId="362"/>
            <ac:spMk id="420" creationId="{1161B69F-21A5-3ED4-29EB-4BCA2E1F3704}"/>
          </ac:spMkLst>
        </pc:spChg>
        <pc:spChg chg="add del mod modVis">
          <ac:chgData name="Merlin Gutter" userId="2abc6f04-74af-430b-bdc8-569c3bfa1dda" providerId="ADAL" clId="{CB1EFBC3-10F5-3048-8961-5969497C0019}" dt="2022-11-12T17:02:42.112" v="35614"/>
          <ac:spMkLst>
            <pc:docMk/>
            <pc:sldMk cId="4027008501" sldId="362"/>
            <ac:spMk id="422" creationId="{16E70450-A29B-76B2-D910-E556E73EAABE}"/>
          </ac:spMkLst>
        </pc:spChg>
        <pc:spChg chg="add del mod modVis">
          <ac:chgData name="Merlin Gutter" userId="2abc6f04-74af-430b-bdc8-569c3bfa1dda" providerId="ADAL" clId="{CB1EFBC3-10F5-3048-8961-5969497C0019}" dt="2022-11-12T17:03:29.193" v="36535"/>
          <ac:spMkLst>
            <pc:docMk/>
            <pc:sldMk cId="4027008501" sldId="362"/>
            <ac:spMk id="424" creationId="{CE2B9ABB-EE85-5584-EBE2-6291FF935F35}"/>
          </ac:spMkLst>
        </pc:spChg>
        <pc:spChg chg="add del mod modVis">
          <ac:chgData name="Merlin Gutter" userId="2abc6f04-74af-430b-bdc8-569c3bfa1dda" providerId="ADAL" clId="{CB1EFBC3-10F5-3048-8961-5969497C0019}" dt="2022-11-12T17:03:31.924" v="37823"/>
          <ac:spMkLst>
            <pc:docMk/>
            <pc:sldMk cId="4027008501" sldId="362"/>
            <ac:spMk id="426" creationId="{F02A2C6D-9DCF-6E6D-29C1-E900B575A235}"/>
          </ac:spMkLst>
        </pc:spChg>
        <pc:spChg chg="add mod replST">
          <ac:chgData name="Merlin Gutter" userId="2abc6f04-74af-430b-bdc8-569c3bfa1dda" providerId="ADAL" clId="{CB1EFBC3-10F5-3048-8961-5969497C0019}" dt="2022-11-13T01:15:40.980" v="54647"/>
          <ac:spMkLst>
            <pc:docMk/>
            <pc:sldMk cId="4027008501" sldId="362"/>
            <ac:spMk id="427" creationId="{C3038790-BF3B-EDDB-0C60-3504D554CDB1}"/>
          </ac:spMkLst>
        </pc:spChg>
        <pc:spChg chg="add mod replST">
          <ac:chgData name="Merlin Gutter" userId="2abc6f04-74af-430b-bdc8-569c3bfa1dda" providerId="ADAL" clId="{CB1EFBC3-10F5-3048-8961-5969497C0019}" dt="2022-11-13T01:15:40.981" v="54650"/>
          <ac:spMkLst>
            <pc:docMk/>
            <pc:sldMk cId="4027008501" sldId="362"/>
            <ac:spMk id="428" creationId="{6E265CAE-BFEB-4B0A-A749-56CBE14B0CB9}"/>
          </ac:spMkLst>
        </pc:spChg>
        <pc:spChg chg="add mod replST">
          <ac:chgData name="Merlin Gutter" userId="2abc6f04-74af-430b-bdc8-569c3bfa1dda" providerId="ADAL" clId="{CB1EFBC3-10F5-3048-8961-5969497C0019}" dt="2022-11-13T01:15:40.980" v="54644"/>
          <ac:spMkLst>
            <pc:docMk/>
            <pc:sldMk cId="4027008501" sldId="362"/>
            <ac:spMk id="429" creationId="{C4CAB5DA-4966-FE15-AD40-1B97D4C48366}"/>
          </ac:spMkLst>
        </pc:spChg>
        <pc:spChg chg="add mod replST">
          <ac:chgData name="Merlin Gutter" userId="2abc6f04-74af-430b-bdc8-569c3bfa1dda" providerId="ADAL" clId="{CB1EFBC3-10F5-3048-8961-5969497C0019}" dt="2022-11-13T01:15:40.980" v="54645"/>
          <ac:spMkLst>
            <pc:docMk/>
            <pc:sldMk cId="4027008501" sldId="362"/>
            <ac:spMk id="430" creationId="{DB444AD2-669B-993E-D2E8-BBD5ED92F094}"/>
          </ac:spMkLst>
        </pc:spChg>
        <pc:spChg chg="add del mod modVis">
          <ac:chgData name="Merlin Gutter" userId="2abc6f04-74af-430b-bdc8-569c3bfa1dda" providerId="ADAL" clId="{CB1EFBC3-10F5-3048-8961-5969497C0019}" dt="2022-11-12T18:57:44.595" v="43169"/>
          <ac:spMkLst>
            <pc:docMk/>
            <pc:sldMk cId="4027008501" sldId="362"/>
            <ac:spMk id="440" creationId="{6C43363F-F2B0-641F-F7A1-105A34BFEA05}"/>
          </ac:spMkLst>
        </pc:spChg>
        <pc:graphicFrameChg chg="add del mod replST">
          <ac:chgData name="Merlin Gutter" userId="2abc6f04-74af-430b-bdc8-569c3bfa1dda" providerId="ADAL" clId="{CB1EFBC3-10F5-3048-8961-5969497C0019}" dt="2022-11-12T16:20:49.712" v="3481"/>
          <ac:graphicFrameMkLst>
            <pc:docMk/>
            <pc:sldMk cId="4027008501" sldId="362"/>
            <ac:graphicFrameMk id="13" creationId="{4681DDA7-23B8-1702-9D82-FDEF877A348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08:07.900" v="51490"/>
          <ac:graphicFrameMkLst>
            <pc:docMk/>
            <pc:sldMk cId="4027008501" sldId="362"/>
            <ac:graphicFrameMk id="14" creationId="{2FF871FF-00EF-9320-7DE2-C9FF410F555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7:37.852" v="3822"/>
          <ac:graphicFrameMkLst>
            <pc:docMk/>
            <pc:sldMk cId="4027008501" sldId="362"/>
            <ac:graphicFrameMk id="15" creationId="{D5449E1B-2820-1473-66CA-6FC6632E845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09:46.302" v="52228"/>
          <ac:graphicFrameMkLst>
            <pc:docMk/>
            <pc:sldMk cId="4027008501" sldId="362"/>
            <ac:graphicFrameMk id="16" creationId="{C795E1AD-4A0A-C4F8-AE16-AA087587B99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4:11.376" v="52752"/>
          <ac:graphicFrameMkLst>
            <pc:docMk/>
            <pc:sldMk cId="4027008501" sldId="362"/>
            <ac:graphicFrameMk id="18" creationId="{FCF68721-168C-8F48-CEF6-620964F6C09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14:20.858" v="2861"/>
          <ac:graphicFrameMkLst>
            <pc:docMk/>
            <pc:sldMk cId="4027008501" sldId="362"/>
            <ac:graphicFrameMk id="19" creationId="{D9D4A2D0-9038-B203-CA2C-29BFD1E40228}"/>
          </ac:graphicFrameMkLst>
        </pc:graphicFrameChg>
        <pc:graphicFrameChg chg="add mod modVis replST">
          <ac:chgData name="Merlin Gutter" userId="2abc6f04-74af-430b-bdc8-569c3bfa1dda" providerId="ADAL" clId="{CB1EFBC3-10F5-3048-8961-5969497C0019}" dt="2022-11-23T17:24:19.890" v="83234"/>
          <ac:graphicFrameMkLst>
            <pc:docMk/>
            <pc:sldMk cId="4027008501" sldId="362"/>
            <ac:graphicFrameMk id="20" creationId="{6813096F-D721-0653-587E-E254F033A5A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4:13.844" v="53019"/>
          <ac:graphicFrameMkLst>
            <pc:docMk/>
            <pc:sldMk cId="4027008501" sldId="362"/>
            <ac:graphicFrameMk id="21" creationId="{100CCAD4-8DCB-4B14-D7A6-B2480BF3D4B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14:46.431" v="2894"/>
          <ac:graphicFrameMkLst>
            <pc:docMk/>
            <pc:sldMk cId="4027008501" sldId="362"/>
            <ac:graphicFrameMk id="22" creationId="{C6212EF7-A025-1E0E-6E18-CA80D067690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4:15.946" v="53284"/>
          <ac:graphicFrameMkLst>
            <pc:docMk/>
            <pc:sldMk cId="4027008501" sldId="362"/>
            <ac:graphicFrameMk id="23" creationId="{AF419B35-1C0A-127B-7464-77C4EDBB589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4:21.253" v="53551"/>
          <ac:graphicFrameMkLst>
            <pc:docMk/>
            <pc:sldMk cId="4027008501" sldId="362"/>
            <ac:graphicFrameMk id="25" creationId="{9280826C-A277-867A-26F6-E2CDC5EBAF2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14:56.986" v="3158"/>
          <ac:graphicFrameMkLst>
            <pc:docMk/>
            <pc:sldMk cId="4027008501" sldId="362"/>
            <ac:graphicFrameMk id="26" creationId="{FC8605FA-00CB-421A-E5FC-B56330F8897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7:43.885" v="3967"/>
          <ac:graphicFrameMkLst>
            <pc:docMk/>
            <pc:sldMk cId="4027008501" sldId="362"/>
            <ac:graphicFrameMk id="27" creationId="{B8642035-240A-259E-F4E1-33389EA757B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4:26.893" v="53818"/>
          <ac:graphicFrameMkLst>
            <pc:docMk/>
            <pc:sldMk cId="4027008501" sldId="362"/>
            <ac:graphicFrameMk id="27" creationId="{F32B57D4-1095-8151-E5E0-DC6CADED56C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7:55.505" v="4597"/>
          <ac:graphicFrameMkLst>
            <pc:docMk/>
            <pc:sldMk cId="4027008501" sldId="362"/>
            <ac:graphicFrameMk id="29" creationId="{B4301541-A162-7A90-23AC-F19FBD527F1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5:11.498" v="54085"/>
          <ac:graphicFrameMkLst>
            <pc:docMk/>
            <pc:sldMk cId="4027008501" sldId="362"/>
            <ac:graphicFrameMk id="29" creationId="{E5697D0F-4910-6161-9B20-86C23BE3D3E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5:28.186" v="54343"/>
          <ac:graphicFrameMkLst>
            <pc:docMk/>
            <pc:sldMk cId="4027008501" sldId="362"/>
            <ac:graphicFrameMk id="31" creationId="{1D95EEC7-A3D4-62EF-FBD9-395F5F88D16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5:40.957" v="54601"/>
          <ac:graphicFrameMkLst>
            <pc:docMk/>
            <pc:sldMk cId="4027008501" sldId="362"/>
            <ac:graphicFrameMk id="33" creationId="{DD1D7EF3-1742-5F82-43E8-8045AF421498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13T01:15:40.979" v="54643"/>
          <ac:graphicFrameMkLst>
            <pc:docMk/>
            <pc:sldMk cId="4027008501" sldId="362"/>
            <ac:graphicFrameMk id="35" creationId="{EC8CCEB7-B0D1-8F33-239D-1428AA8739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8:04.701" v="4704"/>
          <ac:graphicFrameMkLst>
            <pc:docMk/>
            <pc:sldMk cId="4027008501" sldId="362"/>
            <ac:graphicFrameMk id="45" creationId="{4FEAB416-4935-2EDE-C9B0-33B66B4361F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8:06.285" v="4837"/>
          <ac:graphicFrameMkLst>
            <pc:docMk/>
            <pc:sldMk cId="4027008501" sldId="362"/>
            <ac:graphicFrameMk id="47" creationId="{1D9D5D29-3F19-5C9A-AC2A-0A6B0157C88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8:14.631" v="4981"/>
          <ac:graphicFrameMkLst>
            <pc:docMk/>
            <pc:sldMk cId="4027008501" sldId="362"/>
            <ac:graphicFrameMk id="49" creationId="{CD5279B1-6A94-5A54-3314-2835973CE42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8:27.006" v="5083"/>
          <ac:graphicFrameMkLst>
            <pc:docMk/>
            <pc:sldMk cId="4027008501" sldId="362"/>
            <ac:graphicFrameMk id="51" creationId="{7C3F9EF0-95FC-454A-D681-112057D91CE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10.693" v="5197"/>
          <ac:graphicFrameMkLst>
            <pc:docMk/>
            <pc:sldMk cId="4027008501" sldId="362"/>
            <ac:graphicFrameMk id="53" creationId="{3B89EB47-93E4-503D-2109-23A13A180DB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13.273" v="5282"/>
          <ac:graphicFrameMkLst>
            <pc:docMk/>
            <pc:sldMk cId="4027008501" sldId="362"/>
            <ac:graphicFrameMk id="55" creationId="{D70C0B8E-E717-329E-1773-F4D54C9A89E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16.108" v="5374"/>
          <ac:graphicFrameMkLst>
            <pc:docMk/>
            <pc:sldMk cId="4027008501" sldId="362"/>
            <ac:graphicFrameMk id="57" creationId="{1039D86E-F4D4-B857-EFC6-94FAEE24A67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38.488" v="5454"/>
          <ac:graphicFrameMkLst>
            <pc:docMk/>
            <pc:sldMk cId="4027008501" sldId="362"/>
            <ac:graphicFrameMk id="59" creationId="{FAB5E8D7-4059-E2E6-750B-7F22ABFEAA4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40.321" v="6291"/>
          <ac:graphicFrameMkLst>
            <pc:docMk/>
            <pc:sldMk cId="4027008501" sldId="362"/>
            <ac:graphicFrameMk id="61" creationId="{EDD20126-E43C-16A2-98AE-1E52D76359D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41.169" v="6586"/>
          <ac:graphicFrameMkLst>
            <pc:docMk/>
            <pc:sldMk cId="4027008501" sldId="362"/>
            <ac:graphicFrameMk id="75" creationId="{3E694E63-0469-CB92-7E2E-4212094D973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43.781" v="6709"/>
          <ac:graphicFrameMkLst>
            <pc:docMk/>
            <pc:sldMk cId="4027008501" sldId="362"/>
            <ac:graphicFrameMk id="77" creationId="{614A4CA5-9443-D80C-4D61-DD402006928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46.619" v="6811"/>
          <ac:graphicFrameMkLst>
            <pc:docMk/>
            <pc:sldMk cId="4027008501" sldId="362"/>
            <ac:graphicFrameMk id="79" creationId="{9A863AB6-0EBB-956B-1A6D-F5557D57EA6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49.740" v="6913"/>
          <ac:graphicFrameMkLst>
            <pc:docMk/>
            <pc:sldMk cId="4027008501" sldId="362"/>
            <ac:graphicFrameMk id="81" creationId="{7EEE32D7-F107-598F-D5AC-B6CAA61F943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53.712" v="7015"/>
          <ac:graphicFrameMkLst>
            <pc:docMk/>
            <pc:sldMk cId="4027008501" sldId="362"/>
            <ac:graphicFrameMk id="83" creationId="{3AB83366-5820-65B0-3259-61E0402276C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29:56.066" v="7137"/>
          <ac:graphicFrameMkLst>
            <pc:docMk/>
            <pc:sldMk cId="4027008501" sldId="362"/>
            <ac:graphicFrameMk id="85" creationId="{6866C753-4332-5E02-B777-3821A4C7169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30:03.976" v="7261"/>
          <ac:graphicFrameMkLst>
            <pc:docMk/>
            <pc:sldMk cId="4027008501" sldId="362"/>
            <ac:graphicFrameMk id="87" creationId="{8A4ECC6C-FF26-C6E9-B219-E10BCFA16DB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30:07.058" v="7385"/>
          <ac:graphicFrameMkLst>
            <pc:docMk/>
            <pc:sldMk cId="4027008501" sldId="362"/>
            <ac:graphicFrameMk id="89" creationId="{038E0E38-073F-1DC6-C516-93205B49C17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30:11.158" v="8105"/>
          <ac:graphicFrameMkLst>
            <pc:docMk/>
            <pc:sldMk cId="4027008501" sldId="362"/>
            <ac:graphicFrameMk id="91" creationId="{6411F5BA-ACC3-56EA-D7FF-CE1A85665E5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30:19.676" v="8318"/>
          <ac:graphicFrameMkLst>
            <pc:docMk/>
            <pc:sldMk cId="4027008501" sldId="362"/>
            <ac:graphicFrameMk id="113" creationId="{2BF796A0-CC72-6F7C-35B6-5D74D7370BE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30:28.733" v="8672"/>
          <ac:graphicFrameMkLst>
            <pc:docMk/>
            <pc:sldMk cId="4027008501" sldId="362"/>
            <ac:graphicFrameMk id="115" creationId="{5DA9E2DF-054F-4EC4-BE58-EC8EECDAC98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30:30.663" v="8842"/>
          <ac:graphicFrameMkLst>
            <pc:docMk/>
            <pc:sldMk cId="4027008501" sldId="362"/>
            <ac:graphicFrameMk id="121" creationId="{E8859EB6-6747-4D4C-A478-3E437E70F3E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0:22.376" v="11901"/>
          <ac:graphicFrameMkLst>
            <pc:docMk/>
            <pc:sldMk cId="4027008501" sldId="362"/>
            <ac:graphicFrameMk id="123" creationId="{A1E4A725-4CA6-2794-CB99-5DD12051CD6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0:30.283" v="12192"/>
          <ac:graphicFrameMkLst>
            <pc:docMk/>
            <pc:sldMk cId="4027008501" sldId="362"/>
            <ac:graphicFrameMk id="175" creationId="{16DA6F99-7008-85F9-B735-F599D01FDE6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0:41.629" v="12830"/>
          <ac:graphicFrameMkLst>
            <pc:docMk/>
            <pc:sldMk cId="4027008501" sldId="362"/>
            <ac:graphicFrameMk id="177" creationId="{CDAC4FCE-53C1-6D50-5DE3-CA4653631B9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1:06.784" v="13685"/>
          <ac:graphicFrameMkLst>
            <pc:docMk/>
            <pc:sldMk cId="4027008501" sldId="362"/>
            <ac:graphicFrameMk id="179" creationId="{68A944F5-8648-298B-DCF4-F89D9E85E98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1:17.214" v="14724"/>
          <ac:graphicFrameMkLst>
            <pc:docMk/>
            <pc:sldMk cId="4027008501" sldId="362"/>
            <ac:graphicFrameMk id="200" creationId="{BD3FA611-795B-AC24-BB22-6404C75B33F6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6:51:13.105" v="14265"/>
          <ac:graphicFrameMkLst>
            <pc:docMk/>
            <pc:sldMk cId="4027008501" sldId="362"/>
            <ac:graphicFrameMk id="204" creationId="{D15C54C7-C3A8-1039-B826-9CC8BC89F40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1:19.110" v="14986"/>
          <ac:graphicFrameMkLst>
            <pc:docMk/>
            <pc:sldMk cId="4027008501" sldId="362"/>
            <ac:graphicFrameMk id="211" creationId="{CB76BC32-2F24-A5A8-93BA-EEF4546B9E3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1:20.467" v="15219"/>
          <ac:graphicFrameMkLst>
            <pc:docMk/>
            <pc:sldMk cId="4027008501" sldId="362"/>
            <ac:graphicFrameMk id="213" creationId="{EBA8EC1B-937D-A7DF-4967-B9CA9C6BB87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1:31.884" v="16054"/>
          <ac:graphicFrameMkLst>
            <pc:docMk/>
            <pc:sldMk cId="4027008501" sldId="362"/>
            <ac:graphicFrameMk id="215" creationId="{C3C85C62-18F6-69D3-31B5-5F507C479AB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2:27.210" v="16300"/>
          <ac:graphicFrameMkLst>
            <pc:docMk/>
            <pc:sldMk cId="4027008501" sldId="362"/>
            <ac:graphicFrameMk id="236" creationId="{0588F570-47ED-7292-1B47-2FF640CC322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3:23.257" v="16644"/>
          <ac:graphicFrameMkLst>
            <pc:docMk/>
            <pc:sldMk cId="4027008501" sldId="362"/>
            <ac:graphicFrameMk id="238" creationId="{22C58FBD-0059-C594-49C9-77CE194CE59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4:08.406" v="18409"/>
          <ac:graphicFrameMkLst>
            <pc:docMk/>
            <pc:sldMk cId="4027008501" sldId="362"/>
            <ac:graphicFrameMk id="243" creationId="{1B905D0B-40D2-45EE-D185-71A3152806A4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12T16:53:55.830" v="17977"/>
          <ac:graphicFrameMkLst>
            <pc:docMk/>
            <pc:sldMk cId="4027008501" sldId="362"/>
            <ac:graphicFrameMk id="245" creationId="{A4F25A8A-6547-3899-48D1-AE0382FE8D55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12T16:53:54.455" v="17916"/>
          <ac:graphicFrameMkLst>
            <pc:docMk/>
            <pc:sldMk cId="4027008501" sldId="362"/>
            <ac:graphicFrameMk id="247" creationId="{468E44F3-796A-F4CB-9F47-7E50E258E364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12T16:53:52.157" v="17855"/>
          <ac:graphicFrameMkLst>
            <pc:docMk/>
            <pc:sldMk cId="4027008501" sldId="362"/>
            <ac:graphicFrameMk id="249" creationId="{370AAFFB-ADA2-F843-E3FF-150E727A003C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12T16:53:51.575" v="17794"/>
          <ac:graphicFrameMkLst>
            <pc:docMk/>
            <pc:sldMk cId="4027008501" sldId="362"/>
            <ac:graphicFrameMk id="251" creationId="{7D97D70C-C15B-5D23-949C-019B314DE3D3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6:53:50.965" v="17733"/>
          <ac:graphicFrameMkLst>
            <pc:docMk/>
            <pc:sldMk cId="4027008501" sldId="362"/>
            <ac:graphicFrameMk id="253" creationId="{1F8ABCA0-DD36-12FB-7022-6BE564FAD52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4:10.907" v="18616"/>
          <ac:graphicFrameMkLst>
            <pc:docMk/>
            <pc:sldMk cId="4027008501" sldId="362"/>
            <ac:graphicFrameMk id="261" creationId="{B0ADF9B3-AAD3-1E18-B4DC-DFC5659B0CB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4:18.707" v="18940"/>
          <ac:graphicFrameMkLst>
            <pc:docMk/>
            <pc:sldMk cId="4027008501" sldId="362"/>
            <ac:graphicFrameMk id="263" creationId="{652BB7E7-A9EC-40EE-BF4C-21F63F100B5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4:29.015" v="19147"/>
          <ac:graphicFrameMkLst>
            <pc:docMk/>
            <pc:sldMk cId="4027008501" sldId="362"/>
            <ac:graphicFrameMk id="268" creationId="{047632AD-E373-8A60-8A8B-CF0C2CD1D1A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4:34.681" v="19346"/>
          <ac:graphicFrameMkLst>
            <pc:docMk/>
            <pc:sldMk cId="4027008501" sldId="362"/>
            <ac:graphicFrameMk id="270" creationId="{187431EC-45E5-7E90-A73D-B686ACA8957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4:41.101" v="19545"/>
          <ac:graphicFrameMkLst>
            <pc:docMk/>
            <pc:sldMk cId="4027008501" sldId="362"/>
            <ac:graphicFrameMk id="272" creationId="{DB148C28-A6A1-88CD-B8B3-BA12BAF2F8F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5:03.876" v="21271"/>
          <ac:graphicFrameMkLst>
            <pc:docMk/>
            <pc:sldMk cId="4027008501" sldId="362"/>
            <ac:graphicFrameMk id="274" creationId="{C49D23CB-B7F4-5563-1273-F61D5DF501C1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6:54:59.741" v="20644"/>
          <ac:graphicFrameMkLst>
            <pc:docMk/>
            <pc:sldMk cId="4027008501" sldId="362"/>
            <ac:graphicFrameMk id="287" creationId="{94A94113-CD83-462B-CAF2-42514DCA301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5:36.406" v="21907"/>
          <ac:graphicFrameMkLst>
            <pc:docMk/>
            <pc:sldMk cId="4027008501" sldId="362"/>
            <ac:graphicFrameMk id="298" creationId="{B2BEEB32-A254-1430-7B76-502BA8C530A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5:39.597" v="22136"/>
          <ac:graphicFrameMkLst>
            <pc:docMk/>
            <pc:sldMk cId="4027008501" sldId="362"/>
            <ac:graphicFrameMk id="310" creationId="{2CB9D785-DD7C-5A0B-920F-1FC70A65DF7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5:45.526" v="22476"/>
          <ac:graphicFrameMkLst>
            <pc:docMk/>
            <pc:sldMk cId="4027008501" sldId="362"/>
            <ac:graphicFrameMk id="312" creationId="{5EEF8BD5-9C16-E83C-6459-FE8C449F7A1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5:50.382" v="23073"/>
          <ac:graphicFrameMkLst>
            <pc:docMk/>
            <pc:sldMk cId="4027008501" sldId="362"/>
            <ac:graphicFrameMk id="318" creationId="{109499F8-22DA-935A-CD09-A93A9E57812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5:52.706" v="23411"/>
          <ac:graphicFrameMkLst>
            <pc:docMk/>
            <pc:sldMk cId="4027008501" sldId="362"/>
            <ac:graphicFrameMk id="323" creationId="{9ABB1112-1A33-951F-E314-EDA6022A050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6:04.839" v="23701"/>
          <ac:graphicFrameMkLst>
            <pc:docMk/>
            <pc:sldMk cId="4027008501" sldId="362"/>
            <ac:graphicFrameMk id="329" creationId="{2189E4F6-4193-5758-0B8A-0B8AE95BF92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6:07.593" v="23993"/>
          <ac:graphicFrameMkLst>
            <pc:docMk/>
            <pc:sldMk cId="4027008501" sldId="362"/>
            <ac:graphicFrameMk id="331" creationId="{8837FDB8-9216-5C29-682B-7AE3A883A03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6:12.664" v="24271"/>
          <ac:graphicFrameMkLst>
            <pc:docMk/>
            <pc:sldMk cId="4027008501" sldId="362"/>
            <ac:graphicFrameMk id="333" creationId="{0CD067C3-6E68-B47D-32AD-B5EF7B1C046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6:14.919" v="24549"/>
          <ac:graphicFrameMkLst>
            <pc:docMk/>
            <pc:sldMk cId="4027008501" sldId="362"/>
            <ac:graphicFrameMk id="335" creationId="{8AA8E28F-D806-EDD3-A901-E474D5BE853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6:17.990" v="24839"/>
          <ac:graphicFrameMkLst>
            <pc:docMk/>
            <pc:sldMk cId="4027008501" sldId="362"/>
            <ac:graphicFrameMk id="337" creationId="{A0DE15E4-75F1-52EF-1C28-680D3E00352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6:23.783" v="25119"/>
          <ac:graphicFrameMkLst>
            <pc:docMk/>
            <pc:sldMk cId="4027008501" sldId="362"/>
            <ac:graphicFrameMk id="339" creationId="{D5F6BBB4-1422-A357-2AE8-A3BB553D138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6:25.676" v="25409"/>
          <ac:graphicFrameMkLst>
            <pc:docMk/>
            <pc:sldMk cId="4027008501" sldId="362"/>
            <ac:graphicFrameMk id="341" creationId="{4B4CD08F-2C38-2AC6-56F9-16139C3F2B5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6:27.775" v="25699"/>
          <ac:graphicFrameMkLst>
            <pc:docMk/>
            <pc:sldMk cId="4027008501" sldId="362"/>
            <ac:graphicFrameMk id="343" creationId="{3AF9EA0E-3C97-9883-F6C3-8C559F5F8BA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6:36.659" v="25935"/>
          <ac:graphicFrameMkLst>
            <pc:docMk/>
            <pc:sldMk cId="4027008501" sldId="362"/>
            <ac:graphicFrameMk id="345" creationId="{38CB4C69-5184-4F5D-AC5A-FCA47917E0C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7:54.812" v="26794"/>
          <ac:graphicFrameMkLst>
            <pc:docMk/>
            <pc:sldMk cId="4027008501" sldId="362"/>
            <ac:graphicFrameMk id="347" creationId="{457A58EA-8310-C38B-5CC2-ED0E3C73D6E6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6:57:46.967" v="26319"/>
          <ac:graphicFrameMkLst>
            <pc:docMk/>
            <pc:sldMk cId="4027008501" sldId="362"/>
            <ac:graphicFrameMk id="349" creationId="{31EF11B6-F139-08C4-9A10-BAF54A68A60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7:59.379" v="27018"/>
          <ac:graphicFrameMkLst>
            <pc:docMk/>
            <pc:sldMk cId="4027008501" sldId="362"/>
            <ac:graphicFrameMk id="355" creationId="{73F4C200-5D60-D240-F890-836CEAF52F3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8:00.417" v="27250"/>
          <ac:graphicFrameMkLst>
            <pc:docMk/>
            <pc:sldMk cId="4027008501" sldId="362"/>
            <ac:graphicFrameMk id="357" creationId="{8C03DE6A-9B03-CEA8-61DD-C8D752EB538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8:01.312" v="27475"/>
          <ac:graphicFrameMkLst>
            <pc:docMk/>
            <pc:sldMk cId="4027008501" sldId="362"/>
            <ac:graphicFrameMk id="359" creationId="{33447DE3-A5DC-0592-38A1-7D417CF3AC5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8:38.354" v="29310"/>
          <ac:graphicFrameMkLst>
            <pc:docMk/>
            <pc:sldMk cId="4027008501" sldId="362"/>
            <ac:graphicFrameMk id="361" creationId="{5A8EB2C1-BEEB-55BE-B3F0-D17EADD4BFF1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6:58:12.804" v="27926"/>
          <ac:graphicFrameMkLst>
            <pc:docMk/>
            <pc:sldMk cId="4027008501" sldId="362"/>
            <ac:graphicFrameMk id="363" creationId="{35502AA8-27E0-8203-8BE7-CD08A1337941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6:58:31.215" v="28829"/>
          <ac:graphicFrameMkLst>
            <pc:docMk/>
            <pc:sldMk cId="4027008501" sldId="362"/>
            <ac:graphicFrameMk id="368" creationId="{9DE065F9-FD6B-A04E-1663-13440DAD8B7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8:51.669" v="29604"/>
          <ac:graphicFrameMkLst>
            <pc:docMk/>
            <pc:sldMk cId="4027008501" sldId="362"/>
            <ac:graphicFrameMk id="373" creationId="{426BC205-9720-854F-1865-924D0D4767D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8:55.086" v="29828"/>
          <ac:graphicFrameMkLst>
            <pc:docMk/>
            <pc:sldMk cId="4027008501" sldId="362"/>
            <ac:graphicFrameMk id="376" creationId="{4EC7662B-26E1-B480-3E36-702FA330E71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9:09.593" v="30171"/>
          <ac:graphicFrameMkLst>
            <pc:docMk/>
            <pc:sldMk cId="4027008501" sldId="362"/>
            <ac:graphicFrameMk id="378" creationId="{FB9CF508-FE6E-C8F2-E5C8-9F31613E776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9:24.891" v="30547"/>
          <ac:graphicFrameMkLst>
            <pc:docMk/>
            <pc:sldMk cId="4027008501" sldId="362"/>
            <ac:graphicFrameMk id="384" creationId="{717ADDD3-65A7-71EF-F7F4-AF4FE184BEF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9:31.789" v="30891"/>
          <ac:graphicFrameMkLst>
            <pc:docMk/>
            <pc:sldMk cId="4027008501" sldId="362"/>
            <ac:graphicFrameMk id="390" creationId="{4A28778B-F330-56A8-6C4C-D5CE8DE7A21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6:59:34.641" v="31247"/>
          <ac:graphicFrameMkLst>
            <pc:docMk/>
            <pc:sldMk cId="4027008501" sldId="362"/>
            <ac:graphicFrameMk id="392" creationId="{D726529B-72DA-DF6D-32A9-969246E22BD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0:35.357" v="33941"/>
          <ac:graphicFrameMkLst>
            <pc:docMk/>
            <pc:sldMk cId="4027008501" sldId="362"/>
            <ac:graphicFrameMk id="394" creationId="{8F24225E-A268-EAE3-7ED3-88BD01238674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6:59:37.964" v="32144"/>
          <ac:graphicFrameMkLst>
            <pc:docMk/>
            <pc:sldMk cId="4027008501" sldId="362"/>
            <ac:graphicFrameMk id="396" creationId="{8877C34E-8A9F-C1BD-CCE5-C9EA06F6BFCE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6:59:42.172" v="33435"/>
          <ac:graphicFrameMkLst>
            <pc:docMk/>
            <pc:sldMk cId="4027008501" sldId="362"/>
            <ac:graphicFrameMk id="401" creationId="{BEA98657-E694-19C4-334D-55091BE54B0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2:03.506" v="34720"/>
          <ac:graphicFrameMkLst>
            <pc:docMk/>
            <pc:sldMk cId="4027008501" sldId="362"/>
            <ac:graphicFrameMk id="413" creationId="{2B538B62-7298-5C82-7331-C62749D0EAA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2:15.403" v="35178"/>
          <ac:graphicFrameMkLst>
            <pc:docMk/>
            <pc:sldMk cId="4027008501" sldId="362"/>
            <ac:graphicFrameMk id="419" creationId="{832DF9EA-B3F3-0463-1BF1-FB7DF7F3174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2:42.077" v="35496"/>
          <ac:graphicFrameMkLst>
            <pc:docMk/>
            <pc:sldMk cId="4027008501" sldId="362"/>
            <ac:graphicFrameMk id="421" creationId="{AEFCB8B1-7538-1505-430F-FBA09C6ED50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3:29.148" v="36367"/>
          <ac:graphicFrameMkLst>
            <pc:docMk/>
            <pc:sldMk cId="4027008501" sldId="362"/>
            <ac:graphicFrameMk id="423" creationId="{551702D5-327A-FA89-3779-D1CAF3BC407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3:31.867" v="37621"/>
          <ac:graphicFrameMkLst>
            <pc:docMk/>
            <pc:sldMk cId="4027008501" sldId="362"/>
            <ac:graphicFrameMk id="425" creationId="{2562B9B2-6D99-662B-B0AD-E77FDB0ADBF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8:57:44.509" v="42977"/>
          <ac:graphicFrameMkLst>
            <pc:docMk/>
            <pc:sldMk cId="4027008501" sldId="362"/>
            <ac:graphicFrameMk id="439" creationId="{EF5F7689-53A7-C540-BD99-5930613C2AF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0:58:57.375" v="49509"/>
          <ac:graphicFrameMkLst>
            <pc:docMk/>
            <pc:sldMk cId="4027008501" sldId="362"/>
            <ac:graphicFrameMk id="441" creationId="{02CD7FCB-C636-4CD0-CC98-C2D9BBB7B291}"/>
          </ac:graphicFrameMkLst>
        </pc:graphicFrameChg>
        <pc:cxnChg chg="add mod">
          <ac:chgData name="Merlin Gutter" userId="2abc6f04-74af-430b-bdc8-569c3bfa1dda" providerId="ADAL" clId="{CB1EFBC3-10F5-3048-8961-5969497C0019}" dt="2022-11-13T01:15:40.997" v="54730"/>
          <ac:cxnSpMkLst>
            <pc:docMk/>
            <pc:sldMk cId="4027008501" sldId="362"/>
            <ac:cxnSpMk id="7" creationId="{BAF6F246-54A1-4312-90AB-0320FAD7CD8A}"/>
          </ac:cxnSpMkLst>
        </pc:cxnChg>
        <pc:cxnChg chg="add mod">
          <ac:chgData name="Merlin Gutter" userId="2abc6f04-74af-430b-bdc8-569c3bfa1dda" providerId="ADAL" clId="{CB1EFBC3-10F5-3048-8961-5969497C0019}" dt="2022-11-13T01:15:40.997" v="54731"/>
          <ac:cxnSpMkLst>
            <pc:docMk/>
            <pc:sldMk cId="4027008501" sldId="362"/>
            <ac:cxnSpMk id="8" creationId="{7A2F73AD-ADF7-009C-C582-FA06B7B3A06D}"/>
          </ac:cxnSpMkLst>
        </pc:cxnChg>
        <pc:cxnChg chg="add del mod replST">
          <ac:chgData name="Merlin Gutter" userId="2abc6f04-74af-430b-bdc8-569c3bfa1dda" providerId="ADAL" clId="{CB1EFBC3-10F5-3048-8961-5969497C0019}" dt="2022-11-12T16:27:43.809" v="3867"/>
          <ac:cxnSpMkLst>
            <pc:docMk/>
            <pc:sldMk cId="4027008501" sldId="362"/>
            <ac:cxnSpMk id="19" creationId="{74ABB0FE-2AE1-0356-4E2A-75EF34850C17}"/>
          </ac:cxnSpMkLst>
        </pc:cxnChg>
        <pc:cxnChg chg="add del mod replST">
          <ac:chgData name="Merlin Gutter" userId="2abc6f04-74af-430b-bdc8-569c3bfa1dda" providerId="ADAL" clId="{CB1EFBC3-10F5-3048-8961-5969497C0019}" dt="2022-11-12T16:27:43.812" v="3870"/>
          <ac:cxnSpMkLst>
            <pc:docMk/>
            <pc:sldMk cId="4027008501" sldId="362"/>
            <ac:cxnSpMk id="21" creationId="{B71BCC60-E72F-23CD-5E49-E498EC954EAC}"/>
          </ac:cxnSpMkLst>
        </pc:cxnChg>
        <pc:cxnChg chg="add del mod replST">
          <ac:chgData name="Merlin Gutter" userId="2abc6f04-74af-430b-bdc8-569c3bfa1dda" providerId="ADAL" clId="{CB1EFBC3-10F5-3048-8961-5969497C0019}" dt="2022-11-12T16:27:43.814" v="3873"/>
          <ac:cxnSpMkLst>
            <pc:docMk/>
            <pc:sldMk cId="4027008501" sldId="362"/>
            <ac:cxnSpMk id="22" creationId="{BDB5F404-2EC7-3F19-AA99-2854417B6A14}"/>
          </ac:cxnSpMkLst>
        </pc:cxnChg>
        <pc:cxnChg chg="add del mod replST">
          <ac:chgData name="Merlin Gutter" userId="2abc6f04-74af-430b-bdc8-569c3bfa1dda" providerId="ADAL" clId="{CB1EFBC3-10F5-3048-8961-5969497C0019}" dt="2022-11-12T16:27:43.817" v="3876"/>
          <ac:cxnSpMkLst>
            <pc:docMk/>
            <pc:sldMk cId="4027008501" sldId="362"/>
            <ac:cxnSpMk id="23" creationId="{D379B178-C277-BF13-5F41-3EF3ECE95F62}"/>
          </ac:cxnSpMkLst>
        </pc:cxnChg>
        <pc:cxnChg chg="add del mod replST">
          <ac:chgData name="Merlin Gutter" userId="2abc6f04-74af-430b-bdc8-569c3bfa1dda" providerId="ADAL" clId="{CB1EFBC3-10F5-3048-8961-5969497C0019}" dt="2022-11-12T16:27:43.818" v="3879"/>
          <ac:cxnSpMkLst>
            <pc:docMk/>
            <pc:sldMk cId="4027008501" sldId="362"/>
            <ac:cxnSpMk id="24" creationId="{DF056CA4-58C1-88E6-8DE1-A963BD3E40DA}"/>
          </ac:cxnSpMkLst>
        </pc:cxnChg>
        <pc:cxnChg chg="add del mod replST">
          <ac:chgData name="Merlin Gutter" userId="2abc6f04-74af-430b-bdc8-569c3bfa1dda" providerId="ADAL" clId="{CB1EFBC3-10F5-3048-8961-5969497C0019}" dt="2022-11-12T16:27:43.820" v="3882"/>
          <ac:cxnSpMkLst>
            <pc:docMk/>
            <pc:sldMk cId="4027008501" sldId="362"/>
            <ac:cxnSpMk id="25" creationId="{5D1D49AC-2498-D92E-1D07-07A35C0972BF}"/>
          </ac:cxnSpMkLst>
        </pc:cxnChg>
        <pc:cxnChg chg="add del mod replST">
          <ac:chgData name="Merlin Gutter" userId="2abc6f04-74af-430b-bdc8-569c3bfa1dda" providerId="ADAL" clId="{CB1EFBC3-10F5-3048-8961-5969497C0019}" dt="2022-11-12T16:27:43.822" v="3885"/>
          <ac:cxnSpMkLst>
            <pc:docMk/>
            <pc:sldMk cId="4027008501" sldId="362"/>
            <ac:cxnSpMk id="26" creationId="{15F78648-0B62-BBE8-231A-ADD6A0D23094}"/>
          </ac:cxnSpMkLst>
        </pc:cxnChg>
        <pc:cxnChg chg="add del mod replST">
          <ac:chgData name="Merlin Gutter" userId="2abc6f04-74af-430b-bdc8-569c3bfa1dda" providerId="ADAL" clId="{CB1EFBC3-10F5-3048-8961-5969497C0019}" dt="2022-11-12T16:28:06.273" v="4798"/>
          <ac:cxnSpMkLst>
            <pc:docMk/>
            <pc:sldMk cId="4027008501" sldId="362"/>
            <ac:cxnSpMk id="38" creationId="{619AF460-66A8-5A32-0564-DBA0ACA3502D}"/>
          </ac:cxnSpMkLst>
        </pc:cxnChg>
        <pc:cxnChg chg="add del mod replST">
          <ac:chgData name="Merlin Gutter" userId="2abc6f04-74af-430b-bdc8-569c3bfa1dda" providerId="ADAL" clId="{CB1EFBC3-10F5-3048-8961-5969497C0019}" dt="2022-11-12T16:29:13.209" v="5222"/>
          <ac:cxnSpMkLst>
            <pc:docMk/>
            <pc:sldMk cId="4027008501" sldId="362"/>
            <ac:cxnSpMk id="39" creationId="{FA4AAFEA-ABC7-86B3-A72C-B859427FACC7}"/>
          </ac:cxnSpMkLst>
        </pc:cxnChg>
        <pc:cxnChg chg="add del mod replST">
          <ac:chgData name="Merlin Gutter" userId="2abc6f04-74af-430b-bdc8-569c3bfa1dda" providerId="ADAL" clId="{CB1EFBC3-10F5-3048-8961-5969497C0019}" dt="2022-11-12T16:29:10.622" v="5118"/>
          <ac:cxnSpMkLst>
            <pc:docMk/>
            <pc:sldMk cId="4027008501" sldId="362"/>
            <ac:cxnSpMk id="40" creationId="{DC53BFAE-DFD0-14CA-4DCB-5AAA92FBB9F7}"/>
          </ac:cxnSpMkLst>
        </pc:cxnChg>
        <pc:cxnChg chg="add del mod replST">
          <ac:chgData name="Merlin Gutter" userId="2abc6f04-74af-430b-bdc8-569c3bfa1dda" providerId="ADAL" clId="{CB1EFBC3-10F5-3048-8961-5969497C0019}" dt="2022-11-12T16:29:10.626" v="5124"/>
          <ac:cxnSpMkLst>
            <pc:docMk/>
            <pc:sldMk cId="4027008501" sldId="362"/>
            <ac:cxnSpMk id="41" creationId="{9BC7BD6E-46DB-9808-7D4A-246755538276}"/>
          </ac:cxnSpMkLst>
        </pc:cxnChg>
        <pc:cxnChg chg="add del mod replST">
          <ac:chgData name="Merlin Gutter" userId="2abc6f04-74af-430b-bdc8-569c3bfa1dda" providerId="ADAL" clId="{CB1EFBC3-10F5-3048-8961-5969497C0019}" dt="2022-11-12T16:29:10.628" v="5127"/>
          <ac:cxnSpMkLst>
            <pc:docMk/>
            <pc:sldMk cId="4027008501" sldId="362"/>
            <ac:cxnSpMk id="42" creationId="{5AF74BA4-BDBE-CFF9-3562-0C1316C3222D}"/>
          </ac:cxnSpMkLst>
        </pc:cxnChg>
        <pc:cxnChg chg="add del mod replST">
          <ac:chgData name="Merlin Gutter" userId="2abc6f04-74af-430b-bdc8-569c3bfa1dda" providerId="ADAL" clId="{CB1EFBC3-10F5-3048-8961-5969497C0019}" dt="2022-11-12T16:29:10.629" v="5130"/>
          <ac:cxnSpMkLst>
            <pc:docMk/>
            <pc:sldMk cId="4027008501" sldId="362"/>
            <ac:cxnSpMk id="43" creationId="{F7FEE8AC-3E3B-C4FA-71F2-6E71DF8820AF}"/>
          </ac:cxnSpMkLst>
        </pc:cxnChg>
        <pc:cxnChg chg="add del mod replST">
          <ac:chgData name="Merlin Gutter" userId="2abc6f04-74af-430b-bdc8-569c3bfa1dda" providerId="ADAL" clId="{CB1EFBC3-10F5-3048-8961-5969497C0019}" dt="2022-11-12T16:29:10.624" v="5121"/>
          <ac:cxnSpMkLst>
            <pc:docMk/>
            <pc:sldMk cId="4027008501" sldId="362"/>
            <ac:cxnSpMk id="44" creationId="{890B472E-CF38-6B6D-B6A9-93FC83B8D151}"/>
          </ac:cxnSpMkLst>
        </pc:cxnChg>
        <pc:cxnChg chg="add del mod replST">
          <ac:chgData name="Merlin Gutter" userId="2abc6f04-74af-430b-bdc8-569c3bfa1dda" providerId="ADAL" clId="{CB1EFBC3-10F5-3048-8961-5969497C0019}" dt="2022-11-12T16:30:30.660" v="8832"/>
          <ac:cxnSpMkLst>
            <pc:docMk/>
            <pc:sldMk cId="4027008501" sldId="362"/>
            <ac:cxnSpMk id="106" creationId="{12E8FC6E-EA4B-27DB-D414-D5CAB4E4B363}"/>
          </ac:cxnSpMkLst>
        </pc:cxnChg>
        <pc:cxnChg chg="add del mod replST">
          <ac:chgData name="Merlin Gutter" userId="2abc6f04-74af-430b-bdc8-569c3bfa1dda" providerId="ADAL" clId="{CB1EFBC3-10F5-3048-8961-5969497C0019}" dt="2022-11-12T16:30:30.647" v="8804"/>
          <ac:cxnSpMkLst>
            <pc:docMk/>
            <pc:sldMk cId="4027008501" sldId="362"/>
            <ac:cxnSpMk id="107" creationId="{0E88B304-DDD6-B188-4369-6C621920D46E}"/>
          </ac:cxnSpMkLst>
        </pc:cxnChg>
        <pc:cxnChg chg="add del mod replST">
          <ac:chgData name="Merlin Gutter" userId="2abc6f04-74af-430b-bdc8-569c3bfa1dda" providerId="ADAL" clId="{CB1EFBC3-10F5-3048-8961-5969497C0019}" dt="2022-11-12T16:30:30.661" v="8836"/>
          <ac:cxnSpMkLst>
            <pc:docMk/>
            <pc:sldMk cId="4027008501" sldId="362"/>
            <ac:cxnSpMk id="108" creationId="{A50F2AAF-E3B9-ECC3-5F45-EF7351D58337}"/>
          </ac:cxnSpMkLst>
        </pc:cxnChg>
        <pc:cxnChg chg="add del mod replST">
          <ac:chgData name="Merlin Gutter" userId="2abc6f04-74af-430b-bdc8-569c3bfa1dda" providerId="ADAL" clId="{CB1EFBC3-10F5-3048-8961-5969497C0019}" dt="2022-11-12T16:30:30.646" v="8801"/>
          <ac:cxnSpMkLst>
            <pc:docMk/>
            <pc:sldMk cId="4027008501" sldId="362"/>
            <ac:cxnSpMk id="109" creationId="{2CB4B548-C8E6-AA21-3586-572C32FEF905}"/>
          </ac:cxnSpMkLst>
        </pc:cxnChg>
        <pc:cxnChg chg="add del mod replST">
          <ac:chgData name="Merlin Gutter" userId="2abc6f04-74af-430b-bdc8-569c3bfa1dda" providerId="ADAL" clId="{CB1EFBC3-10F5-3048-8961-5969497C0019}" dt="2022-11-12T16:30:30.661" v="8838"/>
          <ac:cxnSpMkLst>
            <pc:docMk/>
            <pc:sldMk cId="4027008501" sldId="362"/>
            <ac:cxnSpMk id="110" creationId="{6A8EAB73-17FA-D1DB-246C-8768EA795920}"/>
          </ac:cxnSpMkLst>
        </pc:cxnChg>
        <pc:cxnChg chg="add del mod replST">
          <ac:chgData name="Merlin Gutter" userId="2abc6f04-74af-430b-bdc8-569c3bfa1dda" providerId="ADAL" clId="{CB1EFBC3-10F5-3048-8961-5969497C0019}" dt="2022-11-12T16:30:30.646" v="8798"/>
          <ac:cxnSpMkLst>
            <pc:docMk/>
            <pc:sldMk cId="4027008501" sldId="362"/>
            <ac:cxnSpMk id="111" creationId="{E0E00F77-D535-FD75-A52F-764654A0EA0D}"/>
          </ac:cxnSpMkLst>
        </pc:cxnChg>
        <pc:cxnChg chg="add del mod replST">
          <ac:chgData name="Merlin Gutter" userId="2abc6f04-74af-430b-bdc8-569c3bfa1dda" providerId="ADAL" clId="{CB1EFBC3-10F5-3048-8961-5969497C0019}" dt="2022-11-12T16:30:30.661" v="8840"/>
          <ac:cxnSpMkLst>
            <pc:docMk/>
            <pc:sldMk cId="4027008501" sldId="362"/>
            <ac:cxnSpMk id="112" creationId="{A8D324B7-C6C8-C040-AC98-4F4EA3F6439B}"/>
          </ac:cxnSpMkLst>
        </pc:cxnChg>
        <pc:cxnChg chg="add del mod replST">
          <ac:chgData name="Merlin Gutter" userId="2abc6f04-74af-430b-bdc8-569c3bfa1dda" providerId="ADAL" clId="{CB1EFBC3-10F5-3048-8961-5969497C0019}" dt="2022-11-12T16:30:30.647" v="8807"/>
          <ac:cxnSpMkLst>
            <pc:docMk/>
            <pc:sldMk cId="4027008501" sldId="362"/>
            <ac:cxnSpMk id="119" creationId="{FC92BC98-5E0F-1AC1-11F2-C48667AB2715}"/>
          </ac:cxnSpMkLst>
        </pc:cxnChg>
        <pc:cxnChg chg="add del mod replST">
          <ac:chgData name="Merlin Gutter" userId="2abc6f04-74af-430b-bdc8-569c3bfa1dda" providerId="ADAL" clId="{CB1EFBC3-10F5-3048-8961-5969497C0019}" dt="2022-11-12T16:30:30.660" v="8834"/>
          <ac:cxnSpMkLst>
            <pc:docMk/>
            <pc:sldMk cId="4027008501" sldId="362"/>
            <ac:cxnSpMk id="120" creationId="{09BD3F15-6779-51A9-3D2C-DE4CC889B762}"/>
          </ac:cxnSpMkLst>
        </pc:cxnChg>
        <pc:cxnChg chg="add del mod replST">
          <ac:chgData name="Merlin Gutter" userId="2abc6f04-74af-430b-bdc8-569c3bfa1dda" providerId="ADAL" clId="{CB1EFBC3-10F5-3048-8961-5969497C0019}" dt="2022-11-12T16:51:20.464" v="15209"/>
          <ac:cxnSpMkLst>
            <pc:docMk/>
            <pc:sldMk cId="4027008501" sldId="362"/>
            <ac:cxnSpMk id="192" creationId="{5C43459C-3204-FA56-EA96-C46F3DA1ED7D}"/>
          </ac:cxnSpMkLst>
        </pc:cxnChg>
        <pc:cxnChg chg="add del mod replST">
          <ac:chgData name="Merlin Gutter" userId="2abc6f04-74af-430b-bdc8-569c3bfa1dda" providerId="ADAL" clId="{CB1EFBC3-10F5-3048-8961-5969497C0019}" dt="2022-11-12T16:51:20.438" v="15145"/>
          <ac:cxnSpMkLst>
            <pc:docMk/>
            <pc:sldMk cId="4027008501" sldId="362"/>
            <ac:cxnSpMk id="193" creationId="{178DF930-DC68-8C2D-724A-A814B36BC3D5}"/>
          </ac:cxnSpMkLst>
        </pc:cxnChg>
        <pc:cxnChg chg="add del mod replST">
          <ac:chgData name="Merlin Gutter" userId="2abc6f04-74af-430b-bdc8-569c3bfa1dda" providerId="ADAL" clId="{CB1EFBC3-10F5-3048-8961-5969497C0019}" dt="2022-11-12T16:51:20.438" v="15142"/>
          <ac:cxnSpMkLst>
            <pc:docMk/>
            <pc:sldMk cId="4027008501" sldId="362"/>
            <ac:cxnSpMk id="194" creationId="{7CF00533-D955-91B4-906E-D9D283CA5348}"/>
          </ac:cxnSpMkLst>
        </pc:cxnChg>
        <pc:cxnChg chg="add del mod replST">
          <ac:chgData name="Merlin Gutter" userId="2abc6f04-74af-430b-bdc8-569c3bfa1dda" providerId="ADAL" clId="{CB1EFBC3-10F5-3048-8961-5969497C0019}" dt="2022-11-12T16:51:20.465" v="15213"/>
          <ac:cxnSpMkLst>
            <pc:docMk/>
            <pc:sldMk cId="4027008501" sldId="362"/>
            <ac:cxnSpMk id="195" creationId="{C0FF10C7-1AD2-4F1C-7CB4-C5DB6219BEFB}"/>
          </ac:cxnSpMkLst>
        </pc:cxnChg>
        <pc:cxnChg chg="add del mod replST">
          <ac:chgData name="Merlin Gutter" userId="2abc6f04-74af-430b-bdc8-569c3bfa1dda" providerId="ADAL" clId="{CB1EFBC3-10F5-3048-8961-5969497C0019}" dt="2022-11-12T16:51:20.437" v="15139"/>
          <ac:cxnSpMkLst>
            <pc:docMk/>
            <pc:sldMk cId="4027008501" sldId="362"/>
            <ac:cxnSpMk id="196" creationId="{68F2726D-0C0B-17E8-5A15-48FFD714F31F}"/>
          </ac:cxnSpMkLst>
        </pc:cxnChg>
        <pc:cxnChg chg="add del mod replST">
          <ac:chgData name="Merlin Gutter" userId="2abc6f04-74af-430b-bdc8-569c3bfa1dda" providerId="ADAL" clId="{CB1EFBC3-10F5-3048-8961-5969497C0019}" dt="2022-11-12T16:51:20.465" v="15215"/>
          <ac:cxnSpMkLst>
            <pc:docMk/>
            <pc:sldMk cId="4027008501" sldId="362"/>
            <ac:cxnSpMk id="197" creationId="{482939B8-77EA-1F42-A1E3-E6CBB46789C0}"/>
          </ac:cxnSpMkLst>
        </pc:cxnChg>
        <pc:cxnChg chg="add del mod replST">
          <ac:chgData name="Merlin Gutter" userId="2abc6f04-74af-430b-bdc8-569c3bfa1dda" providerId="ADAL" clId="{CB1EFBC3-10F5-3048-8961-5969497C0019}" dt="2022-11-12T16:51:20.437" v="15136"/>
          <ac:cxnSpMkLst>
            <pc:docMk/>
            <pc:sldMk cId="4027008501" sldId="362"/>
            <ac:cxnSpMk id="198" creationId="{87DC45D8-028E-72F9-3B47-CAA120532AC8}"/>
          </ac:cxnSpMkLst>
        </pc:cxnChg>
        <pc:cxnChg chg="add del mod replST">
          <ac:chgData name="Merlin Gutter" userId="2abc6f04-74af-430b-bdc8-569c3bfa1dda" providerId="ADAL" clId="{CB1EFBC3-10F5-3048-8961-5969497C0019}" dt="2022-11-12T16:51:20.465" v="15217"/>
          <ac:cxnSpMkLst>
            <pc:docMk/>
            <pc:sldMk cId="4027008501" sldId="362"/>
            <ac:cxnSpMk id="199" creationId="{0C1CC7FF-ABCD-4C07-90AC-7478F5CE7B6A}"/>
          </ac:cxnSpMkLst>
        </pc:cxnChg>
        <pc:cxnChg chg="add del mod replST delST">
          <ac:chgData name="Merlin Gutter" userId="2abc6f04-74af-430b-bdc8-569c3bfa1dda" providerId="ADAL" clId="{CB1EFBC3-10F5-3048-8961-5969497C0019}" dt="2022-11-12T16:51:13.105" v="14265"/>
          <ac:cxnSpMkLst>
            <pc:docMk/>
            <pc:sldMk cId="4027008501" sldId="362"/>
            <ac:cxnSpMk id="203" creationId="{B6866166-BB88-0EC7-21FD-F03478AD1C5C}"/>
          </ac:cxnSpMkLst>
        </pc:cxnChg>
        <pc:cxnChg chg="add del mod replST">
          <ac:chgData name="Merlin Gutter" userId="2abc6f04-74af-430b-bdc8-569c3bfa1dda" providerId="ADAL" clId="{CB1EFBC3-10F5-3048-8961-5969497C0019}" dt="2022-11-12T16:51:20.464" v="15211"/>
          <ac:cxnSpMkLst>
            <pc:docMk/>
            <pc:sldMk cId="4027008501" sldId="362"/>
            <ac:cxnSpMk id="210" creationId="{4290087D-B3FF-A1D0-B101-03BA1837C3CA}"/>
          </ac:cxnSpMkLst>
        </pc:cxnChg>
        <pc:cxnChg chg="add del mod replST">
          <ac:chgData name="Merlin Gutter" userId="2abc6f04-74af-430b-bdc8-569c3bfa1dda" providerId="ADAL" clId="{CB1EFBC3-10F5-3048-8961-5969497C0019}" dt="2022-11-13T01:15:40.979" v="54640"/>
          <ac:cxnSpMkLst>
            <pc:docMk/>
            <pc:sldMk cId="4027008501" sldId="362"/>
            <ac:cxnSpMk id="228" creationId="{BE191C59-1A3A-0A58-5312-8200EF43A74D}"/>
          </ac:cxnSpMkLst>
        </pc:cxnChg>
        <pc:cxnChg chg="add del mod replST">
          <ac:chgData name="Merlin Gutter" userId="2abc6f04-74af-430b-bdc8-569c3bfa1dda" providerId="ADAL" clId="{CB1EFBC3-10F5-3048-8961-5969497C0019}" dt="2022-11-12T17:02:15.334" v="34929"/>
          <ac:cxnSpMkLst>
            <pc:docMk/>
            <pc:sldMk cId="4027008501" sldId="362"/>
            <ac:cxnSpMk id="229" creationId="{66737565-46E9-CC55-713F-7DCAEA18222C}"/>
          </ac:cxnSpMkLst>
        </pc:cxnChg>
        <pc:cxnChg chg="add del mod replST">
          <ac:chgData name="Merlin Gutter" userId="2abc6f04-74af-430b-bdc8-569c3bfa1dda" providerId="ADAL" clId="{CB1EFBC3-10F5-3048-8961-5969497C0019}" dt="2022-11-12T17:02:15.333" v="34924"/>
          <ac:cxnSpMkLst>
            <pc:docMk/>
            <pc:sldMk cId="4027008501" sldId="362"/>
            <ac:cxnSpMk id="230" creationId="{0C80580A-9196-DD84-5136-A00B66DB7F2C}"/>
          </ac:cxnSpMkLst>
        </pc:cxnChg>
        <pc:cxnChg chg="add del mod replST">
          <ac:chgData name="Merlin Gutter" userId="2abc6f04-74af-430b-bdc8-569c3bfa1dda" providerId="ADAL" clId="{CB1EFBC3-10F5-3048-8961-5969497C0019}" dt="2022-11-13T01:15:40.978" v="54637"/>
          <ac:cxnSpMkLst>
            <pc:docMk/>
            <pc:sldMk cId="4027008501" sldId="362"/>
            <ac:cxnSpMk id="231" creationId="{B2D4622C-A6B1-E5A0-BB01-86CC8FAF7C92}"/>
          </ac:cxnSpMkLst>
        </pc:cxnChg>
        <pc:cxnChg chg="add del mod replST">
          <ac:chgData name="Merlin Gutter" userId="2abc6f04-74af-430b-bdc8-569c3bfa1dda" providerId="ADAL" clId="{CB1EFBC3-10F5-3048-8961-5969497C0019}" dt="2022-11-12T17:02:15.332" v="34919"/>
          <ac:cxnSpMkLst>
            <pc:docMk/>
            <pc:sldMk cId="4027008501" sldId="362"/>
            <ac:cxnSpMk id="232" creationId="{F25D13F8-0017-304D-DFCC-F2304182576A}"/>
          </ac:cxnSpMkLst>
        </pc:cxnChg>
        <pc:cxnChg chg="add del mod replST">
          <ac:chgData name="Merlin Gutter" userId="2abc6f04-74af-430b-bdc8-569c3bfa1dda" providerId="ADAL" clId="{CB1EFBC3-10F5-3048-8961-5969497C0019}" dt="2022-11-13T01:15:40.978" v="54638"/>
          <ac:cxnSpMkLst>
            <pc:docMk/>
            <pc:sldMk cId="4027008501" sldId="362"/>
            <ac:cxnSpMk id="233" creationId="{153CE8EC-2C42-5472-4595-FE206DE57468}"/>
          </ac:cxnSpMkLst>
        </pc:cxnChg>
        <pc:cxnChg chg="add del mod replST">
          <ac:chgData name="Merlin Gutter" userId="2abc6f04-74af-430b-bdc8-569c3bfa1dda" providerId="ADAL" clId="{CB1EFBC3-10F5-3048-8961-5969497C0019}" dt="2022-11-12T17:02:15.331" v="34914"/>
          <ac:cxnSpMkLst>
            <pc:docMk/>
            <pc:sldMk cId="4027008501" sldId="362"/>
            <ac:cxnSpMk id="234" creationId="{C7A36EDB-E28A-2ED3-754F-DB76630347B9}"/>
          </ac:cxnSpMkLst>
        </pc:cxnChg>
        <pc:cxnChg chg="add del mod replST">
          <ac:chgData name="Merlin Gutter" userId="2abc6f04-74af-430b-bdc8-569c3bfa1dda" providerId="ADAL" clId="{CB1EFBC3-10F5-3048-8961-5969497C0019}" dt="2022-11-13T01:15:40.978" v="54636"/>
          <ac:cxnSpMkLst>
            <pc:docMk/>
            <pc:sldMk cId="4027008501" sldId="362"/>
            <ac:cxnSpMk id="235" creationId="{9C8BA09B-4925-0289-7A24-3D94A2FFC472}"/>
          </ac:cxnSpMkLst>
        </pc:cxnChg>
        <pc:cxnChg chg="add del mod replST">
          <ac:chgData name="Merlin Gutter" userId="2abc6f04-74af-430b-bdc8-569c3bfa1dda" providerId="ADAL" clId="{CB1EFBC3-10F5-3048-8961-5969497C0019}" dt="2022-11-12T16:54:10.826" v="18502"/>
          <ac:cxnSpMkLst>
            <pc:docMk/>
            <pc:sldMk cId="4027008501" sldId="362"/>
            <ac:cxnSpMk id="260" creationId="{62640E59-86E7-94F6-E0B2-80F39753F068}"/>
          </ac:cxnSpMkLst>
        </pc:cxnChg>
        <pc:cxnChg chg="add del mod replST">
          <ac:chgData name="Merlin Gutter" userId="2abc6f04-74af-430b-bdc8-569c3bfa1dda" providerId="ADAL" clId="{CB1EFBC3-10F5-3048-8961-5969497C0019}" dt="2022-11-12T16:54:28.952" v="19033"/>
          <ac:cxnSpMkLst>
            <pc:docMk/>
            <pc:sldMk cId="4027008501" sldId="362"/>
            <ac:cxnSpMk id="267" creationId="{4E98F4EE-9A2A-B614-D70B-E188AF89A27C}"/>
          </ac:cxnSpMkLst>
        </pc:cxnChg>
        <pc:cxnChg chg="add del mod replST delST">
          <ac:chgData name="Merlin Gutter" userId="2abc6f04-74af-430b-bdc8-569c3bfa1dda" providerId="ADAL" clId="{CB1EFBC3-10F5-3048-8961-5969497C0019}" dt="2022-11-12T16:54:59.741" v="20644"/>
          <ac:cxnSpMkLst>
            <pc:docMk/>
            <pc:sldMk cId="4027008501" sldId="362"/>
            <ac:cxnSpMk id="282" creationId="{0F024FAA-2009-ABEB-9B63-3328365B2156}"/>
          </ac:cxnSpMkLst>
        </pc:cxnChg>
        <pc:cxnChg chg="add del mod replST delST">
          <ac:chgData name="Merlin Gutter" userId="2abc6f04-74af-430b-bdc8-569c3bfa1dda" providerId="ADAL" clId="{CB1EFBC3-10F5-3048-8961-5969497C0019}" dt="2022-11-12T16:54:59.741" v="20644"/>
          <ac:cxnSpMkLst>
            <pc:docMk/>
            <pc:sldMk cId="4027008501" sldId="362"/>
            <ac:cxnSpMk id="283" creationId="{D7F0BD22-B8C3-2FC2-CCA9-A90AAABFA279}"/>
          </ac:cxnSpMkLst>
        </pc:cxnChg>
        <pc:cxnChg chg="add del mod replST delST">
          <ac:chgData name="Merlin Gutter" userId="2abc6f04-74af-430b-bdc8-569c3bfa1dda" providerId="ADAL" clId="{CB1EFBC3-10F5-3048-8961-5969497C0019}" dt="2022-11-12T16:54:59.741" v="20644"/>
          <ac:cxnSpMkLst>
            <pc:docMk/>
            <pc:sldMk cId="4027008501" sldId="362"/>
            <ac:cxnSpMk id="284" creationId="{B1C25CEB-3C8A-59C0-874B-397BBE349FDB}"/>
          </ac:cxnSpMkLst>
        </pc:cxnChg>
        <pc:cxnChg chg="add del mod replST delST">
          <ac:chgData name="Merlin Gutter" userId="2abc6f04-74af-430b-bdc8-569c3bfa1dda" providerId="ADAL" clId="{CB1EFBC3-10F5-3048-8961-5969497C0019}" dt="2022-11-12T16:54:59.741" v="20644"/>
          <ac:cxnSpMkLst>
            <pc:docMk/>
            <pc:sldMk cId="4027008501" sldId="362"/>
            <ac:cxnSpMk id="285" creationId="{B800CBE3-4102-29E8-3810-150D9C9DD80A}"/>
          </ac:cxnSpMkLst>
        </pc:cxnChg>
        <pc:cxnChg chg="add del mod replST delST">
          <ac:chgData name="Merlin Gutter" userId="2abc6f04-74af-430b-bdc8-569c3bfa1dda" providerId="ADAL" clId="{CB1EFBC3-10F5-3048-8961-5969497C0019}" dt="2022-11-12T16:54:59.741" v="20644"/>
          <ac:cxnSpMkLst>
            <pc:docMk/>
            <pc:sldMk cId="4027008501" sldId="362"/>
            <ac:cxnSpMk id="286" creationId="{FA8B9F81-1224-C518-9389-72FBA02F1C49}"/>
          </ac:cxnSpMkLst>
        </pc:cxnChg>
        <pc:cxnChg chg="add del mod replST">
          <ac:chgData name="Merlin Gutter" userId="2abc6f04-74af-430b-bdc8-569c3bfa1dda" providerId="ADAL" clId="{CB1EFBC3-10F5-3048-8961-5969497C0019}" dt="2022-11-12T16:55:39.536" v="22017"/>
          <ac:cxnSpMkLst>
            <pc:docMk/>
            <pc:sldMk cId="4027008501" sldId="362"/>
            <ac:cxnSpMk id="307" creationId="{7DD4393A-30F6-7E27-BDDE-05566E9BBC17}"/>
          </ac:cxnSpMkLst>
        </pc:cxnChg>
        <pc:cxnChg chg="add del mod replST">
          <ac:chgData name="Merlin Gutter" userId="2abc6f04-74af-430b-bdc8-569c3bfa1dda" providerId="ADAL" clId="{CB1EFBC3-10F5-3048-8961-5969497C0019}" dt="2022-11-12T16:55:39.535" v="22015"/>
          <ac:cxnSpMkLst>
            <pc:docMk/>
            <pc:sldMk cId="4027008501" sldId="362"/>
            <ac:cxnSpMk id="308" creationId="{57AB7FBA-9544-C344-6CAE-7507C96FFAD7}"/>
          </ac:cxnSpMkLst>
        </pc:cxnChg>
        <pc:cxnChg chg="add del mod replST">
          <ac:chgData name="Merlin Gutter" userId="2abc6f04-74af-430b-bdc8-569c3bfa1dda" providerId="ADAL" clId="{CB1EFBC3-10F5-3048-8961-5969497C0019}" dt="2022-11-12T16:55:39.535" v="22013"/>
          <ac:cxnSpMkLst>
            <pc:docMk/>
            <pc:sldMk cId="4027008501" sldId="362"/>
            <ac:cxnSpMk id="309" creationId="{870FC0EA-3E22-061C-3E87-0781ADCC4D01}"/>
          </ac:cxnSpMkLst>
        </pc:cxnChg>
        <pc:cxnChg chg="add del mod replST">
          <ac:chgData name="Merlin Gutter" userId="2abc6f04-74af-430b-bdc8-569c3bfa1dda" providerId="ADAL" clId="{CB1EFBC3-10F5-3048-8961-5969497C0019}" dt="2022-11-12T16:55:50.165" v="22722"/>
          <ac:cxnSpMkLst>
            <pc:docMk/>
            <pc:sldMk cId="4027008501" sldId="362"/>
            <ac:cxnSpMk id="315" creationId="{CEF954C1-D931-E562-6EF0-7E18232AEF3C}"/>
          </ac:cxnSpMkLst>
        </pc:cxnChg>
        <pc:cxnChg chg="add del mod replST">
          <ac:chgData name="Merlin Gutter" userId="2abc6f04-74af-430b-bdc8-569c3bfa1dda" providerId="ADAL" clId="{CB1EFBC3-10F5-3048-8961-5969497C0019}" dt="2022-11-12T16:55:50.164" v="22720"/>
          <ac:cxnSpMkLst>
            <pc:docMk/>
            <pc:sldMk cId="4027008501" sldId="362"/>
            <ac:cxnSpMk id="316" creationId="{25F82DE7-7773-5617-876F-E30901A2A891}"/>
          </ac:cxnSpMkLst>
        </pc:cxnChg>
        <pc:cxnChg chg="add del mod replST">
          <ac:chgData name="Merlin Gutter" userId="2abc6f04-74af-430b-bdc8-569c3bfa1dda" providerId="ADAL" clId="{CB1EFBC3-10F5-3048-8961-5969497C0019}" dt="2022-11-12T16:55:50.161" v="22718"/>
          <ac:cxnSpMkLst>
            <pc:docMk/>
            <pc:sldMk cId="4027008501" sldId="362"/>
            <ac:cxnSpMk id="317" creationId="{54C81382-37B6-C88B-DA0A-C01CEAAF97B5}"/>
          </ac:cxnSpMkLst>
        </pc:cxnChg>
        <pc:cxnChg chg="add mod replST">
          <ac:chgData name="Merlin Gutter" userId="2abc6f04-74af-430b-bdc8-569c3bfa1dda" providerId="ADAL" clId="{CB1EFBC3-10F5-3048-8961-5969497C0019}" dt="2022-11-13T01:15:40.983" v="54661"/>
          <ac:cxnSpMkLst>
            <pc:docMk/>
            <pc:sldMk cId="4027008501" sldId="362"/>
            <ac:cxnSpMk id="326" creationId="{0796DF65-985A-7DC7-C7E1-4D9DE163F8AE}"/>
          </ac:cxnSpMkLst>
        </pc:cxnChg>
        <pc:cxnChg chg="add mod replST">
          <ac:chgData name="Merlin Gutter" userId="2abc6f04-74af-430b-bdc8-569c3bfa1dda" providerId="ADAL" clId="{CB1EFBC3-10F5-3048-8961-5969497C0019}" dt="2022-11-13T01:15:40.983" v="54662"/>
          <ac:cxnSpMkLst>
            <pc:docMk/>
            <pc:sldMk cId="4027008501" sldId="362"/>
            <ac:cxnSpMk id="327" creationId="{CE3A590E-6AC0-D060-BFA8-8F5C334A6A85}"/>
          </ac:cxnSpMkLst>
        </pc:cxnChg>
        <pc:cxnChg chg="add mod replST">
          <ac:chgData name="Merlin Gutter" userId="2abc6f04-74af-430b-bdc8-569c3bfa1dda" providerId="ADAL" clId="{CB1EFBC3-10F5-3048-8961-5969497C0019}" dt="2022-11-13T01:15:40.983" v="54663"/>
          <ac:cxnSpMkLst>
            <pc:docMk/>
            <pc:sldMk cId="4027008501" sldId="362"/>
            <ac:cxnSpMk id="328" creationId="{0AE4D2DC-59E7-FCE3-5340-BF574B791973}"/>
          </ac:cxnSpMkLst>
        </pc:cxnChg>
        <pc:cxnChg chg="add mod replST">
          <ac:chgData name="Merlin Gutter" userId="2abc6f04-74af-430b-bdc8-569c3bfa1dda" providerId="ADAL" clId="{CB1EFBC3-10F5-3048-8961-5969497C0019}" dt="2022-11-13T01:15:40.982" v="54658"/>
          <ac:cxnSpMkLst>
            <pc:docMk/>
            <pc:sldMk cId="4027008501" sldId="362"/>
            <ac:cxnSpMk id="381" creationId="{457CE312-C0DC-0F5C-5B8B-912B30EA7C3D}"/>
          </ac:cxnSpMkLst>
        </pc:cxnChg>
        <pc:cxnChg chg="add mod replST">
          <ac:chgData name="Merlin Gutter" userId="2abc6f04-74af-430b-bdc8-569c3bfa1dda" providerId="ADAL" clId="{CB1EFBC3-10F5-3048-8961-5969497C0019}" dt="2022-11-13T01:15:40.983" v="54659"/>
          <ac:cxnSpMkLst>
            <pc:docMk/>
            <pc:sldMk cId="4027008501" sldId="362"/>
            <ac:cxnSpMk id="382" creationId="{7ED92058-A3E8-5E51-EB96-CC97C9437BD7}"/>
          </ac:cxnSpMkLst>
        </pc:cxnChg>
        <pc:cxnChg chg="add mod replST">
          <ac:chgData name="Merlin Gutter" userId="2abc6f04-74af-430b-bdc8-569c3bfa1dda" providerId="ADAL" clId="{CB1EFBC3-10F5-3048-8961-5969497C0019}" dt="2022-11-13T01:15:40.983" v="54660"/>
          <ac:cxnSpMkLst>
            <pc:docMk/>
            <pc:sldMk cId="4027008501" sldId="362"/>
            <ac:cxnSpMk id="383" creationId="{33534F8B-417F-CDE3-430C-CA3F942F4F06}"/>
          </ac:cxnSpMkLst>
        </pc:cxnChg>
        <pc:cxnChg chg="add mod replST">
          <ac:chgData name="Merlin Gutter" userId="2abc6f04-74af-430b-bdc8-569c3bfa1dda" providerId="ADAL" clId="{CB1EFBC3-10F5-3048-8961-5969497C0019}" dt="2022-11-13T01:15:40.982" v="54657"/>
          <ac:cxnSpMkLst>
            <pc:docMk/>
            <pc:sldMk cId="4027008501" sldId="362"/>
            <ac:cxnSpMk id="387" creationId="{17040920-7574-9678-5E32-4247AF87C4DA}"/>
          </ac:cxnSpMkLst>
        </pc:cxnChg>
        <pc:cxnChg chg="add mod replST">
          <ac:chgData name="Merlin Gutter" userId="2abc6f04-74af-430b-bdc8-569c3bfa1dda" providerId="ADAL" clId="{CB1EFBC3-10F5-3048-8961-5969497C0019}" dt="2022-11-13T01:15:40.982" v="54656"/>
          <ac:cxnSpMkLst>
            <pc:docMk/>
            <pc:sldMk cId="4027008501" sldId="362"/>
            <ac:cxnSpMk id="388" creationId="{AE187C29-CD3F-549B-6670-9106D8B9A8E5}"/>
          </ac:cxnSpMkLst>
        </pc:cxnChg>
        <pc:cxnChg chg="add mod replST">
          <ac:chgData name="Merlin Gutter" userId="2abc6f04-74af-430b-bdc8-569c3bfa1dda" providerId="ADAL" clId="{CB1EFBC3-10F5-3048-8961-5969497C0019}" dt="2022-11-13T01:15:40.982" v="54655"/>
          <ac:cxnSpMkLst>
            <pc:docMk/>
            <pc:sldMk cId="4027008501" sldId="362"/>
            <ac:cxnSpMk id="389" creationId="{6661D47C-5D15-C012-E53E-7F898F03871B}"/>
          </ac:cxnSpMkLst>
        </pc:cxnChg>
        <pc:cxnChg chg="add del mod replST">
          <ac:chgData name="Merlin Gutter" userId="2abc6f04-74af-430b-bdc8-569c3bfa1dda" providerId="ADAL" clId="{CB1EFBC3-10F5-3048-8961-5969497C0019}" dt="2022-11-12T17:02:15.334" v="34927"/>
          <ac:cxnSpMkLst>
            <pc:docMk/>
            <pc:sldMk cId="4027008501" sldId="362"/>
            <ac:cxnSpMk id="406" creationId="{D73AD1BE-45E2-6013-A1F0-C8D5E0177812}"/>
          </ac:cxnSpMkLst>
        </pc:cxnChg>
        <pc:cxnChg chg="add del mod replST">
          <ac:chgData name="Merlin Gutter" userId="2abc6f04-74af-430b-bdc8-569c3bfa1dda" providerId="ADAL" clId="{CB1EFBC3-10F5-3048-8961-5969497C0019}" dt="2022-11-12T17:02:15.333" v="34922"/>
          <ac:cxnSpMkLst>
            <pc:docMk/>
            <pc:sldMk cId="4027008501" sldId="362"/>
            <ac:cxnSpMk id="407" creationId="{2E0FEFC9-8737-0520-AF22-0A59512C23F7}"/>
          </ac:cxnSpMkLst>
        </pc:cxnChg>
        <pc:cxnChg chg="add mod replST">
          <ac:chgData name="Merlin Gutter" userId="2abc6f04-74af-430b-bdc8-569c3bfa1dda" providerId="ADAL" clId="{CB1EFBC3-10F5-3048-8961-5969497C0019}" dt="2022-11-13T01:15:40.977" v="54633"/>
          <ac:cxnSpMkLst>
            <pc:docMk/>
            <pc:sldMk cId="4027008501" sldId="362"/>
            <ac:cxnSpMk id="408" creationId="{673B08D9-145F-249E-897F-0B8F338B4322}"/>
          </ac:cxnSpMkLst>
        </pc:cxnChg>
        <pc:cxnChg chg="add del mod replST">
          <ac:chgData name="Merlin Gutter" userId="2abc6f04-74af-430b-bdc8-569c3bfa1dda" providerId="ADAL" clId="{CB1EFBC3-10F5-3048-8961-5969497C0019}" dt="2022-11-12T17:02:15.332" v="34917"/>
          <ac:cxnSpMkLst>
            <pc:docMk/>
            <pc:sldMk cId="4027008501" sldId="362"/>
            <ac:cxnSpMk id="409" creationId="{0BEC66F0-FBDA-05D6-BC53-696F4ABF22F1}"/>
          </ac:cxnSpMkLst>
        </pc:cxnChg>
        <pc:cxnChg chg="add mod replST">
          <ac:chgData name="Merlin Gutter" userId="2abc6f04-74af-430b-bdc8-569c3bfa1dda" providerId="ADAL" clId="{CB1EFBC3-10F5-3048-8961-5969497C0019}" dt="2022-11-13T01:15:40.977" v="54629"/>
          <ac:cxnSpMkLst>
            <pc:docMk/>
            <pc:sldMk cId="4027008501" sldId="362"/>
            <ac:cxnSpMk id="410" creationId="{5A35DF61-481A-ADBE-456F-E2CE1F56C9D0}"/>
          </ac:cxnSpMkLst>
        </pc:cxnChg>
        <pc:cxnChg chg="add del mod replST">
          <ac:chgData name="Merlin Gutter" userId="2abc6f04-74af-430b-bdc8-569c3bfa1dda" providerId="ADAL" clId="{CB1EFBC3-10F5-3048-8961-5969497C0019}" dt="2022-11-12T17:02:15.331" v="34912"/>
          <ac:cxnSpMkLst>
            <pc:docMk/>
            <pc:sldMk cId="4027008501" sldId="362"/>
            <ac:cxnSpMk id="411" creationId="{8C2C6706-5393-EFEE-E968-31642082BC8D}"/>
          </ac:cxnSpMkLst>
        </pc:cxnChg>
        <pc:cxnChg chg="add mod replST">
          <ac:chgData name="Merlin Gutter" userId="2abc6f04-74af-430b-bdc8-569c3bfa1dda" providerId="ADAL" clId="{CB1EFBC3-10F5-3048-8961-5969497C0019}" dt="2022-11-13T01:15:40.977" v="54632"/>
          <ac:cxnSpMkLst>
            <pc:docMk/>
            <pc:sldMk cId="4027008501" sldId="362"/>
            <ac:cxnSpMk id="412" creationId="{1B89F2C6-D2C5-481B-287F-FF68CD9A5949}"/>
          </ac:cxnSpMkLst>
        </pc:cxnChg>
        <pc:cxnChg chg="add mod replST">
          <ac:chgData name="Merlin Gutter" userId="2abc6f04-74af-430b-bdc8-569c3bfa1dda" providerId="ADAL" clId="{CB1EFBC3-10F5-3048-8961-5969497C0019}" dt="2022-11-13T01:15:40.978" v="54639"/>
          <ac:cxnSpMkLst>
            <pc:docMk/>
            <pc:sldMk cId="4027008501" sldId="362"/>
            <ac:cxnSpMk id="431" creationId="{CEE8284B-99A5-8437-10DA-69E6C8F09ACD}"/>
          </ac:cxnSpMkLst>
        </pc:cxnChg>
        <pc:cxnChg chg="add mod replST">
          <ac:chgData name="Merlin Gutter" userId="2abc6f04-74af-430b-bdc8-569c3bfa1dda" providerId="ADAL" clId="{CB1EFBC3-10F5-3048-8961-5969497C0019}" dt="2022-11-13T01:15:40.976" v="54628"/>
          <ac:cxnSpMkLst>
            <pc:docMk/>
            <pc:sldMk cId="4027008501" sldId="362"/>
            <ac:cxnSpMk id="432" creationId="{36A99B78-9B88-D1EC-3D0C-10FB4B33E911}"/>
          </ac:cxnSpMkLst>
        </pc:cxnChg>
        <pc:cxnChg chg="add mod replST">
          <ac:chgData name="Merlin Gutter" userId="2abc6f04-74af-430b-bdc8-569c3bfa1dda" providerId="ADAL" clId="{CB1EFBC3-10F5-3048-8961-5969497C0019}" dt="2022-11-13T01:15:40.978" v="54635"/>
          <ac:cxnSpMkLst>
            <pc:docMk/>
            <pc:sldMk cId="4027008501" sldId="362"/>
            <ac:cxnSpMk id="433" creationId="{9F2075F1-1CCA-86C6-DBB9-731191CD5BF2}"/>
          </ac:cxnSpMkLst>
        </pc:cxnChg>
        <pc:cxnChg chg="add mod replST">
          <ac:chgData name="Merlin Gutter" userId="2abc6f04-74af-430b-bdc8-569c3bfa1dda" providerId="ADAL" clId="{CB1EFBC3-10F5-3048-8961-5969497C0019}" dt="2022-11-13T01:15:40.977" v="54631"/>
          <ac:cxnSpMkLst>
            <pc:docMk/>
            <pc:sldMk cId="4027008501" sldId="362"/>
            <ac:cxnSpMk id="434" creationId="{49458954-C9F1-A38A-8864-B1384C131185}"/>
          </ac:cxnSpMkLst>
        </pc:cxnChg>
        <pc:cxnChg chg="add mod replST">
          <ac:chgData name="Merlin Gutter" userId="2abc6f04-74af-430b-bdc8-569c3bfa1dda" providerId="ADAL" clId="{CB1EFBC3-10F5-3048-8961-5969497C0019}" dt="2022-11-13T01:15:40.979" v="54642"/>
          <ac:cxnSpMkLst>
            <pc:docMk/>
            <pc:sldMk cId="4027008501" sldId="362"/>
            <ac:cxnSpMk id="435" creationId="{85DD01DE-21FB-C7C2-2DBE-416879CFF66D}"/>
          </ac:cxnSpMkLst>
        </pc:cxnChg>
        <pc:cxnChg chg="add mod replST">
          <ac:chgData name="Merlin Gutter" userId="2abc6f04-74af-430b-bdc8-569c3bfa1dda" providerId="ADAL" clId="{CB1EFBC3-10F5-3048-8961-5969497C0019}" dt="2022-11-13T01:15:40.977" v="54630"/>
          <ac:cxnSpMkLst>
            <pc:docMk/>
            <pc:sldMk cId="4027008501" sldId="362"/>
            <ac:cxnSpMk id="436" creationId="{28819932-92DC-ED91-FF9C-8E3F400B42F5}"/>
          </ac:cxnSpMkLst>
        </pc:cxnChg>
        <pc:cxnChg chg="add mod replST">
          <ac:chgData name="Merlin Gutter" userId="2abc6f04-74af-430b-bdc8-569c3bfa1dda" providerId="ADAL" clId="{CB1EFBC3-10F5-3048-8961-5969497C0019}" dt="2022-11-13T01:15:40.979" v="54641"/>
          <ac:cxnSpMkLst>
            <pc:docMk/>
            <pc:sldMk cId="4027008501" sldId="362"/>
            <ac:cxnSpMk id="437" creationId="{E51121C7-83F9-B3A6-FF04-F8517BCD2705}"/>
          </ac:cxnSpMkLst>
        </pc:cxnChg>
        <pc:cxnChg chg="add mod replST">
          <ac:chgData name="Merlin Gutter" userId="2abc6f04-74af-430b-bdc8-569c3bfa1dda" providerId="ADAL" clId="{CB1EFBC3-10F5-3048-8961-5969497C0019}" dt="2022-11-13T01:15:40.978" v="54634"/>
          <ac:cxnSpMkLst>
            <pc:docMk/>
            <pc:sldMk cId="4027008501" sldId="362"/>
            <ac:cxnSpMk id="438" creationId="{25EAF4F5-E92F-E119-0DE8-99DC38A1B848}"/>
          </ac:cxnSpMkLst>
        </pc:cxnChg>
      </pc:sldChg>
      <pc:sldChg chg="addSp delSp modSp new add del mod modClrScheme chgLayout">
        <pc:chgData name="Merlin Gutter" userId="2abc6f04-74af-430b-bdc8-569c3bfa1dda" providerId="ADAL" clId="{CB1EFBC3-10F5-3048-8961-5969497C0019}" dt="2022-11-16T16:24:22.488" v="57128" actId="2696"/>
        <pc:sldMkLst>
          <pc:docMk/>
          <pc:sldMk cId="342154919" sldId="363"/>
        </pc:sldMkLst>
        <pc:spChg chg="del">
          <ac:chgData name="Merlin Gutter" userId="2abc6f04-74af-430b-bdc8-569c3bfa1dda" providerId="ADAL" clId="{CB1EFBC3-10F5-3048-8961-5969497C0019}" dt="2022-11-11T18:16:15.690" v="1569"/>
          <ac:spMkLst>
            <pc:docMk/>
            <pc:sldMk cId="342154919" sldId="363"/>
            <ac:spMk id="2" creationId="{20162973-818F-1912-E1EB-A8767F5522EB}"/>
          </ac:spMkLst>
        </pc:spChg>
        <pc:spChg chg="del mod ord">
          <ac:chgData name="Merlin Gutter" userId="2abc6f04-74af-430b-bdc8-569c3bfa1dda" providerId="ADAL" clId="{CB1EFBC3-10F5-3048-8961-5969497C0019}" dt="2022-11-11T18:16:15.690" v="1569"/>
          <ac:spMkLst>
            <pc:docMk/>
            <pc:sldMk cId="342154919" sldId="363"/>
            <ac:spMk id="3" creationId="{CE33CB46-BB0E-4483-6FCA-D58E8BB197A4}"/>
          </ac:spMkLst>
        </pc:spChg>
        <pc:spChg chg="del">
          <ac:chgData name="Merlin Gutter" userId="2abc6f04-74af-430b-bdc8-569c3bfa1dda" providerId="ADAL" clId="{CB1EFBC3-10F5-3048-8961-5969497C0019}" dt="2022-11-11T18:16:15.690" v="1569"/>
          <ac:spMkLst>
            <pc:docMk/>
            <pc:sldMk cId="342154919" sldId="363"/>
            <ac:spMk id="4" creationId="{ABD82FDD-3C8D-4AD9-F17C-73E7ACB76193}"/>
          </ac:spMkLst>
        </pc:spChg>
        <pc:spChg chg="add del mod">
          <ac:chgData name="Merlin Gutter" userId="2abc6f04-74af-430b-bdc8-569c3bfa1dda" providerId="ADAL" clId="{CB1EFBC3-10F5-3048-8961-5969497C0019}" dt="2022-11-16T02:28:56.568" v="55839" actId="478"/>
          <ac:spMkLst>
            <pc:docMk/>
            <pc:sldMk cId="342154919" sldId="363"/>
            <ac:spMk id="4" creationId="{EDAFEECD-C8D4-A213-0830-221C4235A65E}"/>
          </ac:spMkLst>
        </pc:spChg>
        <pc:spChg chg="del mod ord">
          <ac:chgData name="Merlin Gutter" userId="2abc6f04-74af-430b-bdc8-569c3bfa1dda" providerId="ADAL" clId="{CB1EFBC3-10F5-3048-8961-5969497C0019}" dt="2022-11-11T18:16:15.690" v="1569"/>
          <ac:spMkLst>
            <pc:docMk/>
            <pc:sldMk cId="342154919" sldId="363"/>
            <ac:spMk id="5" creationId="{831174E0-D9D6-4A7C-3E6C-A9BF5ED74FEC}"/>
          </ac:spMkLst>
        </pc:spChg>
        <pc:spChg chg="del mod ord">
          <ac:chgData name="Merlin Gutter" userId="2abc6f04-74af-430b-bdc8-569c3bfa1dda" providerId="ADAL" clId="{CB1EFBC3-10F5-3048-8961-5969497C0019}" dt="2022-11-11T18:16:15.690" v="1569"/>
          <ac:spMkLst>
            <pc:docMk/>
            <pc:sldMk cId="342154919" sldId="363"/>
            <ac:spMk id="6" creationId="{E080411A-C79E-1EF7-0EFA-178BC1AA5B78}"/>
          </ac:spMkLst>
        </pc:spChg>
        <pc:spChg chg="mod ord">
          <ac:chgData name="Merlin Gutter" userId="2abc6f04-74af-430b-bdc8-569c3bfa1dda" providerId="ADAL" clId="{CB1EFBC3-10F5-3048-8961-5969497C0019}" dt="2022-11-11T18:16:15.690" v="1569"/>
          <ac:spMkLst>
            <pc:docMk/>
            <pc:sldMk cId="342154919" sldId="363"/>
            <ac:spMk id="7" creationId="{09BCF5E4-7239-9644-9DDC-8F697D16D5E6}"/>
          </ac:spMkLst>
        </pc:spChg>
        <pc:spChg chg="mod ord">
          <ac:chgData name="Merlin Gutter" userId="2abc6f04-74af-430b-bdc8-569c3bfa1dda" providerId="ADAL" clId="{CB1EFBC3-10F5-3048-8961-5969497C0019}" dt="2022-11-11T18:16:15.690" v="1569"/>
          <ac:spMkLst>
            <pc:docMk/>
            <pc:sldMk cId="342154919" sldId="363"/>
            <ac:spMk id="8" creationId="{A7D2267D-BF98-B2C0-6F81-3EF2602AEC3A}"/>
          </ac:spMkLst>
        </pc:spChg>
        <pc:spChg chg="add mod ord">
          <ac:chgData name="Merlin Gutter" userId="2abc6f04-74af-430b-bdc8-569c3bfa1dda" providerId="ADAL" clId="{CB1EFBC3-10F5-3048-8961-5969497C0019}" dt="2022-11-16T02:13:09.942" v="55769" actId="20577"/>
          <ac:spMkLst>
            <pc:docMk/>
            <pc:sldMk cId="342154919" sldId="363"/>
            <ac:spMk id="9" creationId="{53004F1F-D459-BEA8-3755-73A896019AC2}"/>
          </ac:spMkLst>
        </pc:spChg>
        <pc:spChg chg="add mod ord">
          <ac:chgData name="Merlin Gutter" userId="2abc6f04-74af-430b-bdc8-569c3bfa1dda" providerId="ADAL" clId="{CB1EFBC3-10F5-3048-8961-5969497C0019}" dt="2022-11-16T02:13:11.776" v="55770" actId="20577"/>
          <ac:spMkLst>
            <pc:docMk/>
            <pc:sldMk cId="342154919" sldId="363"/>
            <ac:spMk id="10" creationId="{AAEE8545-38C3-143A-F749-6BD8A30176BD}"/>
          </ac:spMkLst>
        </pc:spChg>
        <pc:spChg chg="add mod ord">
          <ac:chgData name="Merlin Gutter" userId="2abc6f04-74af-430b-bdc8-569c3bfa1dda" providerId="ADAL" clId="{CB1EFBC3-10F5-3048-8961-5969497C0019}" dt="2022-11-11T18:16:15.690" v="1569"/>
          <ac:spMkLst>
            <pc:docMk/>
            <pc:sldMk cId="342154919" sldId="363"/>
            <ac:spMk id="11" creationId="{41F419EC-D04F-3882-FC69-328271C595D5}"/>
          </ac:spMkLst>
        </pc:spChg>
        <pc:spChg chg="add del mod">
          <ac:chgData name="Merlin Gutter" userId="2abc6f04-74af-430b-bdc8-569c3bfa1dda" providerId="ADAL" clId="{CB1EFBC3-10F5-3048-8961-5969497C0019}" dt="2022-11-11T18:16:36.248" v="1616"/>
          <ac:spMkLst>
            <pc:docMk/>
            <pc:sldMk cId="342154919" sldId="363"/>
            <ac:spMk id="12" creationId="{AC7065AC-5589-746A-C6A1-B509E7406CA6}"/>
          </ac:spMkLst>
        </pc:spChg>
        <pc:spChg chg="add del mod">
          <ac:chgData name="Merlin Gutter" userId="2abc6f04-74af-430b-bdc8-569c3bfa1dda" providerId="ADAL" clId="{CB1EFBC3-10F5-3048-8961-5969497C0019}" dt="2022-11-16T02:29:00.217" v="55840" actId="478"/>
          <ac:spMkLst>
            <pc:docMk/>
            <pc:sldMk cId="342154919" sldId="363"/>
            <ac:spMk id="13" creationId="{769A4094-498D-D5A6-C15C-A58C969CDE76}"/>
          </ac:spMkLst>
        </pc:spChg>
        <pc:spChg chg="add del mod">
          <ac:chgData name="Merlin Gutter" userId="2abc6f04-74af-430b-bdc8-569c3bfa1dda" providerId="ADAL" clId="{CB1EFBC3-10F5-3048-8961-5969497C0019}" dt="2022-11-11T18:16:51.768" v="1653" actId="478"/>
          <ac:spMkLst>
            <pc:docMk/>
            <pc:sldMk cId="342154919" sldId="363"/>
            <ac:spMk id="14" creationId="{F4B74951-4885-D034-2FE0-3F1B83C212A7}"/>
          </ac:spMkLst>
        </pc:spChg>
        <pc:spChg chg="add del mod">
          <ac:chgData name="Merlin Gutter" userId="2abc6f04-74af-430b-bdc8-569c3bfa1dda" providerId="ADAL" clId="{CB1EFBC3-10F5-3048-8961-5969497C0019}" dt="2022-11-16T02:12:39.801" v="55749" actId="478"/>
          <ac:spMkLst>
            <pc:docMk/>
            <pc:sldMk cId="342154919" sldId="363"/>
            <ac:spMk id="15" creationId="{E8BF40AB-4DF6-BCFC-227D-5D55FBA50FED}"/>
          </ac:spMkLst>
        </pc:spChg>
        <pc:spChg chg="add del mod">
          <ac:chgData name="Merlin Gutter" userId="2abc6f04-74af-430b-bdc8-569c3bfa1dda" providerId="ADAL" clId="{CB1EFBC3-10F5-3048-8961-5969497C0019}" dt="2022-11-16T02:45:53.450" v="55954" actId="478"/>
          <ac:spMkLst>
            <pc:docMk/>
            <pc:sldMk cId="342154919" sldId="363"/>
            <ac:spMk id="19" creationId="{17791419-3FDD-139A-DC7B-FC1259BCE01E}"/>
          </ac:spMkLst>
        </pc:spChg>
        <pc:spChg chg="add del mod">
          <ac:chgData name="Merlin Gutter" userId="2abc6f04-74af-430b-bdc8-569c3bfa1dda" providerId="ADAL" clId="{CB1EFBC3-10F5-3048-8961-5969497C0019}" dt="2022-11-16T02:46:39.512" v="56006" actId="478"/>
          <ac:spMkLst>
            <pc:docMk/>
            <pc:sldMk cId="342154919" sldId="363"/>
            <ac:spMk id="20" creationId="{E3A60911-5918-E521-DE48-C141F23321E9}"/>
          </ac:spMkLst>
        </pc:spChg>
        <pc:spChg chg="add del mod">
          <ac:chgData name="Merlin Gutter" userId="2abc6f04-74af-430b-bdc8-569c3bfa1dda" providerId="ADAL" clId="{CB1EFBC3-10F5-3048-8961-5969497C0019}" dt="2022-11-16T02:35:56.681" v="55921" actId="478"/>
          <ac:spMkLst>
            <pc:docMk/>
            <pc:sldMk cId="342154919" sldId="363"/>
            <ac:spMk id="21" creationId="{AF70D67E-F6E7-FAD0-AD24-6CD4ADC15AC4}"/>
          </ac:spMkLst>
        </pc:spChg>
        <pc:spChg chg="add del mod">
          <ac:chgData name="Merlin Gutter" userId="2abc6f04-74af-430b-bdc8-569c3bfa1dda" providerId="ADAL" clId="{CB1EFBC3-10F5-3048-8961-5969497C0019}" dt="2022-11-16T02:47:55.937" v="56115" actId="478"/>
          <ac:spMkLst>
            <pc:docMk/>
            <pc:sldMk cId="342154919" sldId="363"/>
            <ac:spMk id="22" creationId="{88C98EED-2894-E428-0C5D-EE1EA888A77B}"/>
          </ac:spMkLst>
        </pc:spChg>
        <pc:spChg chg="add del mod">
          <ac:chgData name="Merlin Gutter" userId="2abc6f04-74af-430b-bdc8-569c3bfa1dda" providerId="ADAL" clId="{CB1EFBC3-10F5-3048-8961-5969497C0019}" dt="2022-11-16T02:35:55.423" v="55920" actId="478"/>
          <ac:spMkLst>
            <pc:docMk/>
            <pc:sldMk cId="342154919" sldId="363"/>
            <ac:spMk id="23" creationId="{111D9766-B863-02DD-97A7-8665619E842E}"/>
          </ac:spMkLst>
        </pc:spChg>
        <pc:spChg chg="mod">
          <ac:chgData name="Merlin Gutter" userId="2abc6f04-74af-430b-bdc8-569c3bfa1dda" providerId="ADAL" clId="{CB1EFBC3-10F5-3048-8961-5969497C0019}" dt="2022-11-16T02:33:24.588" v="55895"/>
          <ac:spMkLst>
            <pc:docMk/>
            <pc:sldMk cId="342154919" sldId="363"/>
            <ac:spMk id="24" creationId="{A8845A14-6DA5-06B0-2312-8412F639E5AD}"/>
          </ac:spMkLst>
        </pc:spChg>
        <pc:spChg chg="mod">
          <ac:chgData name="Merlin Gutter" userId="2abc6f04-74af-430b-bdc8-569c3bfa1dda" providerId="ADAL" clId="{CB1EFBC3-10F5-3048-8961-5969497C0019}" dt="2022-11-16T02:34:10.098" v="55907"/>
          <ac:spMkLst>
            <pc:docMk/>
            <pc:sldMk cId="342154919" sldId="363"/>
            <ac:spMk id="25" creationId="{FA720329-761D-2B0F-8FA0-82D64CD478E5}"/>
          </ac:spMkLst>
        </pc:spChg>
        <pc:spChg chg="mod">
          <ac:chgData name="Merlin Gutter" userId="2abc6f04-74af-430b-bdc8-569c3bfa1dda" providerId="ADAL" clId="{CB1EFBC3-10F5-3048-8961-5969497C0019}" dt="2022-11-16T02:35:15.596" v="55916"/>
          <ac:spMkLst>
            <pc:docMk/>
            <pc:sldMk cId="342154919" sldId="363"/>
            <ac:spMk id="26" creationId="{6CB45A7C-B90F-EE3C-CFD4-C90ACA829B75}"/>
          </ac:spMkLst>
        </pc:spChg>
        <pc:spChg chg="mod">
          <ac:chgData name="Merlin Gutter" userId="2abc6f04-74af-430b-bdc8-569c3bfa1dda" providerId="ADAL" clId="{CB1EFBC3-10F5-3048-8961-5969497C0019}" dt="2022-11-16T02:35:51.690" v="55919"/>
          <ac:spMkLst>
            <pc:docMk/>
            <pc:sldMk cId="342154919" sldId="363"/>
            <ac:spMk id="27" creationId="{C9DD1263-625C-B303-8406-AD69BACF2EB3}"/>
          </ac:spMkLst>
        </pc:spChg>
        <pc:spChg chg="add del mod">
          <ac:chgData name="Merlin Gutter" userId="2abc6f04-74af-430b-bdc8-569c3bfa1dda" providerId="ADAL" clId="{CB1EFBC3-10F5-3048-8961-5969497C0019}" dt="2022-11-16T02:45:07.158" v="55934" actId="478"/>
          <ac:spMkLst>
            <pc:docMk/>
            <pc:sldMk cId="342154919" sldId="363"/>
            <ac:spMk id="28" creationId="{D6E5B00C-0013-C530-19EC-B02F89C733D1}"/>
          </ac:spMkLst>
        </pc:spChg>
        <pc:spChg chg="add mod topLvl">
          <ac:chgData name="Merlin Gutter" userId="2abc6f04-74af-430b-bdc8-569c3bfa1dda" providerId="ADAL" clId="{CB1EFBC3-10F5-3048-8961-5969497C0019}" dt="2022-11-16T15:55:11.027" v="56678" actId="165"/>
          <ac:spMkLst>
            <pc:docMk/>
            <pc:sldMk cId="342154919" sldId="363"/>
            <ac:spMk id="29" creationId="{DF7555F6-D916-200F-E714-826F52BAE88F}"/>
          </ac:spMkLst>
        </pc:spChg>
        <pc:spChg chg="add mod topLvl">
          <ac:chgData name="Merlin Gutter" userId="2abc6f04-74af-430b-bdc8-569c3bfa1dda" providerId="ADAL" clId="{CB1EFBC3-10F5-3048-8961-5969497C0019}" dt="2022-11-16T15:55:19.842" v="56680"/>
          <ac:spMkLst>
            <pc:docMk/>
            <pc:sldMk cId="342154919" sldId="363"/>
            <ac:spMk id="30" creationId="{204DA5CC-D781-C8B8-5438-2B4C46BBE1D3}"/>
          </ac:spMkLst>
        </pc:spChg>
        <pc:spChg chg="mod topLvl">
          <ac:chgData name="Merlin Gutter" userId="2abc6f04-74af-430b-bdc8-569c3bfa1dda" providerId="ADAL" clId="{CB1EFBC3-10F5-3048-8961-5969497C0019}" dt="2022-11-16T15:55:08.301" v="56677" actId="165"/>
          <ac:spMkLst>
            <pc:docMk/>
            <pc:sldMk cId="342154919" sldId="363"/>
            <ac:spMk id="33" creationId="{EEA5B208-C1A1-397E-1440-9735E79EE690}"/>
          </ac:spMkLst>
        </pc:spChg>
        <pc:spChg chg="mod topLvl">
          <ac:chgData name="Merlin Gutter" userId="2abc6f04-74af-430b-bdc8-569c3bfa1dda" providerId="ADAL" clId="{CB1EFBC3-10F5-3048-8961-5969497C0019}" dt="2022-11-16T15:57:13.830" v="56721" actId="20577"/>
          <ac:spMkLst>
            <pc:docMk/>
            <pc:sldMk cId="342154919" sldId="363"/>
            <ac:spMk id="34" creationId="{AF2D454B-6FB7-B1D6-67DB-5D1510BC82B8}"/>
          </ac:spMkLst>
        </pc:spChg>
        <pc:spChg chg="mod topLvl">
          <ac:chgData name="Merlin Gutter" userId="2abc6f04-74af-430b-bdc8-569c3bfa1dda" providerId="ADAL" clId="{CB1EFBC3-10F5-3048-8961-5969497C0019}" dt="2022-11-16T15:55:05.706" v="56676" actId="165"/>
          <ac:spMkLst>
            <pc:docMk/>
            <pc:sldMk cId="342154919" sldId="363"/>
            <ac:spMk id="36" creationId="{831202D0-AF1E-1A5F-FBC2-B1A37CD70EF8}"/>
          </ac:spMkLst>
        </pc:spChg>
        <pc:spChg chg="mod topLvl">
          <ac:chgData name="Merlin Gutter" userId="2abc6f04-74af-430b-bdc8-569c3bfa1dda" providerId="ADAL" clId="{CB1EFBC3-10F5-3048-8961-5969497C0019}" dt="2022-11-16T16:07:59.416" v="56800" actId="20577"/>
          <ac:spMkLst>
            <pc:docMk/>
            <pc:sldMk cId="342154919" sldId="363"/>
            <ac:spMk id="37" creationId="{5375BD5A-D6A1-2BC6-BEAB-C87F9FA48CC4}"/>
          </ac:spMkLst>
        </pc:spChg>
        <pc:spChg chg="add mod">
          <ac:chgData name="Merlin Gutter" userId="2abc6f04-74af-430b-bdc8-569c3bfa1dda" providerId="ADAL" clId="{CB1EFBC3-10F5-3048-8961-5969497C0019}" dt="2022-11-16T15:53:41.967" v="56660" actId="465"/>
          <ac:spMkLst>
            <pc:docMk/>
            <pc:sldMk cId="342154919" sldId="363"/>
            <ac:spMk id="38" creationId="{0DB56A82-47DC-413D-7EB7-FBA3E0740DBC}"/>
          </ac:spMkLst>
        </pc:spChg>
        <pc:spChg chg="add mod">
          <ac:chgData name="Merlin Gutter" userId="2abc6f04-74af-430b-bdc8-569c3bfa1dda" providerId="ADAL" clId="{CB1EFBC3-10F5-3048-8961-5969497C0019}" dt="2022-11-16T15:53:41.967" v="56660" actId="465"/>
          <ac:spMkLst>
            <pc:docMk/>
            <pc:sldMk cId="342154919" sldId="363"/>
            <ac:spMk id="39" creationId="{65F934A3-256E-8E21-1A3E-138213931176}"/>
          </ac:spMkLst>
        </pc:spChg>
        <pc:spChg chg="add mod">
          <ac:chgData name="Merlin Gutter" userId="2abc6f04-74af-430b-bdc8-569c3bfa1dda" providerId="ADAL" clId="{CB1EFBC3-10F5-3048-8961-5969497C0019}" dt="2022-11-16T15:53:41.967" v="56660" actId="465"/>
          <ac:spMkLst>
            <pc:docMk/>
            <pc:sldMk cId="342154919" sldId="363"/>
            <ac:spMk id="40" creationId="{AE47ADB8-6E17-BF19-A358-BCE11F610D5B}"/>
          </ac:spMkLst>
        </pc:spChg>
        <pc:spChg chg="add del mod">
          <ac:chgData name="Merlin Gutter" userId="2abc6f04-74af-430b-bdc8-569c3bfa1dda" providerId="ADAL" clId="{CB1EFBC3-10F5-3048-8961-5969497C0019}" dt="2022-11-16T15:51:38.438" v="56591" actId="478"/>
          <ac:spMkLst>
            <pc:docMk/>
            <pc:sldMk cId="342154919" sldId="363"/>
            <ac:spMk id="41" creationId="{B9CA7069-3984-78D3-2E53-E179491FEC47}"/>
          </ac:spMkLst>
        </pc:spChg>
        <pc:spChg chg="add del mod">
          <ac:chgData name="Merlin Gutter" userId="2abc6f04-74af-430b-bdc8-569c3bfa1dda" providerId="ADAL" clId="{CB1EFBC3-10F5-3048-8961-5969497C0019}" dt="2022-11-16T15:51:43.272" v="56593" actId="478"/>
          <ac:spMkLst>
            <pc:docMk/>
            <pc:sldMk cId="342154919" sldId="363"/>
            <ac:spMk id="42" creationId="{4A16D857-C41F-4072-3B96-84946C60CD77}"/>
          </ac:spMkLst>
        </pc:spChg>
        <pc:spChg chg="add del mod">
          <ac:chgData name="Merlin Gutter" userId="2abc6f04-74af-430b-bdc8-569c3bfa1dda" providerId="ADAL" clId="{CB1EFBC3-10F5-3048-8961-5969497C0019}" dt="2022-11-16T15:51:41.881" v="56592" actId="478"/>
          <ac:spMkLst>
            <pc:docMk/>
            <pc:sldMk cId="342154919" sldId="363"/>
            <ac:spMk id="43" creationId="{8CFDDF70-CF9B-997C-ED22-7B36E4E65C8D}"/>
          </ac:spMkLst>
        </pc:spChg>
        <pc:spChg chg="add del mod">
          <ac:chgData name="Merlin Gutter" userId="2abc6f04-74af-430b-bdc8-569c3bfa1dda" providerId="ADAL" clId="{CB1EFBC3-10F5-3048-8961-5969497C0019}" dt="2022-11-16T15:51:45.140" v="56594" actId="478"/>
          <ac:spMkLst>
            <pc:docMk/>
            <pc:sldMk cId="342154919" sldId="363"/>
            <ac:spMk id="44" creationId="{0B3DA343-420B-567F-9A76-D6060B784DC6}"/>
          </ac:spMkLst>
        </pc:spChg>
        <pc:spChg chg="add del mod">
          <ac:chgData name="Merlin Gutter" userId="2abc6f04-74af-430b-bdc8-569c3bfa1dda" providerId="ADAL" clId="{CB1EFBC3-10F5-3048-8961-5969497C0019}" dt="2022-11-16T15:51:46.654" v="56595" actId="478"/>
          <ac:spMkLst>
            <pc:docMk/>
            <pc:sldMk cId="342154919" sldId="363"/>
            <ac:spMk id="45" creationId="{48DB9FB6-6DFB-CAFE-15F7-A36CCE2A7862}"/>
          </ac:spMkLst>
        </pc:spChg>
        <pc:spChg chg="add del mod">
          <ac:chgData name="Merlin Gutter" userId="2abc6f04-74af-430b-bdc8-569c3bfa1dda" providerId="ADAL" clId="{CB1EFBC3-10F5-3048-8961-5969497C0019}" dt="2022-11-16T15:51:48.101" v="56596" actId="478"/>
          <ac:spMkLst>
            <pc:docMk/>
            <pc:sldMk cId="342154919" sldId="363"/>
            <ac:spMk id="46" creationId="{B805709E-D613-19EF-2743-13D2C7A12C4B}"/>
          </ac:spMkLst>
        </pc:spChg>
        <pc:spChg chg="add del mod">
          <ac:chgData name="Merlin Gutter" userId="2abc6f04-74af-430b-bdc8-569c3bfa1dda" providerId="ADAL" clId="{CB1EFBC3-10F5-3048-8961-5969497C0019}" dt="2022-11-16T15:51:57.274" v="56606"/>
          <ac:spMkLst>
            <pc:docMk/>
            <pc:sldMk cId="342154919" sldId="363"/>
            <ac:spMk id="48" creationId="{BB7B3989-8904-CE5D-0087-7F3F300D765C}"/>
          </ac:spMkLst>
        </pc:spChg>
        <pc:spChg chg="add del mod">
          <ac:chgData name="Merlin Gutter" userId="2abc6f04-74af-430b-bdc8-569c3bfa1dda" providerId="ADAL" clId="{CB1EFBC3-10F5-3048-8961-5969497C0019}" dt="2022-11-16T15:51:57.274" v="56606"/>
          <ac:spMkLst>
            <pc:docMk/>
            <pc:sldMk cId="342154919" sldId="363"/>
            <ac:spMk id="49" creationId="{BA25328A-B716-75C9-AAEF-0D16A9B24A3D}"/>
          </ac:spMkLst>
        </pc:spChg>
        <pc:spChg chg="add del mod">
          <ac:chgData name="Merlin Gutter" userId="2abc6f04-74af-430b-bdc8-569c3bfa1dda" providerId="ADAL" clId="{CB1EFBC3-10F5-3048-8961-5969497C0019}" dt="2022-11-16T15:51:57.274" v="56606"/>
          <ac:spMkLst>
            <pc:docMk/>
            <pc:sldMk cId="342154919" sldId="363"/>
            <ac:spMk id="50" creationId="{D0CA524E-101D-36F6-FEAF-C47B03FF34F1}"/>
          </ac:spMkLst>
        </pc:spChg>
        <pc:spChg chg="add del mod">
          <ac:chgData name="Merlin Gutter" userId="2abc6f04-74af-430b-bdc8-569c3bfa1dda" providerId="ADAL" clId="{CB1EFBC3-10F5-3048-8961-5969497C0019}" dt="2022-11-16T15:51:55.854" v="56605"/>
          <ac:spMkLst>
            <pc:docMk/>
            <pc:sldMk cId="342154919" sldId="363"/>
            <ac:spMk id="51" creationId="{A110F9EB-3DEB-5B18-734F-4B6026D95093}"/>
          </ac:spMkLst>
        </pc:spChg>
        <pc:spChg chg="add del mod">
          <ac:chgData name="Merlin Gutter" userId="2abc6f04-74af-430b-bdc8-569c3bfa1dda" providerId="ADAL" clId="{CB1EFBC3-10F5-3048-8961-5969497C0019}" dt="2022-11-16T15:51:55.854" v="56605"/>
          <ac:spMkLst>
            <pc:docMk/>
            <pc:sldMk cId="342154919" sldId="363"/>
            <ac:spMk id="52" creationId="{C0B5A769-B449-83F3-4FEA-8AEC909D9DE5}"/>
          </ac:spMkLst>
        </pc:spChg>
        <pc:spChg chg="add del mod">
          <ac:chgData name="Merlin Gutter" userId="2abc6f04-74af-430b-bdc8-569c3bfa1dda" providerId="ADAL" clId="{CB1EFBC3-10F5-3048-8961-5969497C0019}" dt="2022-11-16T15:51:55.854" v="56605"/>
          <ac:spMkLst>
            <pc:docMk/>
            <pc:sldMk cId="342154919" sldId="363"/>
            <ac:spMk id="53" creationId="{D2125E11-B8F1-1DA0-91D0-D7FA1D282CC6}"/>
          </ac:spMkLst>
        </pc:spChg>
        <pc:spChg chg="mod">
          <ac:chgData name="Merlin Gutter" userId="2abc6f04-74af-430b-bdc8-569c3bfa1dda" providerId="ADAL" clId="{CB1EFBC3-10F5-3048-8961-5969497C0019}" dt="2022-11-16T15:53:41.967" v="56660" actId="465"/>
          <ac:spMkLst>
            <pc:docMk/>
            <pc:sldMk cId="342154919" sldId="363"/>
            <ac:spMk id="55" creationId="{601DB842-392D-D613-D9A6-3A561FCE9B91}"/>
          </ac:spMkLst>
        </pc:spChg>
        <pc:spChg chg="mod">
          <ac:chgData name="Merlin Gutter" userId="2abc6f04-74af-430b-bdc8-569c3bfa1dda" providerId="ADAL" clId="{CB1EFBC3-10F5-3048-8961-5969497C0019}" dt="2022-11-16T15:53:41.967" v="56660" actId="465"/>
          <ac:spMkLst>
            <pc:docMk/>
            <pc:sldMk cId="342154919" sldId="363"/>
            <ac:spMk id="56" creationId="{89F2305F-5423-AFAC-EC22-5AC1F8B315FE}"/>
          </ac:spMkLst>
        </pc:spChg>
        <pc:spChg chg="mod">
          <ac:chgData name="Merlin Gutter" userId="2abc6f04-74af-430b-bdc8-569c3bfa1dda" providerId="ADAL" clId="{CB1EFBC3-10F5-3048-8961-5969497C0019}" dt="2022-11-16T15:53:41.967" v="56660" actId="465"/>
          <ac:spMkLst>
            <pc:docMk/>
            <pc:sldMk cId="342154919" sldId="363"/>
            <ac:spMk id="57" creationId="{50D2D354-E7AE-938B-F374-7C7F66E065EC}"/>
          </ac:spMkLst>
        </pc:spChg>
        <pc:spChg chg="mod">
          <ac:chgData name="Merlin Gutter" userId="2abc6f04-74af-430b-bdc8-569c3bfa1dda" providerId="ADAL" clId="{CB1EFBC3-10F5-3048-8961-5969497C0019}" dt="2022-11-16T15:53:41.967" v="56660" actId="465"/>
          <ac:spMkLst>
            <pc:docMk/>
            <pc:sldMk cId="342154919" sldId="363"/>
            <ac:spMk id="59" creationId="{0FC55C16-3EE6-DBD6-5D56-2C0DE0718EB6}"/>
          </ac:spMkLst>
        </pc:spChg>
        <pc:spChg chg="mod">
          <ac:chgData name="Merlin Gutter" userId="2abc6f04-74af-430b-bdc8-569c3bfa1dda" providerId="ADAL" clId="{CB1EFBC3-10F5-3048-8961-5969497C0019}" dt="2022-11-16T15:53:41.967" v="56660" actId="465"/>
          <ac:spMkLst>
            <pc:docMk/>
            <pc:sldMk cId="342154919" sldId="363"/>
            <ac:spMk id="60" creationId="{4E6F59DE-D63E-6B36-0E10-CADFD2A0C6EB}"/>
          </ac:spMkLst>
        </pc:spChg>
        <pc:spChg chg="mod">
          <ac:chgData name="Merlin Gutter" userId="2abc6f04-74af-430b-bdc8-569c3bfa1dda" providerId="ADAL" clId="{CB1EFBC3-10F5-3048-8961-5969497C0019}" dt="2022-11-16T15:53:41.967" v="56660" actId="465"/>
          <ac:spMkLst>
            <pc:docMk/>
            <pc:sldMk cId="342154919" sldId="363"/>
            <ac:spMk id="61" creationId="{D3AD7CE1-505C-1DC7-0042-6EEC73170839}"/>
          </ac:spMkLst>
        </pc:spChg>
        <pc:spChg chg="mod">
          <ac:chgData name="Merlin Gutter" userId="2abc6f04-74af-430b-bdc8-569c3bfa1dda" providerId="ADAL" clId="{CB1EFBC3-10F5-3048-8961-5969497C0019}" dt="2022-11-16T16:07:08.254" v="56772" actId="313"/>
          <ac:spMkLst>
            <pc:docMk/>
            <pc:sldMk cId="342154919" sldId="363"/>
            <ac:spMk id="1025" creationId="{E5FE6A88-5D0C-F40D-CDC0-3801E8B0E8B4}"/>
          </ac:spMkLst>
        </pc:spChg>
        <pc:spChg chg="mod">
          <ac:chgData name="Merlin Gutter" userId="2abc6f04-74af-430b-bdc8-569c3bfa1dda" providerId="ADAL" clId="{CB1EFBC3-10F5-3048-8961-5969497C0019}" dt="2022-11-16T16:00:32.275" v="56759"/>
          <ac:spMkLst>
            <pc:docMk/>
            <pc:sldMk cId="342154919" sldId="363"/>
            <ac:spMk id="1027" creationId="{60D1E39D-2293-EB33-E134-BE405DE13F63}"/>
          </ac:spMkLst>
        </pc:spChg>
        <pc:spChg chg="del mod">
          <ac:chgData name="Merlin Gutter" userId="2abc6f04-74af-430b-bdc8-569c3bfa1dda" providerId="ADAL" clId="{CB1EFBC3-10F5-3048-8961-5969497C0019}" dt="2022-11-16T16:00:28.681" v="56757" actId="478"/>
          <ac:spMkLst>
            <pc:docMk/>
            <pc:sldMk cId="342154919" sldId="363"/>
            <ac:spMk id="1029" creationId="{F42392EB-B3B3-1AAA-074C-DD9E0C877389}"/>
          </ac:spMkLst>
        </pc:spChg>
        <pc:spChg chg="mod">
          <ac:chgData name="Merlin Gutter" userId="2abc6f04-74af-430b-bdc8-569c3bfa1dda" providerId="ADAL" clId="{CB1EFBC3-10F5-3048-8961-5969497C0019}" dt="2022-11-16T15:58:50.977" v="56754"/>
          <ac:spMkLst>
            <pc:docMk/>
            <pc:sldMk cId="342154919" sldId="363"/>
            <ac:spMk id="1032" creationId="{EDE7119E-69BB-097F-B6C3-D71BBF5C86F8}"/>
          </ac:spMkLst>
        </pc:spChg>
        <pc:spChg chg="mod">
          <ac:chgData name="Merlin Gutter" userId="2abc6f04-74af-430b-bdc8-569c3bfa1dda" providerId="ADAL" clId="{CB1EFBC3-10F5-3048-8961-5969497C0019}" dt="2022-11-16T15:58:50.977" v="56754"/>
          <ac:spMkLst>
            <pc:docMk/>
            <pc:sldMk cId="342154919" sldId="363"/>
            <ac:spMk id="1033" creationId="{7EB3FFF4-3B11-A71D-2223-C7BEED93FA92}"/>
          </ac:spMkLst>
        </pc:spChg>
        <pc:spChg chg="mod">
          <ac:chgData name="Merlin Gutter" userId="2abc6f04-74af-430b-bdc8-569c3bfa1dda" providerId="ADAL" clId="{CB1EFBC3-10F5-3048-8961-5969497C0019}" dt="2022-11-16T15:58:50.977" v="56754"/>
          <ac:spMkLst>
            <pc:docMk/>
            <pc:sldMk cId="342154919" sldId="363"/>
            <ac:spMk id="1034" creationId="{DD9B2A48-C539-D9FF-87FF-64E3E940A5EE}"/>
          </ac:spMkLst>
        </pc:spChg>
        <pc:grpChg chg="add del mod">
          <ac:chgData name="Merlin Gutter" userId="2abc6f04-74af-430b-bdc8-569c3bfa1dda" providerId="ADAL" clId="{CB1EFBC3-10F5-3048-8961-5969497C0019}" dt="2022-11-16T15:55:11.027" v="56678" actId="165"/>
          <ac:grpSpMkLst>
            <pc:docMk/>
            <pc:sldMk cId="342154919" sldId="363"/>
            <ac:grpSpMk id="31" creationId="{AEA16A33-40A9-EF4B-60B3-03884041A651}"/>
          </ac:grpSpMkLst>
        </pc:grpChg>
        <pc:grpChg chg="add del mod">
          <ac:chgData name="Merlin Gutter" userId="2abc6f04-74af-430b-bdc8-569c3bfa1dda" providerId="ADAL" clId="{CB1EFBC3-10F5-3048-8961-5969497C0019}" dt="2022-11-16T15:55:08.301" v="56677" actId="165"/>
          <ac:grpSpMkLst>
            <pc:docMk/>
            <pc:sldMk cId="342154919" sldId="363"/>
            <ac:grpSpMk id="32" creationId="{0EA1E196-5EFB-BE88-52CC-2E48DCBE48E3}"/>
          </ac:grpSpMkLst>
        </pc:grpChg>
        <pc:grpChg chg="add del mod">
          <ac:chgData name="Merlin Gutter" userId="2abc6f04-74af-430b-bdc8-569c3bfa1dda" providerId="ADAL" clId="{CB1EFBC3-10F5-3048-8961-5969497C0019}" dt="2022-11-16T15:55:05.706" v="56676" actId="165"/>
          <ac:grpSpMkLst>
            <pc:docMk/>
            <pc:sldMk cId="342154919" sldId="363"/>
            <ac:grpSpMk id="35" creationId="{24EF01D9-2530-A7F3-863E-0B661972CE27}"/>
          </ac:grpSpMkLst>
        </pc:grpChg>
        <pc:grpChg chg="add mod">
          <ac:chgData name="Merlin Gutter" userId="2abc6f04-74af-430b-bdc8-569c3bfa1dda" providerId="ADAL" clId="{CB1EFBC3-10F5-3048-8961-5969497C0019}" dt="2022-11-16T16:06:34.778" v="56768" actId="1076"/>
          <ac:grpSpMkLst>
            <pc:docMk/>
            <pc:sldMk cId="342154919" sldId="363"/>
            <ac:grpSpMk id="47" creationId="{6340454D-B0FD-F82D-7141-24E7773E443B}"/>
          </ac:grpSpMkLst>
        </pc:grpChg>
        <pc:grpChg chg="add mod">
          <ac:chgData name="Merlin Gutter" userId="2abc6f04-74af-430b-bdc8-569c3bfa1dda" providerId="ADAL" clId="{CB1EFBC3-10F5-3048-8961-5969497C0019}" dt="2022-11-16T16:06:37.686" v="56769" actId="1076"/>
          <ac:grpSpMkLst>
            <pc:docMk/>
            <pc:sldMk cId="342154919" sldId="363"/>
            <ac:grpSpMk id="54" creationId="{882BD1F5-AA6D-2193-48EA-E1643C12A01F}"/>
          </ac:grpSpMkLst>
        </pc:grpChg>
        <pc:grpChg chg="add mod">
          <ac:chgData name="Merlin Gutter" userId="2abc6f04-74af-430b-bdc8-569c3bfa1dda" providerId="ADAL" clId="{CB1EFBC3-10F5-3048-8961-5969497C0019}" dt="2022-11-16T16:06:40.475" v="56770" actId="1076"/>
          <ac:grpSpMkLst>
            <pc:docMk/>
            <pc:sldMk cId="342154919" sldId="363"/>
            <ac:grpSpMk id="58" creationId="{BBECCDE6-DB0A-FAAE-5109-1450E58D1A22}"/>
          </ac:grpSpMkLst>
        </pc:grpChg>
        <pc:grpChg chg="add mod">
          <ac:chgData name="Merlin Gutter" userId="2abc6f04-74af-430b-bdc8-569c3bfa1dda" providerId="ADAL" clId="{CB1EFBC3-10F5-3048-8961-5969497C0019}" dt="2022-11-16T16:06:49.784" v="56771" actId="1076"/>
          <ac:grpSpMkLst>
            <pc:docMk/>
            <pc:sldMk cId="342154919" sldId="363"/>
            <ac:grpSpMk id="1024" creationId="{7635AD4C-1BA3-78EB-C630-1B36D6B2BA85}"/>
          </ac:grpSpMkLst>
        </pc:grpChg>
        <pc:grpChg chg="add mod">
          <ac:chgData name="Merlin Gutter" userId="2abc6f04-74af-430b-bdc8-569c3bfa1dda" providerId="ADAL" clId="{CB1EFBC3-10F5-3048-8961-5969497C0019}" dt="2022-11-16T15:58:50.977" v="56754"/>
          <ac:grpSpMkLst>
            <pc:docMk/>
            <pc:sldMk cId="342154919" sldId="363"/>
            <ac:grpSpMk id="1031" creationId="{8484A67E-D67D-D227-364F-277F5CD60B34}"/>
          </ac:grpSpMkLst>
        </pc:grpChg>
        <pc:picChg chg="add del mod modCrop">
          <ac:chgData name="Merlin Gutter" userId="2abc6f04-74af-430b-bdc8-569c3bfa1dda" providerId="ADAL" clId="{CB1EFBC3-10F5-3048-8961-5969497C0019}" dt="2022-11-16T02:12:27.733" v="55744" actId="478"/>
          <ac:picMkLst>
            <pc:docMk/>
            <pc:sldMk cId="342154919" sldId="363"/>
            <ac:picMk id="2" creationId="{42FC6E22-15DD-AC31-CB4A-4685080CA7ED}"/>
          </ac:picMkLst>
        </pc:picChg>
        <pc:picChg chg="add mod">
          <ac:chgData name="Merlin Gutter" userId="2abc6f04-74af-430b-bdc8-569c3bfa1dda" providerId="ADAL" clId="{CB1EFBC3-10F5-3048-8961-5969497C0019}" dt="2022-11-16T02:12:59.244" v="55755" actId="14861"/>
          <ac:picMkLst>
            <pc:docMk/>
            <pc:sldMk cId="342154919" sldId="363"/>
            <ac:picMk id="3" creationId="{B6E38844-62E5-CF8F-F67F-CF9B7C5747BF}"/>
          </ac:picMkLst>
        </pc:picChg>
        <pc:picChg chg="add del mod">
          <ac:chgData name="Merlin Gutter" userId="2abc6f04-74af-430b-bdc8-569c3bfa1dda" providerId="ADAL" clId="{CB1EFBC3-10F5-3048-8961-5969497C0019}" dt="2022-11-16T02:26:42.344" v="55805" actId="478"/>
          <ac:picMkLst>
            <pc:docMk/>
            <pc:sldMk cId="342154919" sldId="363"/>
            <ac:picMk id="6" creationId="{8F9863B4-524A-78A4-93FE-24852FEFC6A7}"/>
          </ac:picMkLst>
        </pc:picChg>
        <pc:picChg chg="add mod">
          <ac:chgData name="Merlin Gutter" userId="2abc6f04-74af-430b-bdc8-569c3bfa1dda" providerId="ADAL" clId="{CB1EFBC3-10F5-3048-8961-5969497C0019}" dt="2022-11-16T02:41:45.238" v="55930" actId="465"/>
          <ac:picMkLst>
            <pc:docMk/>
            <pc:sldMk cId="342154919" sldId="363"/>
            <ac:picMk id="12" creationId="{EDFA9FDC-68AA-FE07-FC98-2E61DCF00539}"/>
          </ac:picMkLst>
        </pc:picChg>
        <pc:picChg chg="add mod">
          <ac:chgData name="Merlin Gutter" userId="2abc6f04-74af-430b-bdc8-569c3bfa1dda" providerId="ADAL" clId="{CB1EFBC3-10F5-3048-8961-5969497C0019}" dt="2022-11-16T02:41:45.238" v="55930" actId="465"/>
          <ac:picMkLst>
            <pc:docMk/>
            <pc:sldMk cId="342154919" sldId="363"/>
            <ac:picMk id="17" creationId="{C2FD7DD7-A163-FEA4-9E8E-1E7E7C62A32C}"/>
          </ac:picMkLst>
        </pc:picChg>
        <pc:picChg chg="add mod">
          <ac:chgData name="Merlin Gutter" userId="2abc6f04-74af-430b-bdc8-569c3bfa1dda" providerId="ADAL" clId="{CB1EFBC3-10F5-3048-8961-5969497C0019}" dt="2022-11-16T02:41:45.238" v="55930" actId="465"/>
          <ac:picMkLst>
            <pc:docMk/>
            <pc:sldMk cId="342154919" sldId="363"/>
            <ac:picMk id="18" creationId="{2F8D5281-0CE6-D49B-83F9-E2FF97F1E8E5}"/>
          </ac:picMkLst>
        </pc:picChg>
        <pc:picChg chg="add del">
          <ac:chgData name="Merlin Gutter" userId="2abc6f04-74af-430b-bdc8-569c3bfa1dda" providerId="ADAL" clId="{CB1EFBC3-10F5-3048-8961-5969497C0019}" dt="2022-11-16T02:15:57.018" v="55774" actId="478"/>
          <ac:picMkLst>
            <pc:docMk/>
            <pc:sldMk cId="342154919" sldId="363"/>
            <ac:picMk id="1026" creationId="{4CE85FAD-80CA-1EC5-7CD7-FEF570E8E9AC}"/>
          </ac:picMkLst>
        </pc:picChg>
        <pc:picChg chg="add mod">
          <ac:chgData name="Merlin Gutter" userId="2abc6f04-74af-430b-bdc8-569c3bfa1dda" providerId="ADAL" clId="{CB1EFBC3-10F5-3048-8961-5969497C0019}" dt="2022-11-16T02:41:45.238" v="55930" actId="465"/>
          <ac:picMkLst>
            <pc:docMk/>
            <pc:sldMk cId="342154919" sldId="363"/>
            <ac:picMk id="1028" creationId="{7614A83A-0CBA-A7F6-9AB7-CB032CD781DE}"/>
          </ac:picMkLst>
        </pc:picChg>
        <pc:picChg chg="add mod">
          <ac:chgData name="Merlin Gutter" userId="2abc6f04-74af-430b-bdc8-569c3bfa1dda" providerId="ADAL" clId="{CB1EFBC3-10F5-3048-8961-5969497C0019}" dt="2022-11-16T02:41:45.238" v="55930" actId="465"/>
          <ac:picMkLst>
            <pc:docMk/>
            <pc:sldMk cId="342154919" sldId="363"/>
            <ac:picMk id="1030" creationId="{D6914673-009D-DE07-7EA7-89EF6A3FF3BB}"/>
          </ac:picMkLst>
        </pc:picChg>
        <pc:cxnChg chg="add mod">
          <ac:chgData name="Merlin Gutter" userId="2abc6f04-74af-430b-bdc8-569c3bfa1dda" providerId="ADAL" clId="{CB1EFBC3-10F5-3048-8961-5969497C0019}" dt="2022-11-16T02:27:16.384" v="55813"/>
          <ac:cxnSpMkLst>
            <pc:docMk/>
            <pc:sldMk cId="342154919" sldId="363"/>
            <ac:cxnSpMk id="14" creationId="{34292759-D037-373F-9F69-511C28E3556D}"/>
          </ac:cxnSpMkLst>
        </pc:cxnChg>
        <pc:cxnChg chg="add mod">
          <ac:chgData name="Merlin Gutter" userId="2abc6f04-74af-430b-bdc8-569c3bfa1dda" providerId="ADAL" clId="{CB1EFBC3-10F5-3048-8961-5969497C0019}" dt="2022-11-16T02:27:16.384" v="55813"/>
          <ac:cxnSpMkLst>
            <pc:docMk/>
            <pc:sldMk cId="342154919" sldId="363"/>
            <ac:cxnSpMk id="16" creationId="{04DC1BED-E5BD-05BC-81E5-5E4B00FD2CF8}"/>
          </ac:cxnSpMkLst>
        </pc:cxnChg>
        <pc:cxnChg chg="add mod">
          <ac:chgData name="Merlin Gutter" userId="2abc6f04-74af-430b-bdc8-569c3bfa1dda" providerId="ADAL" clId="{CB1EFBC3-10F5-3048-8961-5969497C0019}" dt="2022-11-16T15:53:41.967" v="56660" actId="465"/>
          <ac:cxnSpMkLst>
            <pc:docMk/>
            <pc:sldMk cId="342154919" sldId="363"/>
            <ac:cxnSpMk id="62" creationId="{6A3130CD-7948-A446-2E8F-4566A1B521D8}"/>
          </ac:cxnSpMkLst>
        </pc:cxnChg>
        <pc:cxnChg chg="add mod">
          <ac:chgData name="Merlin Gutter" userId="2abc6f04-74af-430b-bdc8-569c3bfa1dda" providerId="ADAL" clId="{CB1EFBC3-10F5-3048-8961-5969497C0019}" dt="2022-11-16T15:55:57.423" v="56686"/>
          <ac:cxnSpMkLst>
            <pc:docMk/>
            <pc:sldMk cId="342154919" sldId="363"/>
            <ac:cxnSpMk id="63" creationId="{9D061334-F302-8C0B-5B30-985DA493D7A7}"/>
          </ac:cxnSpMkLst>
        </pc:cxnChg>
      </pc:sldChg>
      <pc:sldChg chg="addSp delSp modSp del mod modNotesTx">
        <pc:chgData name="Merlin Gutter" userId="2abc6f04-74af-430b-bdc8-569c3bfa1dda" providerId="ADAL" clId="{CB1EFBC3-10F5-3048-8961-5969497C0019}" dt="2022-11-23T18:35:59.989" v="117064" actId="2696"/>
        <pc:sldMkLst>
          <pc:docMk/>
          <pc:sldMk cId="2029170211" sldId="364"/>
        </pc:sldMkLst>
        <pc:spChg chg="mod">
          <ac:chgData name="Merlin Gutter" userId="2abc6f04-74af-430b-bdc8-569c3bfa1dda" providerId="ADAL" clId="{CB1EFBC3-10F5-3048-8961-5969497C0019}" dt="2022-11-13T01:17:06.934" v="54970"/>
          <ac:spMkLst>
            <pc:docMk/>
            <pc:sldMk cId="2029170211" sldId="364"/>
            <ac:spMk id="2" creationId="{EBDD7A3D-4F52-3DE2-F933-8449D83DCF02}"/>
          </ac:spMkLst>
        </pc:spChg>
        <pc:spChg chg="mod">
          <ac:chgData name="Merlin Gutter" userId="2abc6f04-74af-430b-bdc8-569c3bfa1dda" providerId="ADAL" clId="{CB1EFBC3-10F5-3048-8961-5969497C0019}" dt="2022-11-13T01:17:06.934" v="54971"/>
          <ac:spMkLst>
            <pc:docMk/>
            <pc:sldMk cId="2029170211" sldId="364"/>
            <ac:spMk id="3" creationId="{4B23F066-78F6-ED99-A2E1-FCA243435AA8}"/>
          </ac:spMkLst>
        </pc:spChg>
        <pc:spChg chg="mod">
          <ac:chgData name="Merlin Gutter" userId="2abc6f04-74af-430b-bdc8-569c3bfa1dda" providerId="ADAL" clId="{CB1EFBC3-10F5-3048-8961-5969497C0019}" dt="2022-11-13T01:17:06.934" v="54972"/>
          <ac:spMkLst>
            <pc:docMk/>
            <pc:sldMk cId="2029170211" sldId="364"/>
            <ac:spMk id="4" creationId="{419A56F2-33FC-B13B-F824-5320C14683F0}"/>
          </ac:spMkLst>
        </pc:spChg>
        <pc:spChg chg="mod">
          <ac:chgData name="Merlin Gutter" userId="2abc6f04-74af-430b-bdc8-569c3bfa1dda" providerId="ADAL" clId="{CB1EFBC3-10F5-3048-8961-5969497C0019}" dt="2022-11-13T01:17:37.462" v="55103" actId="20577"/>
          <ac:spMkLst>
            <pc:docMk/>
            <pc:sldMk cId="2029170211" sldId="364"/>
            <ac:spMk id="5" creationId="{64E62B09-B628-9390-D8F1-925831825F25}"/>
          </ac:spMkLst>
        </pc:spChg>
        <pc:spChg chg="mod">
          <ac:chgData name="Merlin Gutter" userId="2abc6f04-74af-430b-bdc8-569c3bfa1dda" providerId="ADAL" clId="{CB1EFBC3-10F5-3048-8961-5969497C0019}" dt="2022-11-13T01:17:06.935" v="54974"/>
          <ac:spMkLst>
            <pc:docMk/>
            <pc:sldMk cId="2029170211" sldId="364"/>
            <ac:spMk id="6" creationId="{5CD15DEF-BD86-6BAD-F618-0FCA1640781D}"/>
          </ac:spMkLst>
        </pc:spChg>
        <pc:spChg chg="del mod">
          <ac:chgData name="Merlin Gutter" userId="2abc6f04-74af-430b-bdc8-569c3bfa1dda" providerId="ADAL" clId="{CB1EFBC3-10F5-3048-8961-5969497C0019}" dt="2022-11-12T17:10:19.843" v="39301" actId="478"/>
          <ac:spMkLst>
            <pc:docMk/>
            <pc:sldMk cId="2029170211" sldId="364"/>
            <ac:spMk id="7" creationId="{D23725AF-29A5-5EB5-1225-57E7DCDA462D}"/>
          </ac:spMkLst>
        </pc:spChg>
        <pc:spChg chg="add del mod modVis">
          <ac:chgData name="Merlin Gutter" userId="2abc6f04-74af-430b-bdc8-569c3bfa1dda" providerId="ADAL" clId="{CB1EFBC3-10F5-3048-8961-5969497C0019}" dt="2022-11-12T17:08:51.495" v="38083"/>
          <ac:spMkLst>
            <pc:docMk/>
            <pc:sldMk cId="2029170211" sldId="364"/>
            <ac:spMk id="8" creationId="{9D2FA3E8-4F44-705D-5419-665507021C3A}"/>
          </ac:spMkLst>
        </pc:spChg>
        <pc:spChg chg="add del mod">
          <ac:chgData name="Merlin Gutter" userId="2abc6f04-74af-430b-bdc8-569c3bfa1dda" providerId="ADAL" clId="{CB1EFBC3-10F5-3048-8961-5969497C0019}" dt="2022-11-11T18:22:41.117" v="1802" actId="478"/>
          <ac:spMkLst>
            <pc:docMk/>
            <pc:sldMk cId="2029170211" sldId="364"/>
            <ac:spMk id="8" creationId="{D1A24EEC-5941-B966-E810-E489BE4413F9}"/>
          </ac:spMkLst>
        </pc:spChg>
        <pc:spChg chg="mod">
          <ac:chgData name="Merlin Gutter" userId="2abc6f04-74af-430b-bdc8-569c3bfa1dda" providerId="ADAL" clId="{CB1EFBC3-10F5-3048-8961-5969497C0019}" dt="2022-11-13T01:17:06.935" v="54975"/>
          <ac:spMkLst>
            <pc:docMk/>
            <pc:sldMk cId="2029170211" sldId="364"/>
            <ac:spMk id="9" creationId="{2E678CB3-6BF2-2C9B-867D-B0E0FC69D6D7}"/>
          </ac:spMkLst>
        </pc:spChg>
        <pc:spChg chg="add del mod">
          <ac:chgData name="Merlin Gutter" userId="2abc6f04-74af-430b-bdc8-569c3bfa1dda" providerId="ADAL" clId="{CB1EFBC3-10F5-3048-8961-5969497C0019}" dt="2022-11-11T18:22:42.338" v="1803" actId="478"/>
          <ac:spMkLst>
            <pc:docMk/>
            <pc:sldMk cId="2029170211" sldId="364"/>
            <ac:spMk id="10" creationId="{6B17CC49-E276-6BC5-154F-C8D68397F237}"/>
          </ac:spMkLst>
        </pc:spChg>
        <pc:spChg chg="add del mod modVis">
          <ac:chgData name="Merlin Gutter" userId="2abc6f04-74af-430b-bdc8-569c3bfa1dda" providerId="ADAL" clId="{CB1EFBC3-10F5-3048-8961-5969497C0019}" dt="2022-11-13T00:58:57.471" v="49721"/>
          <ac:spMkLst>
            <pc:docMk/>
            <pc:sldMk cId="2029170211" sldId="364"/>
            <ac:spMk id="10" creationId="{881E1DCE-47BE-7A02-9F66-CFE756254BCE}"/>
          </ac:spMkLst>
        </pc:spChg>
        <pc:spChg chg="add del mod replST">
          <ac:chgData name="Merlin Gutter" userId="2abc6f04-74af-430b-bdc8-569c3bfa1dda" providerId="ADAL" clId="{CB1EFBC3-10F5-3048-8961-5969497C0019}" dt="2022-11-12T17:09:39.745" v="38709"/>
          <ac:spMkLst>
            <pc:docMk/>
            <pc:sldMk cId="2029170211" sldId="364"/>
            <ac:spMk id="10" creationId="{F4F3F9CA-54B3-55A1-26A7-6BFBDE92E9AC}"/>
          </ac:spMkLst>
        </pc:spChg>
        <pc:spChg chg="add mod">
          <ac:chgData name="Merlin Gutter" userId="2abc6f04-74af-430b-bdc8-569c3bfa1dda" providerId="ADAL" clId="{CB1EFBC3-10F5-3048-8961-5969497C0019}" dt="2022-11-13T01:17:06.935" v="54976"/>
          <ac:spMkLst>
            <pc:docMk/>
            <pc:sldMk cId="2029170211" sldId="364"/>
            <ac:spMk id="11" creationId="{F245124F-355D-7DD4-0A03-7A7282A5BF34}"/>
          </ac:spMkLst>
        </pc:spChg>
        <pc:spChg chg="add del mod">
          <ac:chgData name="Merlin Gutter" userId="2abc6f04-74af-430b-bdc8-569c3bfa1dda" providerId="ADAL" clId="{CB1EFBC3-10F5-3048-8961-5969497C0019}" dt="2022-11-11T18:24:42.290" v="1932"/>
          <ac:spMkLst>
            <pc:docMk/>
            <pc:sldMk cId="2029170211" sldId="364"/>
            <ac:spMk id="12" creationId="{1EB12517-FCED-3201-9932-40EDE9FBE980}"/>
          </ac:spMkLst>
        </pc:spChg>
        <pc:spChg chg="add del mod replST">
          <ac:chgData name="Merlin Gutter" userId="2abc6f04-74af-430b-bdc8-569c3bfa1dda" providerId="ADAL" clId="{CB1EFBC3-10F5-3048-8961-5969497C0019}" dt="2022-11-13T01:17:06.939" v="54993"/>
          <ac:spMkLst>
            <pc:docMk/>
            <pc:sldMk cId="2029170211" sldId="364"/>
            <ac:spMk id="12" creationId="{8187FEDB-0DF5-2D56-8275-39632EFA81B9}"/>
          </ac:spMkLst>
        </pc:spChg>
        <pc:spChg chg="add del mod">
          <ac:chgData name="Merlin Gutter" userId="2abc6f04-74af-430b-bdc8-569c3bfa1dda" providerId="ADAL" clId="{CB1EFBC3-10F5-3048-8961-5969497C0019}" dt="2022-11-12T17:16:56.165" v="39397" actId="478"/>
          <ac:spMkLst>
            <pc:docMk/>
            <pc:sldMk cId="2029170211" sldId="364"/>
            <ac:spMk id="13" creationId="{46903661-31CA-D608-35A4-B5F0E891D366}"/>
          </ac:spMkLst>
        </pc:spChg>
        <pc:spChg chg="add del mod replST">
          <ac:chgData name="Merlin Gutter" userId="2abc6f04-74af-430b-bdc8-569c3bfa1dda" providerId="ADAL" clId="{CB1EFBC3-10F5-3048-8961-5969497C0019}" dt="2022-11-13T01:17:06.939" v="54992"/>
          <ac:spMkLst>
            <pc:docMk/>
            <pc:sldMk cId="2029170211" sldId="364"/>
            <ac:spMk id="14" creationId="{EBC22941-62DE-5516-18D5-C770B8E7D0D1}"/>
          </ac:spMkLst>
        </pc:spChg>
        <pc:spChg chg="add del mod modVis">
          <ac:chgData name="Merlin Gutter" userId="2abc6f04-74af-430b-bdc8-569c3bfa1dda" providerId="ADAL" clId="{CB1EFBC3-10F5-3048-8961-5969497C0019}" dt="2022-11-13T01:08:08.003" v="51684"/>
          <ac:spMkLst>
            <pc:docMk/>
            <pc:sldMk cId="2029170211" sldId="364"/>
            <ac:spMk id="15" creationId="{8BDACE6E-54E0-0047-39FC-BD42E0CF1304}"/>
          </ac:spMkLst>
        </pc:spChg>
        <pc:spChg chg="add del mod replST">
          <ac:chgData name="Merlin Gutter" userId="2abc6f04-74af-430b-bdc8-569c3bfa1dda" providerId="ADAL" clId="{CB1EFBC3-10F5-3048-8961-5969497C0019}" dt="2022-11-13T01:17:06.938" v="54988"/>
          <ac:spMkLst>
            <pc:docMk/>
            <pc:sldMk cId="2029170211" sldId="364"/>
            <ac:spMk id="18" creationId="{51A28C8D-8FB5-AA80-CCE4-E59A68BF3C54}"/>
          </ac:spMkLst>
        </pc:spChg>
        <pc:spChg chg="add del mod replST">
          <ac:chgData name="Merlin Gutter" userId="2abc6f04-74af-430b-bdc8-569c3bfa1dda" providerId="ADAL" clId="{CB1EFBC3-10F5-3048-8961-5969497C0019}" dt="2022-11-13T01:17:06.938" v="54990"/>
          <ac:spMkLst>
            <pc:docMk/>
            <pc:sldMk cId="2029170211" sldId="364"/>
            <ac:spMk id="19" creationId="{BF839A0E-B22A-8B64-AEC4-6E08892B2C2F}"/>
          </ac:spMkLst>
        </pc:spChg>
        <pc:spChg chg="add del mod replST">
          <ac:chgData name="Merlin Gutter" userId="2abc6f04-74af-430b-bdc8-569c3bfa1dda" providerId="ADAL" clId="{CB1EFBC3-10F5-3048-8961-5969497C0019}" dt="2022-11-13T01:17:06.938" v="54989"/>
          <ac:spMkLst>
            <pc:docMk/>
            <pc:sldMk cId="2029170211" sldId="364"/>
            <ac:spMk id="20" creationId="{A41F3FA4-DBC7-F6C2-C305-C8D7FB46F1D0}"/>
          </ac:spMkLst>
        </pc:spChg>
        <pc:spChg chg="add del mod replST">
          <ac:chgData name="Merlin Gutter" userId="2abc6f04-74af-430b-bdc8-569c3bfa1dda" providerId="ADAL" clId="{CB1EFBC3-10F5-3048-8961-5969497C0019}" dt="2022-11-13T01:17:06.939" v="54991"/>
          <ac:spMkLst>
            <pc:docMk/>
            <pc:sldMk cId="2029170211" sldId="364"/>
            <ac:spMk id="21" creationId="{1D820BBF-F784-AE05-2809-5C665F3540F7}"/>
          </ac:spMkLst>
        </pc:spChg>
        <pc:spChg chg="add del mod modVis">
          <ac:chgData name="Merlin Gutter" userId="2abc6f04-74af-430b-bdc8-569c3bfa1dda" providerId="ADAL" clId="{CB1EFBC3-10F5-3048-8961-5969497C0019}" dt="2022-11-12T17:09:37.962" v="38700"/>
          <ac:spMkLst>
            <pc:docMk/>
            <pc:sldMk cId="2029170211" sldId="364"/>
            <ac:spMk id="22" creationId="{04257ACB-F6C9-80F0-4F32-0348832E42B9}"/>
          </ac:spMkLst>
        </pc:spChg>
        <pc:spChg chg="add del mod modVis">
          <ac:chgData name="Merlin Gutter" userId="2abc6f04-74af-430b-bdc8-569c3bfa1dda" providerId="ADAL" clId="{CB1EFBC3-10F5-3048-8961-5969497C0019}" dt="2022-11-13T01:09:46.374" v="52422"/>
          <ac:spMkLst>
            <pc:docMk/>
            <pc:sldMk cId="2029170211" sldId="364"/>
            <ac:spMk id="22" creationId="{44E8F376-D483-36A3-6DF6-4513506190DB}"/>
          </ac:spMkLst>
        </pc:spChg>
        <pc:spChg chg="add del mod replST">
          <ac:chgData name="Merlin Gutter" userId="2abc6f04-74af-430b-bdc8-569c3bfa1dda" providerId="ADAL" clId="{CB1EFBC3-10F5-3048-8961-5969497C0019}" dt="2022-11-12T17:17:15.975" v="39714"/>
          <ac:spMkLst>
            <pc:docMk/>
            <pc:sldMk cId="2029170211" sldId="364"/>
            <ac:spMk id="23" creationId="{D97E6129-E2D6-5001-5DE9-0BFE148A9766}"/>
          </ac:spMkLst>
        </pc:spChg>
        <pc:spChg chg="add del mod replST">
          <ac:chgData name="Merlin Gutter" userId="2abc6f04-74af-430b-bdc8-569c3bfa1dda" providerId="ADAL" clId="{CB1EFBC3-10F5-3048-8961-5969497C0019}" dt="2022-11-12T17:17:15.976" v="39718"/>
          <ac:spMkLst>
            <pc:docMk/>
            <pc:sldMk cId="2029170211" sldId="364"/>
            <ac:spMk id="26" creationId="{6B52CF5C-21D5-ADB7-B9C5-5FF227504E8A}"/>
          </ac:spMkLst>
        </pc:spChg>
        <pc:spChg chg="add del mod replST">
          <ac:chgData name="Merlin Gutter" userId="2abc6f04-74af-430b-bdc8-569c3bfa1dda" providerId="ADAL" clId="{CB1EFBC3-10F5-3048-8961-5969497C0019}" dt="2022-11-12T17:17:15.976" v="39716"/>
          <ac:spMkLst>
            <pc:docMk/>
            <pc:sldMk cId="2029170211" sldId="364"/>
            <ac:spMk id="29" creationId="{E43337AA-0645-03C1-5C71-481750EE1215}"/>
          </ac:spMkLst>
        </pc:spChg>
        <pc:spChg chg="add del mod replST">
          <ac:chgData name="Merlin Gutter" userId="2abc6f04-74af-430b-bdc8-569c3bfa1dda" providerId="ADAL" clId="{CB1EFBC3-10F5-3048-8961-5969497C0019}" dt="2022-11-12T17:17:15.972" v="39712"/>
          <ac:spMkLst>
            <pc:docMk/>
            <pc:sldMk cId="2029170211" sldId="364"/>
            <ac:spMk id="32" creationId="{3B5D8789-A75B-7FA2-167F-4CA8EE391BC6}"/>
          </ac:spMkLst>
        </pc:spChg>
        <pc:spChg chg="add del mod modVis">
          <ac:chgData name="Merlin Gutter" userId="2abc6f04-74af-430b-bdc8-569c3bfa1dda" providerId="ADAL" clId="{CB1EFBC3-10F5-3048-8961-5969497C0019}" dt="2022-11-12T17:10:02.446" v="39202"/>
          <ac:spMkLst>
            <pc:docMk/>
            <pc:sldMk cId="2029170211" sldId="364"/>
            <ac:spMk id="38" creationId="{A6F8F652-866B-64E1-DA94-979792039012}"/>
          </ac:spMkLst>
        </pc:spChg>
        <pc:spChg chg="add del mod replST">
          <ac:chgData name="Merlin Gutter" userId="2abc6f04-74af-430b-bdc8-569c3bfa1dda" providerId="ADAL" clId="{CB1EFBC3-10F5-3048-8961-5969497C0019}" dt="2022-11-13T01:17:06.937" v="54985"/>
          <ac:spMkLst>
            <pc:docMk/>
            <pc:sldMk cId="2029170211" sldId="364"/>
            <ac:spMk id="40" creationId="{8953AF93-30CF-F8B2-9012-6801387C2179}"/>
          </ac:spMkLst>
        </pc:spChg>
        <pc:spChg chg="add del mod replST">
          <ac:chgData name="Merlin Gutter" userId="2abc6f04-74af-430b-bdc8-569c3bfa1dda" providerId="ADAL" clId="{CB1EFBC3-10F5-3048-8961-5969497C0019}" dt="2022-11-13T01:17:06.937" v="54984"/>
          <ac:spMkLst>
            <pc:docMk/>
            <pc:sldMk cId="2029170211" sldId="364"/>
            <ac:spMk id="41" creationId="{EF6BCFA0-1144-3D7C-FFC3-8669D01E3F24}"/>
          </ac:spMkLst>
        </pc:spChg>
        <pc:spChg chg="add del mod replST">
          <ac:chgData name="Merlin Gutter" userId="2abc6f04-74af-430b-bdc8-569c3bfa1dda" providerId="ADAL" clId="{CB1EFBC3-10F5-3048-8961-5969497C0019}" dt="2022-11-13T01:17:06.938" v="54986"/>
          <ac:spMkLst>
            <pc:docMk/>
            <pc:sldMk cId="2029170211" sldId="364"/>
            <ac:spMk id="42" creationId="{5C95FB60-2EF5-E315-9D15-460009A108DC}"/>
          </ac:spMkLst>
        </pc:spChg>
        <pc:spChg chg="add del mod replST">
          <ac:chgData name="Merlin Gutter" userId="2abc6f04-74af-430b-bdc8-569c3bfa1dda" providerId="ADAL" clId="{CB1EFBC3-10F5-3048-8961-5969497C0019}" dt="2022-11-13T01:17:06.937" v="54983"/>
          <ac:spMkLst>
            <pc:docMk/>
            <pc:sldMk cId="2029170211" sldId="364"/>
            <ac:spMk id="43" creationId="{F0D535F8-1CF6-1D85-16E7-8E4787D4287E}"/>
          </ac:spMkLst>
        </pc:spChg>
        <pc:spChg chg="add del mod replST">
          <ac:chgData name="Merlin Gutter" userId="2abc6f04-74af-430b-bdc8-569c3bfa1dda" providerId="ADAL" clId="{CB1EFBC3-10F5-3048-8961-5969497C0019}" dt="2022-11-13T01:17:06.938" v="54987"/>
          <ac:spMkLst>
            <pc:docMk/>
            <pc:sldMk cId="2029170211" sldId="364"/>
            <ac:spMk id="44" creationId="{B6AE3E2F-04A8-FBD4-49A6-9E85BC4A4092}"/>
          </ac:spMkLst>
        </pc:spChg>
        <pc:spChg chg="add del mod replST">
          <ac:chgData name="Merlin Gutter" userId="2abc6f04-74af-430b-bdc8-569c3bfa1dda" providerId="ADAL" clId="{CB1EFBC3-10F5-3048-8961-5969497C0019}" dt="2022-11-13T01:17:06.937" v="54982"/>
          <ac:spMkLst>
            <pc:docMk/>
            <pc:sldMk cId="2029170211" sldId="364"/>
            <ac:spMk id="45" creationId="{FECC4799-D77E-26FB-0B38-F9CFAA26E813}"/>
          </ac:spMkLst>
        </pc:spChg>
        <pc:spChg chg="add del mod modVis">
          <ac:chgData name="Merlin Gutter" userId="2abc6f04-74af-430b-bdc8-569c3bfa1dda" providerId="ADAL" clId="{CB1EFBC3-10F5-3048-8961-5969497C0019}" dt="2022-11-12T17:17:12.677" v="39708"/>
          <ac:spMkLst>
            <pc:docMk/>
            <pc:sldMk cId="2029170211" sldId="364"/>
            <ac:spMk id="49" creationId="{4164B5E5-F669-8C72-4CFA-32CA51A08A83}"/>
          </ac:spMkLst>
        </pc:spChg>
        <pc:spChg chg="add del mod modVis">
          <ac:chgData name="Merlin Gutter" userId="2abc6f04-74af-430b-bdc8-569c3bfa1dda" providerId="ADAL" clId="{CB1EFBC3-10F5-3048-8961-5969497C0019}" dt="2022-11-12T17:17:16.029" v="39803"/>
          <ac:spMkLst>
            <pc:docMk/>
            <pc:sldMk cId="2029170211" sldId="364"/>
            <ac:spMk id="52" creationId="{ED4463D1-0CEC-1C49-7B4F-59E7B0F0DB07}"/>
          </ac:spMkLst>
        </pc:spChg>
        <pc:spChg chg="add del mod modVis">
          <ac:chgData name="Merlin Gutter" userId="2abc6f04-74af-430b-bdc8-569c3bfa1dda" providerId="ADAL" clId="{CB1EFBC3-10F5-3048-8961-5969497C0019}" dt="2022-11-12T17:17:24.806" v="40226"/>
          <ac:spMkLst>
            <pc:docMk/>
            <pc:sldMk cId="2029170211" sldId="364"/>
            <ac:spMk id="54" creationId="{B3D627A8-94F1-85F9-7652-8FDD4CFC949F}"/>
          </ac:spMkLst>
        </pc:spChg>
        <pc:spChg chg="add mod replST">
          <ac:chgData name="Merlin Gutter" userId="2abc6f04-74af-430b-bdc8-569c3bfa1dda" providerId="ADAL" clId="{CB1EFBC3-10F5-3048-8961-5969497C0019}" dt="2022-11-13T01:17:06.937" v="54981"/>
          <ac:spMkLst>
            <pc:docMk/>
            <pc:sldMk cId="2029170211" sldId="364"/>
            <ac:spMk id="55" creationId="{C6054ED8-FF62-C374-8C8A-6780AA98EC0C}"/>
          </ac:spMkLst>
        </pc:spChg>
        <pc:spChg chg="add mod replST">
          <ac:chgData name="Merlin Gutter" userId="2abc6f04-74af-430b-bdc8-569c3bfa1dda" providerId="ADAL" clId="{CB1EFBC3-10F5-3048-8961-5969497C0019}" dt="2022-11-13T01:17:06.936" v="54980"/>
          <ac:spMkLst>
            <pc:docMk/>
            <pc:sldMk cId="2029170211" sldId="364"/>
            <ac:spMk id="56" creationId="{60979BB9-A3E7-8FEF-97AC-1E8F9D7B7DD2}"/>
          </ac:spMkLst>
        </pc:spChg>
        <pc:spChg chg="add mod replST">
          <ac:chgData name="Merlin Gutter" userId="2abc6f04-74af-430b-bdc8-569c3bfa1dda" providerId="ADAL" clId="{CB1EFBC3-10F5-3048-8961-5969497C0019}" dt="2022-11-13T01:17:06.936" v="54978"/>
          <ac:spMkLst>
            <pc:docMk/>
            <pc:sldMk cId="2029170211" sldId="364"/>
            <ac:spMk id="57" creationId="{7217858D-E136-4BB8-FCFF-3BA1B0678971}"/>
          </ac:spMkLst>
        </pc:spChg>
        <pc:spChg chg="add mod replST">
          <ac:chgData name="Merlin Gutter" userId="2abc6f04-74af-430b-bdc8-569c3bfa1dda" providerId="ADAL" clId="{CB1EFBC3-10F5-3048-8961-5969497C0019}" dt="2022-11-13T01:17:06.936" v="54979"/>
          <ac:spMkLst>
            <pc:docMk/>
            <pc:sldMk cId="2029170211" sldId="364"/>
            <ac:spMk id="58" creationId="{F740993E-9611-1272-6044-5736E4D07B72}"/>
          </ac:spMkLst>
        </pc:spChg>
        <pc:spChg chg="add del mod replST">
          <ac:chgData name="Merlin Gutter" userId="2abc6f04-74af-430b-bdc8-569c3bfa1dda" providerId="ADAL" clId="{CB1EFBC3-10F5-3048-8961-5969497C0019}" dt="2022-11-12T17:18:18.977" v="40524"/>
          <ac:spMkLst>
            <pc:docMk/>
            <pc:sldMk cId="2029170211" sldId="364"/>
            <ac:spMk id="63" creationId="{5C4EB0FF-A988-3E39-6572-584FDAB07518}"/>
          </ac:spMkLst>
        </pc:spChg>
        <pc:spChg chg="add del mod modVis">
          <ac:chgData name="Merlin Gutter" userId="2abc6f04-74af-430b-bdc8-569c3bfa1dda" providerId="ADAL" clId="{CB1EFBC3-10F5-3048-8961-5969497C0019}" dt="2022-11-12T17:18:15.691" v="40510"/>
          <ac:spMkLst>
            <pc:docMk/>
            <pc:sldMk cId="2029170211" sldId="364"/>
            <ac:spMk id="64" creationId="{CB3484C3-7E3F-E9A0-8E55-1064C4237A37}"/>
          </ac:spMkLst>
        </pc:spChg>
        <pc:spChg chg="add del mod replST">
          <ac:chgData name="Merlin Gutter" userId="2abc6f04-74af-430b-bdc8-569c3bfa1dda" providerId="ADAL" clId="{CB1EFBC3-10F5-3048-8961-5969497C0019}" dt="2022-11-12T17:18:22.159" v="40718"/>
          <ac:spMkLst>
            <pc:docMk/>
            <pc:sldMk cId="2029170211" sldId="364"/>
            <ac:spMk id="67" creationId="{44281015-0918-7B93-6BFA-D373E605FD3F}"/>
          </ac:spMkLst>
        </pc:spChg>
        <pc:spChg chg="add del mod modVis">
          <ac:chgData name="Merlin Gutter" userId="2abc6f04-74af-430b-bdc8-569c3bfa1dda" providerId="ADAL" clId="{CB1EFBC3-10F5-3048-8961-5969497C0019}" dt="2022-11-12T17:18:20.782" v="40704"/>
          <ac:spMkLst>
            <pc:docMk/>
            <pc:sldMk cId="2029170211" sldId="364"/>
            <ac:spMk id="68" creationId="{89BCBB70-7AA1-97C8-D863-5A550C778308}"/>
          </ac:spMkLst>
        </pc:spChg>
        <pc:spChg chg="add del mod modVis">
          <ac:chgData name="Merlin Gutter" userId="2abc6f04-74af-430b-bdc8-569c3bfa1dda" providerId="ADAL" clId="{CB1EFBC3-10F5-3048-8961-5969497C0019}" dt="2022-11-12T17:18:47.907" v="41014"/>
          <ac:spMkLst>
            <pc:docMk/>
            <pc:sldMk cId="2029170211" sldId="364"/>
            <ac:spMk id="72" creationId="{10911111-A4F2-396C-256B-86F524C81646}"/>
          </ac:spMkLst>
        </pc:spChg>
        <pc:spChg chg="add del mod modVis">
          <ac:chgData name="Merlin Gutter" userId="2abc6f04-74af-430b-bdc8-569c3bfa1dda" providerId="ADAL" clId="{CB1EFBC3-10F5-3048-8961-5969497C0019}" dt="2022-11-12T17:19:10.268" v="41469"/>
          <ac:spMkLst>
            <pc:docMk/>
            <pc:sldMk cId="2029170211" sldId="364"/>
            <ac:spMk id="76" creationId="{C904C28F-1086-AF48-4EC5-CF9BA05C480F}"/>
          </ac:spMkLst>
        </pc:spChg>
        <pc:spChg chg="add del mod modVis">
          <ac:chgData name="Merlin Gutter" userId="2abc6f04-74af-430b-bdc8-569c3bfa1dda" providerId="ADAL" clId="{CB1EFBC3-10F5-3048-8961-5969497C0019}" dt="2022-11-12T17:19:15.068" v="41615"/>
          <ac:spMkLst>
            <pc:docMk/>
            <pc:sldMk cId="2029170211" sldId="364"/>
            <ac:spMk id="78" creationId="{8C50A711-D472-491D-B16E-69E32AE8957E}"/>
          </ac:spMkLst>
        </pc:spChg>
        <pc:spChg chg="add del mod modVis">
          <ac:chgData name="Merlin Gutter" userId="2abc6f04-74af-430b-bdc8-569c3bfa1dda" providerId="ADAL" clId="{CB1EFBC3-10F5-3048-8961-5969497C0019}" dt="2022-11-12T17:19:40.327" v="42026"/>
          <ac:spMkLst>
            <pc:docMk/>
            <pc:sldMk cId="2029170211" sldId="364"/>
            <ac:spMk id="81" creationId="{11541A9F-7FE6-F390-3142-070785292136}"/>
          </ac:spMkLst>
        </pc:spChg>
        <pc:spChg chg="add del mod replST">
          <ac:chgData name="Merlin Gutter" userId="2abc6f04-74af-430b-bdc8-569c3bfa1dda" providerId="ADAL" clId="{CB1EFBC3-10F5-3048-8961-5969497C0019}" dt="2022-11-12T17:19:42.101" v="42155"/>
          <ac:spMkLst>
            <pc:docMk/>
            <pc:sldMk cId="2029170211" sldId="364"/>
            <ac:spMk id="82" creationId="{3DB64112-247D-2879-2A59-C9DCC765A64C}"/>
          </ac:spMkLst>
        </pc:spChg>
        <pc:spChg chg="add del mod modVis">
          <ac:chgData name="Merlin Gutter" userId="2abc6f04-74af-430b-bdc8-569c3bfa1dda" providerId="ADAL" clId="{CB1EFBC3-10F5-3048-8961-5969497C0019}" dt="2022-11-12T17:19:42.137" v="42285"/>
          <ac:spMkLst>
            <pc:docMk/>
            <pc:sldMk cId="2029170211" sldId="364"/>
            <ac:spMk id="84" creationId="{19626A9E-E315-3875-0BEC-F459DBC4CBD5}"/>
          </ac:spMkLst>
        </pc:spChg>
        <pc:spChg chg="add del mod modVis">
          <ac:chgData name="Merlin Gutter" userId="2abc6f04-74af-430b-bdc8-569c3bfa1dda" providerId="ADAL" clId="{CB1EFBC3-10F5-3048-8961-5969497C0019}" dt="2022-11-12T17:19:47.193" v="42380"/>
          <ac:spMkLst>
            <pc:docMk/>
            <pc:sldMk cId="2029170211" sldId="364"/>
            <ac:spMk id="86" creationId="{5638B60E-7090-DEB5-97AA-D4606EB9B0B5}"/>
          </ac:spMkLst>
        </pc:spChg>
        <pc:spChg chg="add del mod modVis">
          <ac:chgData name="Merlin Gutter" userId="2abc6f04-74af-430b-bdc8-569c3bfa1dda" providerId="ADAL" clId="{CB1EFBC3-10F5-3048-8961-5969497C0019}" dt="2022-11-12T17:19:48.232" v="42457"/>
          <ac:spMkLst>
            <pc:docMk/>
            <pc:sldMk cId="2029170211" sldId="364"/>
            <ac:spMk id="87" creationId="{CFABB8DD-1A4B-068D-09B8-706B9996A38E}"/>
          </ac:spMkLst>
        </pc:spChg>
        <pc:spChg chg="add del mod modVis">
          <ac:chgData name="Merlin Gutter" userId="2abc6f04-74af-430b-bdc8-569c3bfa1dda" providerId="ADAL" clId="{CB1EFBC3-10F5-3048-8961-5969497C0019}" dt="2022-11-12T18:57:44.605" v="43173"/>
          <ac:spMkLst>
            <pc:docMk/>
            <pc:sldMk cId="2029170211" sldId="364"/>
            <ac:spMk id="88" creationId="{5750B5A4-E2D9-6535-EB1F-432DEB88EE21}"/>
          </ac:spMkLst>
        </pc:spChg>
        <pc:graphicFrameChg chg="add del mod replST">
          <ac:chgData name="Merlin Gutter" userId="2abc6f04-74af-430b-bdc8-569c3bfa1dda" providerId="ADAL" clId="{CB1EFBC3-10F5-3048-8961-5969497C0019}" dt="2022-11-13T01:08:07.975" v="51632"/>
          <ac:graphicFrameMkLst>
            <pc:docMk/>
            <pc:sldMk cId="2029170211" sldId="364"/>
            <ac:graphicFrameMk id="13" creationId="{585E3CF2-ED36-D290-FDFA-8EFD8EB8841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9:01.772" v="38103"/>
          <ac:graphicFrameMkLst>
            <pc:docMk/>
            <pc:sldMk cId="2029170211" sldId="364"/>
            <ac:graphicFrameMk id="15" creationId="{A245ADBB-DB49-144F-50B6-3A1D1344CDA2}"/>
          </ac:graphicFrameMkLst>
        </pc:graphicFrameChg>
        <pc:graphicFrameChg chg="add mod modVis replST">
          <ac:chgData name="Merlin Gutter" userId="2abc6f04-74af-430b-bdc8-569c3bfa1dda" providerId="ADAL" clId="{CB1EFBC3-10F5-3048-8961-5969497C0019}" dt="2022-11-23T18:35:48.506" v="117059"/>
          <ac:graphicFrameMkLst>
            <pc:docMk/>
            <pc:sldMk cId="2029170211" sldId="364"/>
            <ac:graphicFrameMk id="16" creationId="{834B41B2-5D57-7823-F22B-40C9F502BD7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09:46.347" v="52370"/>
          <ac:graphicFrameMkLst>
            <pc:docMk/>
            <pc:sldMk cId="2029170211" sldId="364"/>
            <ac:graphicFrameMk id="17" creationId="{C93FB7A2-380C-9C13-752F-D2FC95816C1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9:37.944" v="38663"/>
          <ac:graphicFrameMkLst>
            <pc:docMk/>
            <pc:sldMk cId="2029170211" sldId="364"/>
            <ac:graphicFrameMk id="17" creationId="{CD21C6FD-F25C-8B02-8857-6837E5D53A3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6:18.435" v="54753"/>
          <ac:graphicFrameMkLst>
            <pc:docMk/>
            <pc:sldMk cId="2029170211" sldId="364"/>
            <ac:graphicFrameMk id="23" creationId="{79A1250E-F93F-D41E-5AEA-BEBC105C118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6:25.119" v="54818"/>
          <ac:graphicFrameMkLst>
            <pc:docMk/>
            <pc:sldMk cId="2029170211" sldId="364"/>
            <ac:graphicFrameMk id="24" creationId="{7B408132-28C3-9A66-424F-B15CECB65FA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6:57.709" v="54883"/>
          <ac:graphicFrameMkLst>
            <pc:docMk/>
            <pc:sldMk cId="2029170211" sldId="364"/>
            <ac:graphicFrameMk id="25" creationId="{C145E5BB-BEC1-EB4F-A5C0-38928AEA5FD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1:17:06.910" v="54949"/>
          <ac:graphicFrameMkLst>
            <pc:docMk/>
            <pc:sldMk cId="2029170211" sldId="364"/>
            <ac:graphicFrameMk id="26" creationId="{74397BDD-6606-93BF-D83F-2BBF660FE144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13T01:17:06.936" v="54977"/>
          <ac:graphicFrameMkLst>
            <pc:docMk/>
            <pc:sldMk cId="2029170211" sldId="364"/>
            <ac:graphicFrameMk id="27" creationId="{565D2ADE-586E-9B16-F321-DFA2C3043E3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9:39.778" v="38762"/>
          <ac:graphicFrameMkLst>
            <pc:docMk/>
            <pc:sldMk cId="2029170211" sldId="364"/>
            <ac:graphicFrameMk id="33" creationId="{A5B6A8DE-B2C5-10FE-9119-468603C257D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9:43.110" v="38805"/>
          <ac:graphicFrameMkLst>
            <pc:docMk/>
            <pc:sldMk cId="2029170211" sldId="364"/>
            <ac:graphicFrameMk id="34" creationId="{90C37C96-3069-24EA-8472-3DEF213D5D6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9:44.209" v="38857"/>
          <ac:graphicFrameMkLst>
            <pc:docMk/>
            <pc:sldMk cId="2029170211" sldId="364"/>
            <ac:graphicFrameMk id="35" creationId="{A7A3913E-E510-6B5C-0FCB-D9B904EAE6A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09:55.623" v="38910"/>
          <ac:graphicFrameMkLst>
            <pc:docMk/>
            <pc:sldMk cId="2029170211" sldId="364"/>
            <ac:graphicFrameMk id="36" creationId="{5162419E-F0C1-58E5-A838-374A21D56BA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0:02.401" v="39056"/>
          <ac:graphicFrameMkLst>
            <pc:docMk/>
            <pc:sldMk cId="2029170211" sldId="364"/>
            <ac:graphicFrameMk id="37" creationId="{8AA35A32-7A7F-F1BD-4FCC-F18A2B05161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0:08.004" v="39216"/>
          <ac:graphicFrameMkLst>
            <pc:docMk/>
            <pc:sldMk cId="2029170211" sldId="364"/>
            <ac:graphicFrameMk id="39" creationId="{FE4C6087-1080-FC34-BBD1-DD26AA96015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0:10.877" v="39264"/>
          <ac:graphicFrameMkLst>
            <pc:docMk/>
            <pc:sldMk cId="2029170211" sldId="364"/>
            <ac:graphicFrameMk id="46" creationId="{152A3848-AA2D-FC8E-EC18-E90E8308FBF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7:05.020" v="39409"/>
          <ac:graphicFrameMkLst>
            <pc:docMk/>
            <pc:sldMk cId="2029170211" sldId="364"/>
            <ac:graphicFrameMk id="47" creationId="{7811F478-7F5D-B572-56DA-B92754E4A1E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7:16.013" v="39773"/>
          <ac:graphicFrameMkLst>
            <pc:docMk/>
            <pc:sldMk cId="2029170211" sldId="364"/>
            <ac:graphicFrameMk id="48" creationId="{B97EB20C-5AA1-0928-34B8-259F43D678ED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7:17:12.677" v="39708"/>
          <ac:graphicFrameMkLst>
            <pc:docMk/>
            <pc:sldMk cId="2029170211" sldId="364"/>
            <ac:graphicFrameMk id="51" creationId="{131CA106-A01B-8A72-844D-7ACF67264DE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7:24.791" v="40192"/>
          <ac:graphicFrameMkLst>
            <pc:docMk/>
            <pc:sldMk cId="2029170211" sldId="364"/>
            <ac:graphicFrameMk id="53" creationId="{94B0C682-3FD7-7CD9-AD1B-3C12C94C8A7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7:32.446" v="40240"/>
          <ac:graphicFrameMkLst>
            <pc:docMk/>
            <pc:sldMk cId="2029170211" sldId="364"/>
            <ac:graphicFrameMk id="59" creationId="{6B65E067-CACA-7A44-27CA-D61A6D55781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7:32.528" v="40286"/>
          <ac:graphicFrameMkLst>
            <pc:docMk/>
            <pc:sldMk cId="2029170211" sldId="364"/>
            <ac:graphicFrameMk id="60" creationId="{4D079272-9318-CE71-37FC-B68D4FF31BB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7:33.598" v="40332"/>
          <ac:graphicFrameMkLst>
            <pc:docMk/>
            <pc:sldMk cId="2029170211" sldId="364"/>
            <ac:graphicFrameMk id="61" creationId="{EF242D48-FFAB-6261-76C7-599BAFE4D12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8:15.672" v="40475"/>
          <ac:graphicFrameMkLst>
            <pc:docMk/>
            <pc:sldMk cId="2029170211" sldId="364"/>
            <ac:graphicFrameMk id="62" creationId="{41C11DE2-8F19-1E58-F852-D6DE742DDAE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8:18.979" v="40526"/>
          <ac:graphicFrameMkLst>
            <pc:docMk/>
            <pc:sldMk cId="2029170211" sldId="364"/>
            <ac:graphicFrameMk id="65" creationId="{658E5ECA-2DBD-D72A-7EFE-E770B3937AB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8:20.767" v="40669"/>
          <ac:graphicFrameMkLst>
            <pc:docMk/>
            <pc:sldMk cId="2029170211" sldId="364"/>
            <ac:graphicFrameMk id="66" creationId="{BD942FA5-6376-6982-2647-27B67206CC0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8:22.161" v="40720"/>
          <ac:graphicFrameMkLst>
            <pc:docMk/>
            <pc:sldMk cId="2029170211" sldId="364"/>
            <ac:graphicFrameMk id="69" creationId="{F47B5E3A-438B-3E1C-EE95-D9D57892034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8:47.888" v="40968"/>
          <ac:graphicFrameMkLst>
            <pc:docMk/>
            <pc:sldMk cId="2029170211" sldId="364"/>
            <ac:graphicFrameMk id="70" creationId="{F10E3E72-7BAB-020F-4A97-2B40AB0C5C38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7:18:24.100" v="40856"/>
          <ac:graphicFrameMkLst>
            <pc:docMk/>
            <pc:sldMk cId="2029170211" sldId="364"/>
            <ac:graphicFrameMk id="71" creationId="{FD23E5C4-750A-0682-7801-E3E940A8639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8:55.983" v="41028"/>
          <ac:graphicFrameMkLst>
            <pc:docMk/>
            <pc:sldMk cId="2029170211" sldId="364"/>
            <ac:graphicFrameMk id="73" creationId="{49C277C9-29EC-2E0F-7891-59D04D67036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9:15.053" v="41581"/>
          <ac:graphicFrameMkLst>
            <pc:docMk/>
            <pc:sldMk cId="2029170211" sldId="364"/>
            <ac:graphicFrameMk id="74" creationId="{8DBBA9EB-659A-B395-ABEC-E5F5855B1EB3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7:19:05.729" v="41164"/>
          <ac:graphicFrameMkLst>
            <pc:docMk/>
            <pc:sldMk cId="2029170211" sldId="364"/>
            <ac:graphicFrameMk id="75" creationId="{55A1506D-2424-E80F-A508-2E931B017E94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7:19:10.268" v="41469"/>
          <ac:graphicFrameMkLst>
            <pc:docMk/>
            <pc:sldMk cId="2029170211" sldId="364"/>
            <ac:graphicFrameMk id="77" creationId="{826EE211-8A31-5C41-D57A-74825AE5898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9:40.306" v="41967"/>
          <ac:graphicFrameMkLst>
            <pc:docMk/>
            <pc:sldMk cId="2029170211" sldId="364"/>
            <ac:graphicFrameMk id="79" creationId="{4BEB0B3D-7888-0A9D-3098-9F7461A123AC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17:19:20.147" v="41702"/>
          <ac:graphicFrameMkLst>
            <pc:docMk/>
            <pc:sldMk cId="2029170211" sldId="364"/>
            <ac:graphicFrameMk id="80" creationId="{87118CCF-8817-E39D-6183-969AD05CA19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7:19:42.103" v="42167"/>
          <ac:graphicFrameMkLst>
            <pc:docMk/>
            <pc:sldMk cId="2029170211" sldId="364"/>
            <ac:graphicFrameMk id="83" creationId="{C9E45DB0-9022-0ACD-94FD-756F4091C72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8:57:44.567" v="43117"/>
          <ac:graphicFrameMkLst>
            <pc:docMk/>
            <pc:sldMk cId="2029170211" sldId="364"/>
            <ac:graphicFrameMk id="85" creationId="{F7EA962B-5FDB-EEFB-17E2-21409224A41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3T00:58:57.440" v="49669"/>
          <ac:graphicFrameMkLst>
            <pc:docMk/>
            <pc:sldMk cId="2029170211" sldId="364"/>
            <ac:graphicFrameMk id="89" creationId="{15B4D601-823C-2919-2890-6E65CDF8C421}"/>
          </ac:graphicFrameMkLst>
        </pc:graphicFrameChg>
        <pc:cxnChg chg="add mod">
          <ac:chgData name="Merlin Gutter" userId="2abc6f04-74af-430b-bdc8-569c3bfa1dda" providerId="ADAL" clId="{CB1EFBC3-10F5-3048-8961-5969497C0019}" dt="2022-11-13T01:17:06.939" v="54994"/>
          <ac:cxnSpMkLst>
            <pc:docMk/>
            <pc:sldMk cId="2029170211" sldId="364"/>
            <ac:cxnSpMk id="7" creationId="{6CD833BF-6EC0-776C-5E18-9C96D0167D02}"/>
          </ac:cxnSpMkLst>
        </pc:cxnChg>
        <pc:cxnChg chg="add mod">
          <ac:chgData name="Merlin Gutter" userId="2abc6f04-74af-430b-bdc8-569c3bfa1dda" providerId="ADAL" clId="{CB1EFBC3-10F5-3048-8961-5969497C0019}" dt="2022-11-13T01:17:06.939" v="54995"/>
          <ac:cxnSpMkLst>
            <pc:docMk/>
            <pc:sldMk cId="2029170211" sldId="364"/>
            <ac:cxnSpMk id="8" creationId="{F1396AF4-3FDF-FDB0-5EC0-E0CC39AFE9DA}"/>
          </ac:cxnSpMkLst>
        </pc:cxnChg>
        <pc:cxnChg chg="add del mod replST">
          <ac:chgData name="Merlin Gutter" userId="2abc6f04-74af-430b-bdc8-569c3bfa1dda" providerId="ADAL" clId="{CB1EFBC3-10F5-3048-8961-5969497C0019}" dt="2022-11-12T17:09:39.763" v="38724"/>
          <ac:cxnSpMkLst>
            <pc:docMk/>
            <pc:sldMk cId="2029170211" sldId="364"/>
            <ac:cxnSpMk id="24" creationId="{C01C2139-DAD8-91AE-AE95-5798F5B809D5}"/>
          </ac:cxnSpMkLst>
        </pc:cxnChg>
        <pc:cxnChg chg="add del mod replST">
          <ac:chgData name="Merlin Gutter" userId="2abc6f04-74af-430b-bdc8-569c3bfa1dda" providerId="ADAL" clId="{CB1EFBC3-10F5-3048-8961-5969497C0019}" dt="2022-11-12T17:09:39.762" v="38722"/>
          <ac:cxnSpMkLst>
            <pc:docMk/>
            <pc:sldMk cId="2029170211" sldId="364"/>
            <ac:cxnSpMk id="25" creationId="{A6F354BC-16BC-5A43-A1D0-5A38E004BC8C}"/>
          </ac:cxnSpMkLst>
        </pc:cxnChg>
        <pc:cxnChg chg="add del mod replST">
          <ac:chgData name="Merlin Gutter" userId="2abc6f04-74af-430b-bdc8-569c3bfa1dda" providerId="ADAL" clId="{CB1EFBC3-10F5-3048-8961-5969497C0019}" dt="2022-11-12T17:09:39.766" v="38730"/>
          <ac:cxnSpMkLst>
            <pc:docMk/>
            <pc:sldMk cId="2029170211" sldId="364"/>
            <ac:cxnSpMk id="27" creationId="{AB5F05D1-C4A6-730E-654F-BE5CD3E41B77}"/>
          </ac:cxnSpMkLst>
        </pc:cxnChg>
        <pc:cxnChg chg="add del mod replST">
          <ac:chgData name="Merlin Gutter" userId="2abc6f04-74af-430b-bdc8-569c3bfa1dda" providerId="ADAL" clId="{CB1EFBC3-10F5-3048-8961-5969497C0019}" dt="2022-11-12T17:10:02.421" v="39100"/>
          <ac:cxnSpMkLst>
            <pc:docMk/>
            <pc:sldMk cId="2029170211" sldId="364"/>
            <ac:cxnSpMk id="28" creationId="{6267546F-33A6-7C79-7D22-80ABC8C18C57}"/>
          </ac:cxnSpMkLst>
        </pc:cxnChg>
        <pc:cxnChg chg="add del mod replST">
          <ac:chgData name="Merlin Gutter" userId="2abc6f04-74af-430b-bdc8-569c3bfa1dda" providerId="ADAL" clId="{CB1EFBC3-10F5-3048-8961-5969497C0019}" dt="2022-11-12T17:09:39.774" v="38752"/>
          <ac:cxnSpMkLst>
            <pc:docMk/>
            <pc:sldMk cId="2029170211" sldId="364"/>
            <ac:cxnSpMk id="30" creationId="{5A492512-95DD-1B7F-AA20-2191705F4F90}"/>
          </ac:cxnSpMkLst>
        </pc:cxnChg>
        <pc:cxnChg chg="add del mod replST">
          <ac:chgData name="Merlin Gutter" userId="2abc6f04-74af-430b-bdc8-569c3bfa1dda" providerId="ADAL" clId="{CB1EFBC3-10F5-3048-8961-5969497C0019}" dt="2022-11-12T17:09:39.773" v="38750"/>
          <ac:cxnSpMkLst>
            <pc:docMk/>
            <pc:sldMk cId="2029170211" sldId="364"/>
            <ac:cxnSpMk id="31" creationId="{E07EE481-CB0D-061B-6974-B2DE17AA779A}"/>
          </ac:cxnSpMkLst>
        </pc:cxnChg>
        <pc:cxnChg chg="add del mod replST delST">
          <ac:chgData name="Merlin Gutter" userId="2abc6f04-74af-430b-bdc8-569c3bfa1dda" providerId="ADAL" clId="{CB1EFBC3-10F5-3048-8961-5969497C0019}" dt="2022-11-12T17:17:12.677" v="39708"/>
          <ac:cxnSpMkLst>
            <pc:docMk/>
            <pc:sldMk cId="2029170211" sldId="364"/>
            <ac:cxnSpMk id="50" creationId="{3FAC7137-F053-1431-8102-EDE2B20E28C0}"/>
          </ac:cxnSpMkLst>
        </pc:cxnChg>
      </pc:sldChg>
      <pc:sldChg chg="addSp delSp modSp del mod">
        <pc:chgData name="Merlin Gutter" userId="2abc6f04-74af-430b-bdc8-569c3bfa1dda" providerId="ADAL" clId="{CB1EFBC3-10F5-3048-8961-5969497C0019}" dt="2022-11-23T17:06:55.683" v="80135" actId="2696"/>
        <pc:sldMkLst>
          <pc:docMk/>
          <pc:sldMk cId="4166082792" sldId="365"/>
        </pc:sldMkLst>
        <pc:spChg chg="mod">
          <ac:chgData name="Merlin Gutter" userId="2abc6f04-74af-430b-bdc8-569c3bfa1dda" providerId="ADAL" clId="{CB1EFBC3-10F5-3048-8961-5969497C0019}" dt="2022-11-11T18:58:17.811" v="2346" actId="20577"/>
          <ac:spMkLst>
            <pc:docMk/>
            <pc:sldMk cId="4166082792" sldId="365"/>
            <ac:spMk id="7" creationId="{D23725AF-29A5-5EB5-1225-57E7DCDA462D}"/>
          </ac:spMkLst>
        </pc:spChg>
        <pc:spChg chg="add mod">
          <ac:chgData name="Merlin Gutter" userId="2abc6f04-74af-430b-bdc8-569c3bfa1dda" providerId="ADAL" clId="{CB1EFBC3-10F5-3048-8961-5969497C0019}" dt="2022-11-11T18:30:13.886" v="2042" actId="20577"/>
          <ac:spMkLst>
            <pc:docMk/>
            <pc:sldMk cId="4166082792" sldId="365"/>
            <ac:spMk id="8" creationId="{C0322659-8187-9468-5885-96340B544E7D}"/>
          </ac:spMkLst>
        </pc:spChg>
        <pc:spChg chg="add mod">
          <ac:chgData name="Merlin Gutter" userId="2abc6f04-74af-430b-bdc8-569c3bfa1dda" providerId="ADAL" clId="{CB1EFBC3-10F5-3048-8961-5969497C0019}" dt="2022-11-11T18:33:20.737" v="2127" actId="14100"/>
          <ac:spMkLst>
            <pc:docMk/>
            <pc:sldMk cId="4166082792" sldId="365"/>
            <ac:spMk id="10" creationId="{F4A85635-842F-7DEB-3CC1-04A54F06287C}"/>
          </ac:spMkLst>
        </pc:spChg>
        <pc:spChg chg="add mod">
          <ac:chgData name="Merlin Gutter" userId="2abc6f04-74af-430b-bdc8-569c3bfa1dda" providerId="ADAL" clId="{CB1EFBC3-10F5-3048-8961-5969497C0019}" dt="2022-11-11T18:33:25.193" v="2129" actId="1076"/>
          <ac:spMkLst>
            <pc:docMk/>
            <pc:sldMk cId="4166082792" sldId="365"/>
            <ac:spMk id="11" creationId="{DF2CB18B-5C28-543D-C380-EDB5BE3AFAD9}"/>
          </ac:spMkLst>
        </pc:spChg>
        <pc:spChg chg="add del mod">
          <ac:chgData name="Merlin Gutter" userId="2abc6f04-74af-430b-bdc8-569c3bfa1dda" providerId="ADAL" clId="{CB1EFBC3-10F5-3048-8961-5969497C0019}" dt="2022-11-11T18:56:52.199" v="2302"/>
          <ac:spMkLst>
            <pc:docMk/>
            <pc:sldMk cId="4166082792" sldId="365"/>
            <ac:spMk id="12" creationId="{149A7B8E-773A-6EC4-C60D-24936BD529A1}"/>
          </ac:spMkLst>
        </pc:spChg>
        <pc:cxnChg chg="add mod">
          <ac:chgData name="Merlin Gutter" userId="2abc6f04-74af-430b-bdc8-569c3bfa1dda" providerId="ADAL" clId="{CB1EFBC3-10F5-3048-8961-5969497C0019}" dt="2022-11-13T00:37:42.891" v="47875"/>
          <ac:cxnSpMkLst>
            <pc:docMk/>
            <pc:sldMk cId="4166082792" sldId="365"/>
            <ac:cxnSpMk id="12" creationId="{51AB24A4-9D16-251B-496A-5080127D4B4A}"/>
          </ac:cxnSpMkLst>
        </pc:cxnChg>
        <pc:cxnChg chg="add mod">
          <ac:chgData name="Merlin Gutter" userId="2abc6f04-74af-430b-bdc8-569c3bfa1dda" providerId="ADAL" clId="{CB1EFBC3-10F5-3048-8961-5969497C0019}" dt="2022-11-13T00:37:42.891" v="47875"/>
          <ac:cxnSpMkLst>
            <pc:docMk/>
            <pc:sldMk cId="4166082792" sldId="365"/>
            <ac:cxnSpMk id="13" creationId="{39D790F4-EE13-35A5-7AB5-3060A64F72FE}"/>
          </ac:cxnSpMkLst>
        </pc:cxnChg>
      </pc:sldChg>
      <pc:sldChg chg="del">
        <pc:chgData name="Merlin Gutter" userId="2abc6f04-74af-430b-bdc8-569c3bfa1dda" providerId="ADAL" clId="{CB1EFBC3-10F5-3048-8961-5969497C0019}" dt="2022-11-11T18:58:23.402" v="2347" actId="2696"/>
        <pc:sldMkLst>
          <pc:docMk/>
          <pc:sldMk cId="3251581437" sldId="366"/>
        </pc:sldMkLst>
      </pc:sldChg>
      <pc:sldChg chg="del">
        <pc:chgData name="Merlin Gutter" userId="2abc6f04-74af-430b-bdc8-569c3bfa1dda" providerId="ADAL" clId="{CB1EFBC3-10F5-3048-8961-5969497C0019}" dt="2022-11-11T18:58:23.876" v="2348" actId="2696"/>
        <pc:sldMkLst>
          <pc:docMk/>
          <pc:sldMk cId="1162379023" sldId="367"/>
        </pc:sldMkLst>
      </pc:sldChg>
      <pc:sldChg chg="addSp delSp modSp new add del mod modClrScheme chgLayout">
        <pc:chgData name="Merlin Gutter" userId="2abc6f04-74af-430b-bdc8-569c3bfa1dda" providerId="ADAL" clId="{CB1EFBC3-10F5-3048-8961-5969497C0019}" dt="2022-11-11T18:41:33.672" v="2280" actId="2696"/>
        <pc:sldMkLst>
          <pc:docMk/>
          <pc:sldMk cId="1352807399" sldId="368"/>
        </pc:sldMkLst>
        <pc:spChg chg="del">
          <ac:chgData name="Merlin Gutter" userId="2abc6f04-74af-430b-bdc8-569c3bfa1dda" providerId="ADAL" clId="{CB1EFBC3-10F5-3048-8961-5969497C0019}" dt="2022-11-11T18:36:00.392" v="2133"/>
          <ac:spMkLst>
            <pc:docMk/>
            <pc:sldMk cId="1352807399" sldId="368"/>
            <ac:spMk id="2" creationId="{1A810DA5-6B82-0F0B-8EAD-C3912323FA48}"/>
          </ac:spMkLst>
        </pc:spChg>
        <pc:spChg chg="del mod ord">
          <ac:chgData name="Merlin Gutter" userId="2abc6f04-74af-430b-bdc8-569c3bfa1dda" providerId="ADAL" clId="{CB1EFBC3-10F5-3048-8961-5969497C0019}" dt="2022-11-11T18:36:00.392" v="2133"/>
          <ac:spMkLst>
            <pc:docMk/>
            <pc:sldMk cId="1352807399" sldId="368"/>
            <ac:spMk id="3" creationId="{F9345171-6AC3-6F4A-F4EC-B6BED1881F7D}"/>
          </ac:spMkLst>
        </pc:spChg>
        <pc:spChg chg="del">
          <ac:chgData name="Merlin Gutter" userId="2abc6f04-74af-430b-bdc8-569c3bfa1dda" providerId="ADAL" clId="{CB1EFBC3-10F5-3048-8961-5969497C0019}" dt="2022-11-11T18:36:00.392" v="2133"/>
          <ac:spMkLst>
            <pc:docMk/>
            <pc:sldMk cId="1352807399" sldId="368"/>
            <ac:spMk id="4" creationId="{4284424B-7294-C453-851A-02FD9796972E}"/>
          </ac:spMkLst>
        </pc:spChg>
        <pc:spChg chg="del mod ord">
          <ac:chgData name="Merlin Gutter" userId="2abc6f04-74af-430b-bdc8-569c3bfa1dda" providerId="ADAL" clId="{CB1EFBC3-10F5-3048-8961-5969497C0019}" dt="2022-11-11T18:36:00.392" v="2133"/>
          <ac:spMkLst>
            <pc:docMk/>
            <pc:sldMk cId="1352807399" sldId="368"/>
            <ac:spMk id="5" creationId="{F31A8991-6811-438B-CFBA-585EC5C6F400}"/>
          </ac:spMkLst>
        </pc:spChg>
        <pc:spChg chg="del mod ord">
          <ac:chgData name="Merlin Gutter" userId="2abc6f04-74af-430b-bdc8-569c3bfa1dda" providerId="ADAL" clId="{CB1EFBC3-10F5-3048-8961-5969497C0019}" dt="2022-11-11T18:36:00.392" v="2133"/>
          <ac:spMkLst>
            <pc:docMk/>
            <pc:sldMk cId="1352807399" sldId="368"/>
            <ac:spMk id="6" creationId="{7C11E7B9-DC7C-2F4D-8F89-312835BD60D5}"/>
          </ac:spMkLst>
        </pc:spChg>
        <pc:spChg chg="mod ord">
          <ac:chgData name="Merlin Gutter" userId="2abc6f04-74af-430b-bdc8-569c3bfa1dda" providerId="ADAL" clId="{CB1EFBC3-10F5-3048-8961-5969497C0019}" dt="2022-11-11T18:36:00.392" v="2133"/>
          <ac:spMkLst>
            <pc:docMk/>
            <pc:sldMk cId="1352807399" sldId="368"/>
            <ac:spMk id="7" creationId="{51D246A1-C483-06E2-C44B-D21FB92548EB}"/>
          </ac:spMkLst>
        </pc:spChg>
        <pc:spChg chg="mod ord">
          <ac:chgData name="Merlin Gutter" userId="2abc6f04-74af-430b-bdc8-569c3bfa1dda" providerId="ADAL" clId="{CB1EFBC3-10F5-3048-8961-5969497C0019}" dt="2022-11-11T18:40:49.690" v="2268" actId="1076"/>
          <ac:spMkLst>
            <pc:docMk/>
            <pc:sldMk cId="1352807399" sldId="368"/>
            <ac:spMk id="8" creationId="{2C722B7C-A6A7-0B8C-0361-44AD5E6F0944}"/>
          </ac:spMkLst>
        </pc:spChg>
        <pc:spChg chg="add mod ord">
          <ac:chgData name="Merlin Gutter" userId="2abc6f04-74af-430b-bdc8-569c3bfa1dda" providerId="ADAL" clId="{CB1EFBC3-10F5-3048-8961-5969497C0019}" dt="2022-11-11T18:36:00.392" v="2133"/>
          <ac:spMkLst>
            <pc:docMk/>
            <pc:sldMk cId="1352807399" sldId="368"/>
            <ac:spMk id="9" creationId="{D5B0085A-FF7F-AFAF-42A8-AB231DDE9030}"/>
          </ac:spMkLst>
        </pc:spChg>
        <pc:spChg chg="add mod ord">
          <ac:chgData name="Merlin Gutter" userId="2abc6f04-74af-430b-bdc8-569c3bfa1dda" providerId="ADAL" clId="{CB1EFBC3-10F5-3048-8961-5969497C0019}" dt="2022-11-11T18:36:00.392" v="2133"/>
          <ac:spMkLst>
            <pc:docMk/>
            <pc:sldMk cId="1352807399" sldId="368"/>
            <ac:spMk id="10" creationId="{8275B77F-33C6-7020-8532-A7B89EBA56DC}"/>
          </ac:spMkLst>
        </pc:spChg>
        <pc:spChg chg="add mod ord">
          <ac:chgData name="Merlin Gutter" userId="2abc6f04-74af-430b-bdc8-569c3bfa1dda" providerId="ADAL" clId="{CB1EFBC3-10F5-3048-8961-5969497C0019}" dt="2022-11-11T18:36:00.392" v="2133"/>
          <ac:spMkLst>
            <pc:docMk/>
            <pc:sldMk cId="1352807399" sldId="368"/>
            <ac:spMk id="11" creationId="{9AB01F8D-7A0D-A534-46B2-7951B74DFEC2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12" creationId="{94F986E1-DA32-CC2F-FA79-0F5A3FAB0C11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13" creationId="{91EA8579-C88E-38B7-053E-B8CB9956A9DC}"/>
          </ac:spMkLst>
        </pc:spChg>
        <pc:spChg chg="add mod">
          <ac:chgData name="Merlin Gutter" userId="2abc6f04-74af-430b-bdc8-569c3bfa1dda" providerId="ADAL" clId="{CB1EFBC3-10F5-3048-8961-5969497C0019}" dt="2022-11-11T18:39:30.987" v="2212" actId="1076"/>
          <ac:spMkLst>
            <pc:docMk/>
            <pc:sldMk cId="1352807399" sldId="368"/>
            <ac:spMk id="14" creationId="{097FCBD5-1AE2-2D6C-4F72-0624D298D31B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15" creationId="{6721BE3D-A835-DA6F-F9FA-367BB337719A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16" creationId="{198AF04F-5A71-F395-7C94-261DF594F990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17" creationId="{5C81980F-4F63-AB00-35DE-EA48D95D7861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18" creationId="{556EDDF0-DC44-0DEE-8531-5B7BBDB270BC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19" creationId="{C7C95C51-28C7-CBD1-E3FA-5636CAFBDED8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20" creationId="{DB15779D-75F9-33F5-EB6C-40E6CA533E85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21" creationId="{994B8F80-FC6C-D78C-D989-CE4095107CD7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22" creationId="{40854E31-05A9-6AEB-4519-719666C592D8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23" creationId="{98999993-0DC5-7E13-211C-B060761ED648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24" creationId="{577B1D6D-4563-76E7-8E46-ABB3585551D9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25" creationId="{49130EA6-1503-6FA0-7D92-F2C0940BE0A9}"/>
          </ac:spMkLst>
        </pc:spChg>
        <pc:spChg chg="add del mod">
          <ac:chgData name="Merlin Gutter" userId="2abc6f04-74af-430b-bdc8-569c3bfa1dda" providerId="ADAL" clId="{CB1EFBC3-10F5-3048-8961-5969497C0019}" dt="2022-11-11T18:40:22.832" v="2260" actId="478"/>
          <ac:spMkLst>
            <pc:docMk/>
            <pc:sldMk cId="1352807399" sldId="368"/>
            <ac:spMk id="26" creationId="{A0E50AD2-A2CC-E685-D24A-360005C213F4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27" creationId="{D09E1357-25AE-1181-894D-E0829AF6239F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28" creationId="{9AE4C1DD-7EC2-F680-3014-DC71C3A86FAD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29" creationId="{E2E55878-65E4-D2D4-D1A9-52B4418C231D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30" creationId="{A6E7E234-B309-FBE9-8628-F602A5C9A0B5}"/>
          </ac:spMkLst>
        </pc:spChg>
        <pc:spChg chg="add mod">
          <ac:chgData name="Merlin Gutter" userId="2abc6f04-74af-430b-bdc8-569c3bfa1dda" providerId="ADAL" clId="{CB1EFBC3-10F5-3048-8961-5969497C0019}" dt="2022-11-11T18:41:11.494" v="2273" actId="1076"/>
          <ac:spMkLst>
            <pc:docMk/>
            <pc:sldMk cId="1352807399" sldId="368"/>
            <ac:spMk id="31" creationId="{94C047D5-7DA6-6592-5A6E-6C061EDB9BCE}"/>
          </ac:spMkLst>
        </pc:spChg>
        <pc:spChg chg="add mod">
          <ac:chgData name="Merlin Gutter" userId="2abc6f04-74af-430b-bdc8-569c3bfa1dda" providerId="ADAL" clId="{CB1EFBC3-10F5-3048-8961-5969497C0019}" dt="2022-11-11T18:41:02.551" v="2272" actId="14100"/>
          <ac:spMkLst>
            <pc:docMk/>
            <pc:sldMk cId="1352807399" sldId="368"/>
            <ac:spMk id="32" creationId="{962B2062-936C-8092-3B2D-69D046E69123}"/>
          </ac:spMkLst>
        </pc:spChg>
      </pc:sldChg>
      <pc:sldChg chg="new add del">
        <pc:chgData name="Merlin Gutter" userId="2abc6f04-74af-430b-bdc8-569c3bfa1dda" providerId="ADAL" clId="{CB1EFBC3-10F5-3048-8961-5969497C0019}" dt="2022-11-11T18:41:25.082" v="2278" actId="2696"/>
        <pc:sldMkLst>
          <pc:docMk/>
          <pc:sldMk cId="1070599276" sldId="369"/>
        </pc:sldMkLst>
      </pc:sldChg>
      <pc:sldChg chg="addSp delSp modSp new add del mod">
        <pc:chgData name="Merlin Gutter" userId="2abc6f04-74af-430b-bdc8-569c3bfa1dda" providerId="ADAL" clId="{CB1EFBC3-10F5-3048-8961-5969497C0019}" dt="2022-11-23T18:21:55.635" v="116548" actId="2696"/>
        <pc:sldMkLst>
          <pc:docMk/>
          <pc:sldMk cId="179184223" sldId="370"/>
        </pc:sldMkLst>
        <pc:spChg chg="mod">
          <ac:chgData name="Merlin Gutter" userId="2abc6f04-74af-430b-bdc8-569c3bfa1dda" providerId="ADAL" clId="{CB1EFBC3-10F5-3048-8961-5969497C0019}" dt="2022-11-13T00:41:04.487" v="47961" actId="20577"/>
          <ac:spMkLst>
            <pc:docMk/>
            <pc:sldMk cId="179184223" sldId="370"/>
            <ac:spMk id="3" creationId="{C4024FDC-D549-F6EC-F969-74B2EDDB72FC}"/>
          </ac:spMkLst>
        </pc:spChg>
        <pc:spChg chg="add mod">
          <ac:chgData name="Merlin Gutter" userId="2abc6f04-74af-430b-bdc8-569c3bfa1dda" providerId="ADAL" clId="{CB1EFBC3-10F5-3048-8961-5969497C0019}" dt="2022-11-23T17:49:10.933" v="108483" actId="1076"/>
          <ac:spMkLst>
            <pc:docMk/>
            <pc:sldMk cId="179184223" sldId="370"/>
            <ac:spMk id="4" creationId="{AC6CEA84-6965-A46A-4C43-E22BF7BCC895}"/>
          </ac:spMkLst>
        </pc:spChg>
        <pc:spChg chg="add del mod">
          <ac:chgData name="Merlin Gutter" userId="2abc6f04-74af-430b-bdc8-569c3bfa1dda" providerId="ADAL" clId="{CB1EFBC3-10F5-3048-8961-5969497C0019}" dt="2022-11-23T17:49:12.924" v="108484" actId="478"/>
          <ac:spMkLst>
            <pc:docMk/>
            <pc:sldMk cId="179184223" sldId="370"/>
            <ac:spMk id="7" creationId="{0D46092F-261C-82DE-BB48-90C5AC557816}"/>
          </ac:spMkLst>
        </pc:spChg>
        <pc:spChg chg="add mod">
          <ac:chgData name="Merlin Gutter" userId="2abc6f04-74af-430b-bdc8-569c3bfa1dda" providerId="ADAL" clId="{CB1EFBC3-10F5-3048-8961-5969497C0019}" dt="2022-11-23T17:49:32.629" v="108486" actId="108"/>
          <ac:spMkLst>
            <pc:docMk/>
            <pc:sldMk cId="179184223" sldId="370"/>
            <ac:spMk id="8" creationId="{33BFFE52-8B5C-F2EE-34FF-3E0959547816}"/>
          </ac:spMkLst>
        </pc:spChg>
        <pc:spChg chg="add mod">
          <ac:chgData name="Merlin Gutter" userId="2abc6f04-74af-430b-bdc8-569c3bfa1dda" providerId="ADAL" clId="{CB1EFBC3-10F5-3048-8961-5969497C0019}" dt="2022-11-23T17:48:07.080" v="108462" actId="2711"/>
          <ac:spMkLst>
            <pc:docMk/>
            <pc:sldMk cId="179184223" sldId="370"/>
            <ac:spMk id="9" creationId="{4A629F21-EB27-DA31-BD8F-B2AA58E24917}"/>
          </ac:spMkLst>
        </pc:spChg>
        <pc:spChg chg="add del mod">
          <ac:chgData name="Merlin Gutter" userId="2abc6f04-74af-430b-bdc8-569c3bfa1dda" providerId="ADAL" clId="{CB1EFBC3-10F5-3048-8961-5969497C0019}" dt="2022-11-23T17:49:08.235" v="108481" actId="478"/>
          <ac:spMkLst>
            <pc:docMk/>
            <pc:sldMk cId="179184223" sldId="370"/>
            <ac:spMk id="10" creationId="{96C9B39E-B6F0-A628-8016-27F08C476907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11" creationId="{6CAF6D89-351F-B467-BF0E-7EEEE63702ED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12" creationId="{DBDA0B70-276B-ED42-D296-F9DFA2503A40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13" creationId="{6B1F1038-7DDB-13C3-9E87-9617DCDB3417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14" creationId="{97CF11B0-7D52-E607-D1D2-C5F08C74EBF5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15" creationId="{FB38A7D5-EFA4-4B18-846F-C30F7492B0DF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16" creationId="{476CEE4A-23C8-8952-D41D-D5D17B0B7790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17" creationId="{5E0A0AD5-A9D2-8624-E032-D933877F31D7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18" creationId="{299ADB79-1694-E87E-AD4B-1EBD4E24A662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19" creationId="{DD94838B-BF30-2F3E-6AF3-5FB44FCB9874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20" creationId="{1C98A973-BE2F-FFD3-33BB-C536A9F9E592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21" creationId="{02A52CD0-20C0-2614-6FC8-860CE810969A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22" creationId="{1EF6FF72-9086-CC9B-1BD5-8C90D43D5273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23" creationId="{3E17BE7A-950E-CCB4-58CF-F5FA9A50DBBD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24" creationId="{9722BF3B-33BF-CA13-2D72-9D7BE43A0B7D}"/>
          </ac:spMkLst>
        </pc:spChg>
        <pc:spChg chg="add mod">
          <ac:chgData name="Merlin Gutter" userId="2abc6f04-74af-430b-bdc8-569c3bfa1dda" providerId="ADAL" clId="{CB1EFBC3-10F5-3048-8961-5969497C0019}" dt="2022-11-11T18:41:32.247" v="2279"/>
          <ac:spMkLst>
            <pc:docMk/>
            <pc:sldMk cId="179184223" sldId="370"/>
            <ac:spMk id="25" creationId="{67689547-6DE0-0343-9EF4-BE7B8ECC24CA}"/>
          </ac:spMkLst>
        </pc:spChg>
        <pc:spChg chg="add mod">
          <ac:chgData name="Merlin Gutter" userId="2abc6f04-74af-430b-bdc8-569c3bfa1dda" providerId="ADAL" clId="{CB1EFBC3-10F5-3048-8961-5969497C0019}" dt="2022-11-23T17:48:25.628" v="108466" actId="1076"/>
          <ac:spMkLst>
            <pc:docMk/>
            <pc:sldMk cId="179184223" sldId="370"/>
            <ac:spMk id="26" creationId="{4D75400F-00A2-247C-0757-CC30AEB2575B}"/>
          </ac:spMkLst>
        </pc:spChg>
        <pc:spChg chg="add mod">
          <ac:chgData name="Merlin Gutter" userId="2abc6f04-74af-430b-bdc8-569c3bfa1dda" providerId="ADAL" clId="{CB1EFBC3-10F5-3048-8961-5969497C0019}" dt="2022-11-11T18:56:56.400" v="2304" actId="20577"/>
          <ac:spMkLst>
            <pc:docMk/>
            <pc:sldMk cId="179184223" sldId="370"/>
            <ac:spMk id="27" creationId="{BCF034FF-5191-64E7-E454-D368101B8736}"/>
          </ac:spMkLst>
        </pc:spChg>
        <pc:cxnChg chg="add mod">
          <ac:chgData name="Merlin Gutter" userId="2abc6f04-74af-430b-bdc8-569c3bfa1dda" providerId="ADAL" clId="{CB1EFBC3-10F5-3048-8961-5969497C0019}" dt="2022-11-23T17:33:41.030" v="98526"/>
          <ac:cxnSpMkLst>
            <pc:docMk/>
            <pc:sldMk cId="179184223" sldId="370"/>
            <ac:cxnSpMk id="2" creationId="{DFC9ED8F-F1D0-12F7-58F1-4DED43D01032}"/>
          </ac:cxnSpMkLst>
        </pc:cxnChg>
        <pc:cxnChg chg="add mod">
          <ac:chgData name="Merlin Gutter" userId="2abc6f04-74af-430b-bdc8-569c3bfa1dda" providerId="ADAL" clId="{CB1EFBC3-10F5-3048-8961-5969497C0019}" dt="2022-11-23T17:33:41.030" v="98526"/>
          <ac:cxnSpMkLst>
            <pc:docMk/>
            <pc:sldMk cId="179184223" sldId="370"/>
            <ac:cxnSpMk id="3" creationId="{23C92E61-D92F-6D6E-7CA5-F3307CA5D32A}"/>
          </ac:cxnSpMkLst>
        </pc:cxnChg>
      </pc:sldChg>
      <pc:sldChg chg="new add del">
        <pc:chgData name="Merlin Gutter" userId="2abc6f04-74af-430b-bdc8-569c3bfa1dda" providerId="ADAL" clId="{CB1EFBC3-10F5-3048-8961-5969497C0019}" dt="2022-11-12T18:52:23.006" v="42464" actId="2696"/>
        <pc:sldMkLst>
          <pc:docMk/>
          <pc:sldMk cId="1515637403" sldId="371"/>
        </pc:sldMkLst>
      </pc:sldChg>
      <pc:sldChg chg="addSp delSp modSp new add del mod modNotesTx">
        <pc:chgData name="Merlin Gutter" userId="2abc6f04-74af-430b-bdc8-569c3bfa1dda" providerId="ADAL" clId="{CB1EFBC3-10F5-3048-8961-5969497C0019}" dt="2022-11-12T21:49:43.442" v="46867" actId="2696"/>
        <pc:sldMkLst>
          <pc:docMk/>
          <pc:sldMk cId="808514565" sldId="372"/>
        </pc:sldMkLst>
        <pc:spChg chg="mod">
          <ac:chgData name="Merlin Gutter" userId="2abc6f04-74af-430b-bdc8-569c3bfa1dda" providerId="ADAL" clId="{CB1EFBC3-10F5-3048-8961-5969497C0019}" dt="2022-11-12T21:30:15.972" v="46639"/>
          <ac:spMkLst>
            <pc:docMk/>
            <pc:sldMk cId="808514565" sldId="372"/>
            <ac:spMk id="2" creationId="{FDE3935B-E57A-CB5C-34D0-C80DA39CF76C}"/>
          </ac:spMkLst>
        </pc:spChg>
        <pc:spChg chg="mod">
          <ac:chgData name="Merlin Gutter" userId="2abc6f04-74af-430b-bdc8-569c3bfa1dda" providerId="ADAL" clId="{CB1EFBC3-10F5-3048-8961-5969497C0019}" dt="2022-11-12T21:30:15.972" v="46640"/>
          <ac:spMkLst>
            <pc:docMk/>
            <pc:sldMk cId="808514565" sldId="372"/>
            <ac:spMk id="3" creationId="{4820C2B2-B326-90CE-A63F-220D7C6F78E1}"/>
          </ac:spMkLst>
        </pc:spChg>
        <pc:spChg chg="mod">
          <ac:chgData name="Merlin Gutter" userId="2abc6f04-74af-430b-bdc8-569c3bfa1dda" providerId="ADAL" clId="{CB1EFBC3-10F5-3048-8961-5969497C0019}" dt="2022-11-12T21:30:15.972" v="46641"/>
          <ac:spMkLst>
            <pc:docMk/>
            <pc:sldMk cId="808514565" sldId="372"/>
            <ac:spMk id="4" creationId="{0FB084CA-5DFD-82E8-498D-9E28E23F72B8}"/>
          </ac:spMkLst>
        </pc:spChg>
        <pc:spChg chg="mod">
          <ac:chgData name="Merlin Gutter" userId="2abc6f04-74af-430b-bdc8-569c3bfa1dda" providerId="ADAL" clId="{CB1EFBC3-10F5-3048-8961-5969497C0019}" dt="2022-11-12T21:30:15.972" v="46642"/>
          <ac:spMkLst>
            <pc:docMk/>
            <pc:sldMk cId="808514565" sldId="372"/>
            <ac:spMk id="5" creationId="{FB1521A7-E973-8781-4339-C3EB06CC1CE6}"/>
          </ac:spMkLst>
        </pc:spChg>
        <pc:spChg chg="mod">
          <ac:chgData name="Merlin Gutter" userId="2abc6f04-74af-430b-bdc8-569c3bfa1dda" providerId="ADAL" clId="{CB1EFBC3-10F5-3048-8961-5969497C0019}" dt="2022-11-12T21:30:15.972" v="46643"/>
          <ac:spMkLst>
            <pc:docMk/>
            <pc:sldMk cId="808514565" sldId="372"/>
            <ac:spMk id="6" creationId="{90A2249E-7BEA-77C0-26D1-9DDD12E72E65}"/>
          </ac:spMkLst>
        </pc:spChg>
        <pc:spChg chg="add del mod">
          <ac:chgData name="Merlin Gutter" userId="2abc6f04-74af-430b-bdc8-569c3bfa1dda" providerId="ADAL" clId="{CB1EFBC3-10F5-3048-8961-5969497C0019}" dt="2022-11-12T18:53:11.475" v="42472"/>
          <ac:spMkLst>
            <pc:docMk/>
            <pc:sldMk cId="808514565" sldId="372"/>
            <ac:spMk id="7" creationId="{576C42B3-1312-C375-EF20-D350EC935F4E}"/>
          </ac:spMkLst>
        </pc:spChg>
        <pc:spChg chg="add del mod">
          <ac:chgData name="Merlin Gutter" userId="2abc6f04-74af-430b-bdc8-569c3bfa1dda" providerId="ADAL" clId="{CB1EFBC3-10F5-3048-8961-5969497C0019}" dt="2022-11-12T18:53:13.932" v="42474"/>
          <ac:spMkLst>
            <pc:docMk/>
            <pc:sldMk cId="808514565" sldId="372"/>
            <ac:spMk id="8" creationId="{1A59F190-009F-FCA8-6BB6-7998DC0A8455}"/>
          </ac:spMkLst>
        </pc:spChg>
        <pc:spChg chg="add mod">
          <ac:chgData name="Merlin Gutter" userId="2abc6f04-74af-430b-bdc8-569c3bfa1dda" providerId="ADAL" clId="{CB1EFBC3-10F5-3048-8961-5969497C0019}" dt="2022-11-12T19:04:45.817" v="43242" actId="164"/>
          <ac:spMkLst>
            <pc:docMk/>
            <pc:sldMk cId="808514565" sldId="372"/>
            <ac:spMk id="9" creationId="{F79694A9-3BD6-4EC8-75FD-90451493EA3C}"/>
          </ac:spMkLst>
        </pc:spChg>
        <pc:spChg chg="add mod">
          <ac:chgData name="Merlin Gutter" userId="2abc6f04-74af-430b-bdc8-569c3bfa1dda" providerId="ADAL" clId="{CB1EFBC3-10F5-3048-8961-5969497C0019}" dt="2022-11-12T19:15:27.554" v="43320" actId="20577"/>
          <ac:spMkLst>
            <pc:docMk/>
            <pc:sldMk cId="808514565" sldId="372"/>
            <ac:spMk id="10" creationId="{5CA3F3DA-249C-AC2C-CF5F-20A99DFEEB24}"/>
          </ac:spMkLst>
        </pc:spChg>
        <pc:spChg chg="add mod">
          <ac:chgData name="Merlin Gutter" userId="2abc6f04-74af-430b-bdc8-569c3bfa1dda" providerId="ADAL" clId="{CB1EFBC3-10F5-3048-8961-5969497C0019}" dt="2022-11-12T19:44:18.583" v="45725" actId="465"/>
          <ac:spMkLst>
            <pc:docMk/>
            <pc:sldMk cId="808514565" sldId="372"/>
            <ac:spMk id="11" creationId="{33EB60A5-4DAF-4F4D-3024-49A2AC8D28D4}"/>
          </ac:spMkLst>
        </pc:spChg>
        <pc:spChg chg="add mod">
          <ac:chgData name="Merlin Gutter" userId="2abc6f04-74af-430b-bdc8-569c3bfa1dda" providerId="ADAL" clId="{CB1EFBC3-10F5-3048-8961-5969497C0019}" dt="2022-11-12T19:44:18.583" v="45725" actId="465"/>
          <ac:spMkLst>
            <pc:docMk/>
            <pc:sldMk cId="808514565" sldId="372"/>
            <ac:spMk id="12" creationId="{58D6F150-D434-50FE-D8D6-DD9F767A2025}"/>
          </ac:spMkLst>
        </pc:spChg>
        <pc:spChg chg="mod">
          <ac:chgData name="Merlin Gutter" userId="2abc6f04-74af-430b-bdc8-569c3bfa1dda" providerId="ADAL" clId="{CB1EFBC3-10F5-3048-8961-5969497C0019}" dt="2022-11-12T19:44:18.583" v="45725" actId="465"/>
          <ac:spMkLst>
            <pc:docMk/>
            <pc:sldMk cId="808514565" sldId="372"/>
            <ac:spMk id="16" creationId="{1F893CAB-FEF9-2151-911E-65699DDEACFF}"/>
          </ac:spMkLst>
        </pc:spChg>
        <pc:spChg chg="mod">
          <ac:chgData name="Merlin Gutter" userId="2abc6f04-74af-430b-bdc8-569c3bfa1dda" providerId="ADAL" clId="{CB1EFBC3-10F5-3048-8961-5969497C0019}" dt="2022-11-12T19:44:18.583" v="45725" actId="465"/>
          <ac:spMkLst>
            <pc:docMk/>
            <pc:sldMk cId="808514565" sldId="372"/>
            <ac:spMk id="17" creationId="{06151536-D310-AD3B-003D-3E976E1E926E}"/>
          </ac:spMkLst>
        </pc:spChg>
        <pc:spChg chg="mod">
          <ac:chgData name="Merlin Gutter" userId="2abc6f04-74af-430b-bdc8-569c3bfa1dda" providerId="ADAL" clId="{CB1EFBC3-10F5-3048-8961-5969497C0019}" dt="2022-11-12T19:44:18.583" v="45725" actId="465"/>
          <ac:spMkLst>
            <pc:docMk/>
            <pc:sldMk cId="808514565" sldId="372"/>
            <ac:spMk id="19" creationId="{F33E3D07-F2B4-C9A3-1245-47F446441F5E}"/>
          </ac:spMkLst>
        </pc:spChg>
        <pc:spChg chg="mod">
          <ac:chgData name="Merlin Gutter" userId="2abc6f04-74af-430b-bdc8-569c3bfa1dda" providerId="ADAL" clId="{CB1EFBC3-10F5-3048-8961-5969497C0019}" dt="2022-11-12T19:44:18.583" v="45725" actId="465"/>
          <ac:spMkLst>
            <pc:docMk/>
            <pc:sldMk cId="808514565" sldId="372"/>
            <ac:spMk id="20" creationId="{0BBDB99F-ADB2-7908-5C61-1A241D5DBF40}"/>
          </ac:spMkLst>
        </pc:spChg>
        <pc:spChg chg="mod">
          <ac:chgData name="Merlin Gutter" userId="2abc6f04-74af-430b-bdc8-569c3bfa1dda" providerId="ADAL" clId="{CB1EFBC3-10F5-3048-8961-5969497C0019}" dt="2022-11-12T19:43:59.716" v="45714"/>
          <ac:spMkLst>
            <pc:docMk/>
            <pc:sldMk cId="808514565" sldId="372"/>
            <ac:spMk id="22" creationId="{3B327C8A-6A5E-4F3E-B530-F777A3DE249C}"/>
          </ac:spMkLst>
        </pc:spChg>
        <pc:spChg chg="mod">
          <ac:chgData name="Merlin Gutter" userId="2abc6f04-74af-430b-bdc8-569c3bfa1dda" providerId="ADAL" clId="{CB1EFBC3-10F5-3048-8961-5969497C0019}" dt="2022-11-12T19:43:59.716" v="45714"/>
          <ac:spMkLst>
            <pc:docMk/>
            <pc:sldMk cId="808514565" sldId="372"/>
            <ac:spMk id="23" creationId="{64345F12-BF2B-B174-9C93-2E2118BF4480}"/>
          </ac:spMkLst>
        </pc:spChg>
        <pc:spChg chg="add del mod">
          <ac:chgData name="Merlin Gutter" userId="2abc6f04-74af-430b-bdc8-569c3bfa1dda" providerId="ADAL" clId="{CB1EFBC3-10F5-3048-8961-5969497C0019}" dt="2022-11-12T19:19:28.409" v="43408" actId="478"/>
          <ac:spMkLst>
            <pc:docMk/>
            <pc:sldMk cId="808514565" sldId="372"/>
            <ac:spMk id="24" creationId="{E83081D8-1775-3EA5-AB5C-C4144D769710}"/>
          </ac:spMkLst>
        </pc:spChg>
        <pc:spChg chg="add del mod replST">
          <ac:chgData name="Merlin Gutter" userId="2abc6f04-74af-430b-bdc8-569c3bfa1dda" providerId="ADAL" clId="{CB1EFBC3-10F5-3048-8961-5969497C0019}" dt="2022-11-12T19:41:50.608" v="44705"/>
          <ac:spMkLst>
            <pc:docMk/>
            <pc:sldMk cId="808514565" sldId="372"/>
            <ac:spMk id="28" creationId="{414C43B0-21E3-0217-8416-7688E49533A6}"/>
          </ac:spMkLst>
        </pc:spChg>
        <pc:spChg chg="add del mod modVis">
          <ac:chgData name="Merlin Gutter" userId="2abc6f04-74af-430b-bdc8-569c3bfa1dda" providerId="ADAL" clId="{CB1EFBC3-10F5-3048-8961-5969497C0019}" dt="2022-11-12T19:40:33.052" v="43724"/>
          <ac:spMkLst>
            <pc:docMk/>
            <pc:sldMk cId="808514565" sldId="372"/>
            <ac:spMk id="29" creationId="{ABE7B06B-FF8A-8DDD-C28B-A32C266A2C6A}"/>
          </ac:spMkLst>
        </pc:spChg>
        <pc:spChg chg="add del mod replST">
          <ac:chgData name="Merlin Gutter" userId="2abc6f04-74af-430b-bdc8-569c3bfa1dda" providerId="ADAL" clId="{CB1EFBC3-10F5-3048-8961-5969497C0019}" dt="2022-11-12T19:41:50.608" v="44706"/>
          <ac:spMkLst>
            <pc:docMk/>
            <pc:sldMk cId="808514565" sldId="372"/>
            <ac:spMk id="30" creationId="{7AEB1F38-F5BD-9653-B34B-0B9D29EFF8E2}"/>
          </ac:spMkLst>
        </pc:spChg>
        <pc:spChg chg="add del mod replST">
          <ac:chgData name="Merlin Gutter" userId="2abc6f04-74af-430b-bdc8-569c3bfa1dda" providerId="ADAL" clId="{CB1EFBC3-10F5-3048-8961-5969497C0019}" dt="2022-11-12T19:41:50.608" v="44707"/>
          <ac:spMkLst>
            <pc:docMk/>
            <pc:sldMk cId="808514565" sldId="372"/>
            <ac:spMk id="31" creationId="{70A8CD6C-59D1-0F78-0B78-DB523694822B}"/>
          </ac:spMkLst>
        </pc:spChg>
        <pc:spChg chg="add del mod replST">
          <ac:chgData name="Merlin Gutter" userId="2abc6f04-74af-430b-bdc8-569c3bfa1dda" providerId="ADAL" clId="{CB1EFBC3-10F5-3048-8961-5969497C0019}" dt="2022-11-12T19:41:50.607" v="44704"/>
          <ac:spMkLst>
            <pc:docMk/>
            <pc:sldMk cId="808514565" sldId="372"/>
            <ac:spMk id="34" creationId="{AD986D1B-70E7-77AB-5D13-CE5BA4CB8AFF}"/>
          </ac:spMkLst>
        </pc:spChg>
        <pc:spChg chg="add del mod replST">
          <ac:chgData name="Merlin Gutter" userId="2abc6f04-74af-430b-bdc8-569c3bfa1dda" providerId="ADAL" clId="{CB1EFBC3-10F5-3048-8961-5969497C0019}" dt="2022-11-12T19:41:50.609" v="44708"/>
          <ac:spMkLst>
            <pc:docMk/>
            <pc:sldMk cId="808514565" sldId="372"/>
            <ac:spMk id="35" creationId="{A5968AD7-9A51-B287-A45C-3EA79A2DC92A}"/>
          </ac:spMkLst>
        </pc:spChg>
        <pc:spChg chg="add del mod modVis">
          <ac:chgData name="Merlin Gutter" userId="2abc6f04-74af-430b-bdc8-569c3bfa1dda" providerId="ADAL" clId="{CB1EFBC3-10F5-3048-8961-5969497C0019}" dt="2022-11-12T19:40:48.365" v="43887"/>
          <ac:spMkLst>
            <pc:docMk/>
            <pc:sldMk cId="808514565" sldId="372"/>
            <ac:spMk id="36" creationId="{FC3661DB-F6CB-3216-35E5-C51CBFDAD8E4}"/>
          </ac:spMkLst>
        </pc:spChg>
        <pc:spChg chg="add del mod modVis">
          <ac:chgData name="Merlin Gutter" userId="2abc6f04-74af-430b-bdc8-569c3bfa1dda" providerId="ADAL" clId="{CB1EFBC3-10F5-3048-8961-5969497C0019}" dt="2022-11-12T19:40:53.424" v="44169"/>
          <ac:spMkLst>
            <pc:docMk/>
            <pc:sldMk cId="808514565" sldId="372"/>
            <ac:spMk id="38" creationId="{7C9475B2-DF7C-EFC2-BBA5-3E2E0CAFD407}"/>
          </ac:spMkLst>
        </pc:spChg>
        <pc:spChg chg="add del mod replST">
          <ac:chgData name="Merlin Gutter" userId="2abc6f04-74af-430b-bdc8-569c3bfa1dda" providerId="ADAL" clId="{CB1EFBC3-10F5-3048-8961-5969497C0019}" dt="2022-11-12T19:40:56.201" v="44172"/>
          <ac:spMkLst>
            <pc:docMk/>
            <pc:sldMk cId="808514565" sldId="372"/>
            <ac:spMk id="39" creationId="{D7C8EF48-7CDB-17D4-3559-CD3CC3D54562}"/>
          </ac:spMkLst>
        </pc:spChg>
        <pc:spChg chg="add del mod replST">
          <ac:chgData name="Merlin Gutter" userId="2abc6f04-74af-430b-bdc8-569c3bfa1dda" providerId="ADAL" clId="{CB1EFBC3-10F5-3048-8961-5969497C0019}" dt="2022-11-12T19:40:56.203" v="44173"/>
          <ac:spMkLst>
            <pc:docMk/>
            <pc:sldMk cId="808514565" sldId="372"/>
            <ac:spMk id="40" creationId="{29AEEEB5-88FF-7018-00D6-4BC836808CD7}"/>
          </ac:spMkLst>
        </pc:spChg>
        <pc:spChg chg="add del mod replST">
          <ac:chgData name="Merlin Gutter" userId="2abc6f04-74af-430b-bdc8-569c3bfa1dda" providerId="ADAL" clId="{CB1EFBC3-10F5-3048-8961-5969497C0019}" dt="2022-11-12T19:40:56.203" v="44174"/>
          <ac:spMkLst>
            <pc:docMk/>
            <pc:sldMk cId="808514565" sldId="372"/>
            <ac:spMk id="41" creationId="{DB6D5794-5785-C612-8E6E-A5923C552E56}"/>
          </ac:spMkLst>
        </pc:spChg>
        <pc:spChg chg="add del mod replST">
          <ac:chgData name="Merlin Gutter" userId="2abc6f04-74af-430b-bdc8-569c3bfa1dda" providerId="ADAL" clId="{CB1EFBC3-10F5-3048-8961-5969497C0019}" dt="2022-11-12T19:41:41.026" v="44525"/>
          <ac:spMkLst>
            <pc:docMk/>
            <pc:sldMk cId="808514565" sldId="372"/>
            <ac:spMk id="44" creationId="{CF29BA16-24B1-27F6-6422-8709F48B89B5}"/>
          </ac:spMkLst>
        </pc:spChg>
        <pc:spChg chg="add del mod replST">
          <ac:chgData name="Merlin Gutter" userId="2abc6f04-74af-430b-bdc8-569c3bfa1dda" providerId="ADAL" clId="{CB1EFBC3-10F5-3048-8961-5969497C0019}" dt="2022-11-12T19:41:41.033" v="44539"/>
          <ac:spMkLst>
            <pc:docMk/>
            <pc:sldMk cId="808514565" sldId="372"/>
            <ac:spMk id="45" creationId="{04E5669C-74C8-B348-5846-64D8B54A5C45}"/>
          </ac:spMkLst>
        </pc:spChg>
        <pc:spChg chg="add del mod replST">
          <ac:chgData name="Merlin Gutter" userId="2abc6f04-74af-430b-bdc8-569c3bfa1dda" providerId="ADAL" clId="{CB1EFBC3-10F5-3048-8961-5969497C0019}" dt="2022-11-12T19:41:41.038" v="44553"/>
          <ac:spMkLst>
            <pc:docMk/>
            <pc:sldMk cId="808514565" sldId="372"/>
            <ac:spMk id="46" creationId="{B17D045F-EE2F-56F8-B247-2480F5D742A6}"/>
          </ac:spMkLst>
        </pc:spChg>
        <pc:spChg chg="add del mod replST">
          <ac:chgData name="Merlin Gutter" userId="2abc6f04-74af-430b-bdc8-569c3bfa1dda" providerId="ADAL" clId="{CB1EFBC3-10F5-3048-8961-5969497C0019}" dt="2022-11-12T19:42:04.207" v="45001"/>
          <ac:spMkLst>
            <pc:docMk/>
            <pc:sldMk cId="808514565" sldId="372"/>
            <ac:spMk id="47" creationId="{BAE568F2-E2BD-EC26-915D-44AA5507A5A8}"/>
          </ac:spMkLst>
        </pc:spChg>
        <pc:spChg chg="add del mod modVis">
          <ac:chgData name="Merlin Gutter" userId="2abc6f04-74af-430b-bdc8-569c3bfa1dda" providerId="ADAL" clId="{CB1EFBC3-10F5-3048-8961-5969497C0019}" dt="2022-11-12T19:41:02.726" v="44385"/>
          <ac:spMkLst>
            <pc:docMk/>
            <pc:sldMk cId="808514565" sldId="372"/>
            <ac:spMk id="48" creationId="{56AC305B-C838-AA44-C2DE-83F402040B10}"/>
          </ac:spMkLst>
        </pc:spChg>
        <pc:spChg chg="add del mod replST">
          <ac:chgData name="Merlin Gutter" userId="2abc6f04-74af-430b-bdc8-569c3bfa1dda" providerId="ADAL" clId="{CB1EFBC3-10F5-3048-8961-5969497C0019}" dt="2022-11-12T19:41:43.447" v="44615"/>
          <ac:spMkLst>
            <pc:docMk/>
            <pc:sldMk cId="808514565" sldId="372"/>
            <ac:spMk id="52" creationId="{3385360A-26FF-4AD6-3BE7-0A47CAB8A033}"/>
          </ac:spMkLst>
        </pc:spChg>
        <pc:spChg chg="add del mod replST">
          <ac:chgData name="Merlin Gutter" userId="2abc6f04-74af-430b-bdc8-569c3bfa1dda" providerId="ADAL" clId="{CB1EFBC3-10F5-3048-8961-5969497C0019}" dt="2022-11-12T19:41:43.455" v="44629"/>
          <ac:spMkLst>
            <pc:docMk/>
            <pc:sldMk cId="808514565" sldId="372"/>
            <ac:spMk id="53" creationId="{E0BE656D-7209-E700-70C0-5DA45A186BDE}"/>
          </ac:spMkLst>
        </pc:spChg>
        <pc:spChg chg="add del mod replST">
          <ac:chgData name="Merlin Gutter" userId="2abc6f04-74af-430b-bdc8-569c3bfa1dda" providerId="ADAL" clId="{CB1EFBC3-10F5-3048-8961-5969497C0019}" dt="2022-11-12T19:41:43.461" v="44643"/>
          <ac:spMkLst>
            <pc:docMk/>
            <pc:sldMk cId="808514565" sldId="372"/>
            <ac:spMk id="54" creationId="{53FEA711-3CB4-0561-B874-AA39BDA95DF1}"/>
          </ac:spMkLst>
        </pc:spChg>
        <pc:spChg chg="add del mod replST">
          <ac:chgData name="Merlin Gutter" userId="2abc6f04-74af-430b-bdc8-569c3bfa1dda" providerId="ADAL" clId="{CB1EFBC3-10F5-3048-8961-5969497C0019}" dt="2022-11-12T19:42:20.445" v="45376"/>
          <ac:spMkLst>
            <pc:docMk/>
            <pc:sldMk cId="808514565" sldId="372"/>
            <ac:spMk id="56" creationId="{FFD1C12E-6852-4A73-AAB4-5F1DE62D8571}"/>
          </ac:spMkLst>
        </pc:spChg>
        <pc:spChg chg="add del mod replST">
          <ac:chgData name="Merlin Gutter" userId="2abc6f04-74af-430b-bdc8-569c3bfa1dda" providerId="ADAL" clId="{CB1EFBC3-10F5-3048-8961-5969497C0019}" dt="2022-11-12T19:42:20.451" v="45390"/>
          <ac:spMkLst>
            <pc:docMk/>
            <pc:sldMk cId="808514565" sldId="372"/>
            <ac:spMk id="57" creationId="{542EE8F9-1D53-497C-91F4-381C1DE911F0}"/>
          </ac:spMkLst>
        </pc:spChg>
        <pc:spChg chg="add del mod replST">
          <ac:chgData name="Merlin Gutter" userId="2abc6f04-74af-430b-bdc8-569c3bfa1dda" providerId="ADAL" clId="{CB1EFBC3-10F5-3048-8961-5969497C0019}" dt="2022-11-12T19:42:20.456" v="45404"/>
          <ac:spMkLst>
            <pc:docMk/>
            <pc:sldMk cId="808514565" sldId="372"/>
            <ac:spMk id="58" creationId="{EC459035-2039-BB4A-286F-26BF1B7328E1}"/>
          </ac:spMkLst>
        </pc:spChg>
        <pc:spChg chg="add del mod modVis">
          <ac:chgData name="Merlin Gutter" userId="2abc6f04-74af-430b-bdc8-569c3bfa1dda" providerId="ADAL" clId="{CB1EFBC3-10F5-3048-8961-5969497C0019}" dt="2022-11-12T19:42:01.183" v="44933"/>
          <ac:spMkLst>
            <pc:docMk/>
            <pc:sldMk cId="808514565" sldId="372"/>
            <ac:spMk id="63" creationId="{7273DB12-8C33-9C23-7473-B4B8E7A57E2C}"/>
          </ac:spMkLst>
        </pc:spChg>
        <pc:spChg chg="add mod replST">
          <ac:chgData name="Merlin Gutter" userId="2abc6f04-74af-430b-bdc8-569c3bfa1dda" providerId="ADAL" clId="{CB1EFBC3-10F5-3048-8961-5969497C0019}" dt="2022-11-12T21:30:17.403" v="46682"/>
          <ac:spMkLst>
            <pc:docMk/>
            <pc:sldMk cId="808514565" sldId="372"/>
            <ac:spMk id="64" creationId="{81584AC9-79AE-7452-2705-F10CFA36043B}"/>
          </ac:spMkLst>
        </pc:spChg>
        <pc:spChg chg="add del mod replST">
          <ac:chgData name="Merlin Gutter" userId="2abc6f04-74af-430b-bdc8-569c3bfa1dda" providerId="ADAL" clId="{CB1EFBC3-10F5-3048-8961-5969497C0019}" dt="2022-11-12T19:42:07.285" v="45142"/>
          <ac:spMkLst>
            <pc:docMk/>
            <pc:sldMk cId="808514565" sldId="372"/>
            <ac:spMk id="69" creationId="{5CF99557-4382-2C15-E87A-BE4DFBDCADCA}"/>
          </ac:spMkLst>
        </pc:spChg>
        <pc:spChg chg="add del mod modVis">
          <ac:chgData name="Merlin Gutter" userId="2abc6f04-74af-430b-bdc8-569c3bfa1dda" providerId="ADAL" clId="{CB1EFBC3-10F5-3048-8961-5969497C0019}" dt="2022-11-12T19:42:07.309" v="45182"/>
          <ac:spMkLst>
            <pc:docMk/>
            <pc:sldMk cId="808514565" sldId="372"/>
            <ac:spMk id="70" creationId="{99EED616-3E77-284E-9B88-842037ECB30E}"/>
          </ac:spMkLst>
        </pc:spChg>
        <pc:spChg chg="add del mod replST">
          <ac:chgData name="Merlin Gutter" userId="2abc6f04-74af-430b-bdc8-569c3bfa1dda" providerId="ADAL" clId="{CB1EFBC3-10F5-3048-8961-5969497C0019}" dt="2022-11-12T19:42:13.738" v="45250"/>
          <ac:spMkLst>
            <pc:docMk/>
            <pc:sldMk cId="808514565" sldId="372"/>
            <ac:spMk id="71" creationId="{5C5BDBD6-EE24-FDA5-AC72-7F143D3B57A8}"/>
          </ac:spMkLst>
        </pc:spChg>
        <pc:spChg chg="add del mod modVis">
          <ac:chgData name="Merlin Gutter" userId="2abc6f04-74af-430b-bdc8-569c3bfa1dda" providerId="ADAL" clId="{CB1EFBC3-10F5-3048-8961-5969497C0019}" dt="2022-11-12T19:42:19.374" v="45370"/>
          <ac:spMkLst>
            <pc:docMk/>
            <pc:sldMk cId="808514565" sldId="372"/>
            <ac:spMk id="76" creationId="{AECFE571-FACF-A838-E9D5-CF390F575627}"/>
          </ac:spMkLst>
        </pc:spChg>
        <pc:spChg chg="add del mod replST">
          <ac:chgData name="Merlin Gutter" userId="2abc6f04-74af-430b-bdc8-569c3bfa1dda" providerId="ADAL" clId="{CB1EFBC3-10F5-3048-8961-5969497C0019}" dt="2022-11-12T19:42:47.632" v="45553"/>
          <ac:spMkLst>
            <pc:docMk/>
            <pc:sldMk cId="808514565" sldId="372"/>
            <ac:spMk id="78" creationId="{1B621921-5DC2-12CD-C9B3-B74EE01CDDCC}"/>
          </ac:spMkLst>
        </pc:spChg>
        <pc:spChg chg="add del mod replST">
          <ac:chgData name="Merlin Gutter" userId="2abc6f04-74af-430b-bdc8-569c3bfa1dda" providerId="ADAL" clId="{CB1EFBC3-10F5-3048-8961-5969497C0019}" dt="2022-11-12T19:42:47.641" v="45567"/>
          <ac:spMkLst>
            <pc:docMk/>
            <pc:sldMk cId="808514565" sldId="372"/>
            <ac:spMk id="79" creationId="{D9171268-035F-EC3E-8BF9-F6843FCD0542}"/>
          </ac:spMkLst>
        </pc:spChg>
        <pc:spChg chg="add del mod replST">
          <ac:chgData name="Merlin Gutter" userId="2abc6f04-74af-430b-bdc8-569c3bfa1dda" providerId="ADAL" clId="{CB1EFBC3-10F5-3048-8961-5969497C0019}" dt="2022-11-12T19:42:47.647" v="45581"/>
          <ac:spMkLst>
            <pc:docMk/>
            <pc:sldMk cId="808514565" sldId="372"/>
            <ac:spMk id="80" creationId="{20C813F1-1FE5-C583-58E9-5219376666F2}"/>
          </ac:spMkLst>
        </pc:spChg>
        <pc:spChg chg="add del mod modVis">
          <ac:chgData name="Merlin Gutter" userId="2abc6f04-74af-430b-bdc8-569c3bfa1dda" providerId="ADAL" clId="{CB1EFBC3-10F5-3048-8961-5969497C0019}" dt="2022-11-12T19:42:20.510" v="45506"/>
          <ac:spMkLst>
            <pc:docMk/>
            <pc:sldMk cId="808514565" sldId="372"/>
            <ac:spMk id="81" creationId="{9D3EA171-EB63-F56B-B702-149306587FBE}"/>
          </ac:spMkLst>
        </pc:spChg>
        <pc:spChg chg="add del mod replST">
          <ac:chgData name="Merlin Gutter" userId="2abc6f04-74af-430b-bdc8-569c3bfa1dda" providerId="ADAL" clId="{CB1EFBC3-10F5-3048-8961-5969497C0019}" dt="2022-11-12T19:42:50.043" v="45623"/>
          <ac:spMkLst>
            <pc:docMk/>
            <pc:sldMk cId="808514565" sldId="372"/>
            <ac:spMk id="84" creationId="{01AB986B-7F54-11B5-E190-870B750D01CE}"/>
          </ac:spMkLst>
        </pc:spChg>
        <pc:spChg chg="add del mod replST">
          <ac:chgData name="Merlin Gutter" userId="2abc6f04-74af-430b-bdc8-569c3bfa1dda" providerId="ADAL" clId="{CB1EFBC3-10F5-3048-8961-5969497C0019}" dt="2022-11-12T19:42:50.052" v="45637"/>
          <ac:spMkLst>
            <pc:docMk/>
            <pc:sldMk cId="808514565" sldId="372"/>
            <ac:spMk id="85" creationId="{1B69179D-7AF5-02F7-90EA-0117B7E803A7}"/>
          </ac:spMkLst>
        </pc:spChg>
        <pc:spChg chg="add del mod replST">
          <ac:chgData name="Merlin Gutter" userId="2abc6f04-74af-430b-bdc8-569c3bfa1dda" providerId="ADAL" clId="{CB1EFBC3-10F5-3048-8961-5969497C0019}" dt="2022-11-12T19:42:50.057" v="45651"/>
          <ac:spMkLst>
            <pc:docMk/>
            <pc:sldMk cId="808514565" sldId="372"/>
            <ac:spMk id="86" creationId="{465AA4A1-6531-F675-4053-F9FD81751315}"/>
          </ac:spMkLst>
        </pc:spChg>
        <pc:spChg chg="add mod replST">
          <ac:chgData name="Merlin Gutter" userId="2abc6f04-74af-430b-bdc8-569c3bfa1dda" providerId="ADAL" clId="{CB1EFBC3-10F5-3048-8961-5969497C0019}" dt="2022-11-12T21:30:17.403" v="46682"/>
          <ac:spMkLst>
            <pc:docMk/>
            <pc:sldMk cId="808514565" sldId="372"/>
            <ac:spMk id="88" creationId="{F5835A70-EC69-99F6-568E-811C0FF96AEC}"/>
          </ac:spMkLst>
        </pc:spChg>
        <pc:spChg chg="add mod replST">
          <ac:chgData name="Merlin Gutter" userId="2abc6f04-74af-430b-bdc8-569c3bfa1dda" providerId="ADAL" clId="{CB1EFBC3-10F5-3048-8961-5969497C0019}" dt="2022-11-12T21:30:17.403" v="46682"/>
          <ac:spMkLst>
            <pc:docMk/>
            <pc:sldMk cId="808514565" sldId="372"/>
            <ac:spMk id="89" creationId="{3694268F-056C-1BFD-991E-E785CD53A70E}"/>
          </ac:spMkLst>
        </pc:spChg>
        <pc:spChg chg="add mod replST">
          <ac:chgData name="Merlin Gutter" userId="2abc6f04-74af-430b-bdc8-569c3bfa1dda" providerId="ADAL" clId="{CB1EFBC3-10F5-3048-8961-5969497C0019}" dt="2022-11-12T21:30:17.403" v="46682"/>
          <ac:spMkLst>
            <pc:docMk/>
            <pc:sldMk cId="808514565" sldId="372"/>
            <ac:spMk id="90" creationId="{FD004D79-F2AC-9208-1F6C-1198C519696D}"/>
          </ac:spMkLst>
        </pc:spChg>
        <pc:spChg chg="add del mod">
          <ac:chgData name="Merlin Gutter" userId="2abc6f04-74af-430b-bdc8-569c3bfa1dda" providerId="ADAL" clId="{CB1EFBC3-10F5-3048-8961-5969497C0019}" dt="2022-11-12T21:30:15.975" v="46654"/>
          <ac:spMkLst>
            <pc:docMk/>
            <pc:sldMk cId="808514565" sldId="372"/>
            <ac:spMk id="92" creationId="{28352A1C-9B92-F4F5-F2C4-01F744401082}"/>
          </ac:spMkLst>
        </pc:spChg>
        <pc:spChg chg="add del mod">
          <ac:chgData name="Merlin Gutter" userId="2abc6f04-74af-430b-bdc8-569c3bfa1dda" providerId="ADAL" clId="{CB1EFBC3-10F5-3048-8961-5969497C0019}" dt="2022-11-12T20:57:38.606" v="46036" actId="478"/>
          <ac:spMkLst>
            <pc:docMk/>
            <pc:sldMk cId="808514565" sldId="372"/>
            <ac:spMk id="93" creationId="{2CD869BE-DE1F-C940-B9E2-AC5AED1E348E}"/>
          </ac:spMkLst>
        </pc:spChg>
        <pc:spChg chg="add mod">
          <ac:chgData name="Merlin Gutter" userId="2abc6f04-74af-430b-bdc8-569c3bfa1dda" providerId="ADAL" clId="{CB1EFBC3-10F5-3048-8961-5969497C0019}" dt="2022-11-12T21:30:15.975" v="46655"/>
          <ac:spMkLst>
            <pc:docMk/>
            <pc:sldMk cId="808514565" sldId="372"/>
            <ac:spMk id="94" creationId="{DB1D3CF5-3829-CD35-B7B4-4FE4413B5662}"/>
          </ac:spMkLst>
        </pc:spChg>
        <pc:spChg chg="add mod">
          <ac:chgData name="Merlin Gutter" userId="2abc6f04-74af-430b-bdc8-569c3bfa1dda" providerId="ADAL" clId="{CB1EFBC3-10F5-3048-8961-5969497C0019}" dt="2022-11-12T21:30:15.975" v="46656"/>
          <ac:spMkLst>
            <pc:docMk/>
            <pc:sldMk cId="808514565" sldId="372"/>
            <ac:spMk id="95" creationId="{6C21D1A9-9635-717B-86A7-26DB4A51A129}"/>
          </ac:spMkLst>
        </pc:spChg>
        <pc:spChg chg="add mod">
          <ac:chgData name="Merlin Gutter" userId="2abc6f04-74af-430b-bdc8-569c3bfa1dda" providerId="ADAL" clId="{CB1EFBC3-10F5-3048-8961-5969497C0019}" dt="2022-11-12T21:30:15.975" v="46657"/>
          <ac:spMkLst>
            <pc:docMk/>
            <pc:sldMk cId="808514565" sldId="372"/>
            <ac:spMk id="96" creationId="{64FDA7E4-458E-0EDA-6BFD-04E14E20E308}"/>
          </ac:spMkLst>
        </pc:spChg>
        <pc:spChg chg="add mod">
          <ac:chgData name="Merlin Gutter" userId="2abc6f04-74af-430b-bdc8-569c3bfa1dda" providerId="ADAL" clId="{CB1EFBC3-10F5-3048-8961-5969497C0019}" dt="2022-11-12T21:30:15.976" v="46658"/>
          <ac:spMkLst>
            <pc:docMk/>
            <pc:sldMk cId="808514565" sldId="372"/>
            <ac:spMk id="97" creationId="{8C386ADB-FE8A-0BEF-8B8C-71C2EE488712}"/>
          </ac:spMkLst>
        </pc:spChg>
        <pc:spChg chg="add del mod modVis">
          <ac:chgData name="Merlin Gutter" userId="2abc6f04-74af-430b-bdc8-569c3bfa1dda" providerId="ADAL" clId="{CB1EFBC3-10F5-3048-8961-5969497C0019}" dt="2022-11-12T21:29:53.942" v="46595"/>
          <ac:spMkLst>
            <pc:docMk/>
            <pc:sldMk cId="808514565" sldId="372"/>
            <ac:spMk id="98" creationId="{FF7170A1-B598-E0FB-44B2-D74C5A4407B9}"/>
          </ac:spMkLst>
        </pc:spChg>
        <pc:grpChg chg="add mod">
          <ac:chgData name="Merlin Gutter" userId="2abc6f04-74af-430b-bdc8-569c3bfa1dda" providerId="ADAL" clId="{CB1EFBC3-10F5-3048-8961-5969497C0019}" dt="2022-11-12T21:30:15.973" v="46645"/>
          <ac:grpSpMkLst>
            <pc:docMk/>
            <pc:sldMk cId="808514565" sldId="372"/>
            <ac:grpSpMk id="13" creationId="{8BEFBFC9-44C6-0D27-910B-21645A8B880D}"/>
          </ac:grpSpMkLst>
        </pc:grpChg>
        <pc:grpChg chg="add mod">
          <ac:chgData name="Merlin Gutter" userId="2abc6f04-74af-430b-bdc8-569c3bfa1dda" providerId="ADAL" clId="{CB1EFBC3-10F5-3048-8961-5969497C0019}" dt="2022-11-12T21:30:15.973" v="46644"/>
          <ac:grpSpMkLst>
            <pc:docMk/>
            <pc:sldMk cId="808514565" sldId="372"/>
            <ac:grpSpMk id="14" creationId="{7E5406B6-C6BE-AE3F-701D-D8816BCC8B0C}"/>
          </ac:grpSpMkLst>
        </pc:grpChg>
        <pc:grpChg chg="add mod">
          <ac:chgData name="Merlin Gutter" userId="2abc6f04-74af-430b-bdc8-569c3bfa1dda" providerId="ADAL" clId="{CB1EFBC3-10F5-3048-8961-5969497C0019}" dt="2022-11-12T21:30:15.973" v="46646"/>
          <ac:grpSpMkLst>
            <pc:docMk/>
            <pc:sldMk cId="808514565" sldId="372"/>
            <ac:grpSpMk id="15" creationId="{653C55EE-3A17-4A64-A947-90688B5DDB42}"/>
          </ac:grpSpMkLst>
        </pc:grpChg>
        <pc:grpChg chg="add mod">
          <ac:chgData name="Merlin Gutter" userId="2abc6f04-74af-430b-bdc8-569c3bfa1dda" providerId="ADAL" clId="{CB1EFBC3-10F5-3048-8961-5969497C0019}" dt="2022-11-12T21:30:15.973" v="46647"/>
          <ac:grpSpMkLst>
            <pc:docMk/>
            <pc:sldMk cId="808514565" sldId="372"/>
            <ac:grpSpMk id="18" creationId="{8D22FA1C-C709-EA3C-F4B8-EC848BB7CED5}"/>
          </ac:grpSpMkLst>
        </pc:grpChg>
        <pc:grpChg chg="add mod">
          <ac:chgData name="Merlin Gutter" userId="2abc6f04-74af-430b-bdc8-569c3bfa1dda" providerId="ADAL" clId="{CB1EFBC3-10F5-3048-8961-5969497C0019}" dt="2022-11-12T21:30:15.973" v="46648"/>
          <ac:grpSpMkLst>
            <pc:docMk/>
            <pc:sldMk cId="808514565" sldId="372"/>
            <ac:grpSpMk id="21" creationId="{BF17FEB8-5140-CAC1-D14E-C5ABD20FB94C}"/>
          </ac:grpSpMkLst>
        </pc:grpChg>
        <pc:graphicFrameChg chg="add del mod modGraphic">
          <ac:chgData name="Merlin Gutter" userId="2abc6f04-74af-430b-bdc8-569c3bfa1dda" providerId="ADAL" clId="{CB1EFBC3-10F5-3048-8961-5969497C0019}" dt="2022-11-12T19:16:09.887" v="43333" actId="478"/>
          <ac:graphicFrameMkLst>
            <pc:docMk/>
            <pc:sldMk cId="808514565" sldId="372"/>
            <ac:graphicFrameMk id="25" creationId="{3B39620F-46EC-ACBA-8C59-CA4A2543C6B6}"/>
          </ac:graphicFrameMkLst>
        </pc:graphicFrameChg>
        <pc:graphicFrameChg chg="add del mod">
          <ac:chgData name="Merlin Gutter" userId="2abc6f04-74af-430b-bdc8-569c3bfa1dda" providerId="ADAL" clId="{CB1EFBC3-10F5-3048-8961-5969497C0019}" dt="2022-11-12T19:19:47.185" v="43409" actId="478"/>
          <ac:graphicFrameMkLst>
            <pc:docMk/>
            <pc:sldMk cId="808514565" sldId="372"/>
            <ac:graphicFrameMk id="26" creationId="{C96ECA63-1BF7-4F84-2D46-B74EEA2C18D5}"/>
          </ac:graphicFrameMkLst>
        </pc:graphicFrameChg>
        <pc:graphicFrameChg chg="add del mod">
          <ac:chgData name="Merlin Gutter" userId="2abc6f04-74af-430b-bdc8-569c3bfa1dda" providerId="ADAL" clId="{CB1EFBC3-10F5-3048-8961-5969497C0019}" dt="2022-11-12T19:19:26.342" v="43407" actId="478"/>
          <ac:graphicFrameMkLst>
            <pc:docMk/>
            <pc:sldMk cId="808514565" sldId="372"/>
            <ac:graphicFrameMk id="27" creationId="{6C836C6A-3A5B-11CD-D600-B367F72A9B8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0:48.347" v="43861"/>
          <ac:graphicFrameMkLst>
            <pc:docMk/>
            <pc:sldMk cId="808514565" sldId="372"/>
            <ac:graphicFrameMk id="32" creationId="{C2712569-EA4F-BCCC-E7FE-B3993D55E4FE}"/>
          </ac:graphicFrameMkLst>
        </pc:graphicFrameChg>
        <pc:graphicFrameChg chg="add mod modVis replST">
          <ac:chgData name="Merlin Gutter" userId="2abc6f04-74af-430b-bdc8-569c3bfa1dda" providerId="ADAL" clId="{CB1EFBC3-10F5-3048-8961-5969497C0019}" dt="2022-11-12T21:30:17.413" v="46684"/>
          <ac:graphicFrameMkLst>
            <pc:docMk/>
            <pc:sldMk cId="808514565" sldId="372"/>
            <ac:graphicFrameMk id="33" creationId="{8376C383-093F-71E7-8E14-23D20051611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0:53.403" v="44140"/>
          <ac:graphicFrameMkLst>
            <pc:docMk/>
            <pc:sldMk cId="808514565" sldId="372"/>
            <ac:graphicFrameMk id="37" creationId="{6EF9F498-74BD-A7D3-20D1-64536AE687D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0:56.237" v="44191"/>
          <ac:graphicFrameMkLst>
            <pc:docMk/>
            <pc:sldMk cId="808514565" sldId="372"/>
            <ac:graphicFrameMk id="42" creationId="{5B613A3E-6E21-D8D3-C7F2-9D1BF9C9DAB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1:02.705" v="44355"/>
          <ac:graphicFrameMkLst>
            <pc:docMk/>
            <pc:sldMk cId="808514565" sldId="372"/>
            <ac:graphicFrameMk id="43" creationId="{39FFD490-A299-D586-7079-1906C0B0896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1:28.011" v="44407"/>
          <ac:graphicFrameMkLst>
            <pc:docMk/>
            <pc:sldMk cId="808514565" sldId="372"/>
            <ac:graphicFrameMk id="49" creationId="{60A405CE-6953-F33D-9B2B-2D6DEF671CC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1:37.749" v="44493"/>
          <ac:graphicFrameMkLst>
            <pc:docMk/>
            <pc:sldMk cId="808514565" sldId="372"/>
            <ac:graphicFrameMk id="50" creationId="{1219FF89-C7B6-C899-8CB6-F2C1BD9D2D8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1:41.050" v="44583"/>
          <ac:graphicFrameMkLst>
            <pc:docMk/>
            <pc:sldMk cId="808514565" sldId="372"/>
            <ac:graphicFrameMk id="51" creationId="{C089E713-5D7D-E08D-6E58-DECD576BFC3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1:43.475" v="44673"/>
          <ac:graphicFrameMkLst>
            <pc:docMk/>
            <pc:sldMk cId="808514565" sldId="372"/>
            <ac:graphicFrameMk id="55" creationId="{AF9A9072-55F1-74C5-A6C4-2B5E03C3DE5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1:50.619" v="44711"/>
          <ac:graphicFrameMkLst>
            <pc:docMk/>
            <pc:sldMk cId="808514565" sldId="372"/>
            <ac:graphicFrameMk id="59" creationId="{0A90EE76-5E4C-EE7C-1C41-7DFD9E40D6A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1:55.344" v="44739"/>
          <ac:graphicFrameMkLst>
            <pc:docMk/>
            <pc:sldMk cId="808514565" sldId="372"/>
            <ac:graphicFrameMk id="60" creationId="{264D8BE5-CA1D-4078-399D-2BF5A3540F7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1:56.573" v="44767"/>
          <ac:graphicFrameMkLst>
            <pc:docMk/>
            <pc:sldMk cId="808514565" sldId="372"/>
            <ac:graphicFrameMk id="61" creationId="{6055105C-CFA5-1F1E-808F-63FD149141B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01.164" v="44907"/>
          <ac:graphicFrameMkLst>
            <pc:docMk/>
            <pc:sldMk cId="808514565" sldId="372"/>
            <ac:graphicFrameMk id="62" creationId="{40F741CC-DBBA-1173-723C-94D8C12E6C8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02.031" v="44939"/>
          <ac:graphicFrameMkLst>
            <pc:docMk/>
            <pc:sldMk cId="808514565" sldId="372"/>
            <ac:graphicFrameMk id="65" creationId="{6BAC16CA-2541-B4B3-CC51-B7AA9DF7CB6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03.119" v="44972"/>
          <ac:graphicFrameMkLst>
            <pc:docMk/>
            <pc:sldMk cId="808514565" sldId="372"/>
            <ac:graphicFrameMk id="66" creationId="{1CC18A34-EFD0-9D8A-E34E-D6049FD9F9C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04.209" v="45003"/>
          <ac:graphicFrameMkLst>
            <pc:docMk/>
            <pc:sldMk cId="808514565" sldId="372"/>
            <ac:graphicFrameMk id="67" creationId="{D7A40C16-0FE0-1F23-B708-472FF9BC4C6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07.291" v="45156"/>
          <ac:graphicFrameMkLst>
            <pc:docMk/>
            <pc:sldMk cId="808514565" sldId="372"/>
            <ac:graphicFrameMk id="68" creationId="{E303E4E0-87B7-D98F-CD1F-B4A385FAF0E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12.011" v="45188"/>
          <ac:graphicFrameMkLst>
            <pc:docMk/>
            <pc:sldMk cId="808514565" sldId="372"/>
            <ac:graphicFrameMk id="72" creationId="{4B85CD36-E385-886E-9B9F-E1B1EE0111B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13.031" v="45221"/>
          <ac:graphicFrameMkLst>
            <pc:docMk/>
            <pc:sldMk cId="808514565" sldId="372"/>
            <ac:graphicFrameMk id="73" creationId="{31177A29-B09C-CB82-FF60-750504127AE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13.740" v="45252"/>
          <ac:graphicFrameMkLst>
            <pc:docMk/>
            <pc:sldMk cId="808514565" sldId="372"/>
            <ac:graphicFrameMk id="74" creationId="{6DB46686-9222-89CB-A95E-AFCAB8F0446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19.356" v="45345"/>
          <ac:graphicFrameMkLst>
            <pc:docMk/>
            <pc:sldMk cId="808514565" sldId="372"/>
            <ac:graphicFrameMk id="75" creationId="{D9A6ABC8-595B-A3F3-D5E2-ED564A0E45C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20.491" v="45481"/>
          <ac:graphicFrameMkLst>
            <pc:docMk/>
            <pc:sldMk cId="808514565" sldId="372"/>
            <ac:graphicFrameMk id="77" creationId="{6D767BC4-B154-AFF8-C83E-8DE0B51B07C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35.243" v="45525"/>
          <ac:graphicFrameMkLst>
            <pc:docMk/>
            <pc:sldMk cId="808514565" sldId="372"/>
            <ac:graphicFrameMk id="82" creationId="{4FA2FF80-0176-0103-166A-E8EF142CF3F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47.654" v="45596"/>
          <ac:graphicFrameMkLst>
            <pc:docMk/>
            <pc:sldMk cId="808514565" sldId="372"/>
            <ac:graphicFrameMk id="83" creationId="{8856CDA0-0ED2-C7A2-976E-10748B7A4CC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19:42:50.064" v="45666"/>
          <ac:graphicFrameMkLst>
            <pc:docMk/>
            <pc:sldMk cId="808514565" sldId="372"/>
            <ac:graphicFrameMk id="87" creationId="{885E84BC-DE52-D294-8BC0-9B84D715588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21:29:53.915" v="46565"/>
          <ac:graphicFrameMkLst>
            <pc:docMk/>
            <pc:sldMk cId="808514565" sldId="372"/>
            <ac:graphicFrameMk id="91" creationId="{702D8DA2-1B83-26D4-6132-277336F480A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12T21:30:17.403" v="46682"/>
          <ac:graphicFrameMkLst>
            <pc:docMk/>
            <pc:sldMk cId="808514565" sldId="372"/>
            <ac:graphicFrameMk id="99" creationId="{DEFB00CD-2347-9569-3D5D-C3879472E0B9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12T21:30:17.403" v="46682"/>
          <ac:graphicFrameMkLst>
            <pc:docMk/>
            <pc:sldMk cId="808514565" sldId="372"/>
            <ac:graphicFrameMk id="100" creationId="{22226EEA-44D5-BED5-8283-345694F35189}"/>
          </ac:graphicFrameMkLst>
        </pc:graphicFrameChg>
      </pc:sldChg>
      <pc:sldChg chg="addSp delSp modSp new add del mod modClrScheme chgLayout">
        <pc:chgData name="Merlin Gutter" userId="2abc6f04-74af-430b-bdc8-569c3bfa1dda" providerId="ADAL" clId="{CB1EFBC3-10F5-3048-8961-5969497C0019}" dt="2022-11-13T00:34:41.429" v="47831" actId="2696"/>
        <pc:sldMkLst>
          <pc:docMk/>
          <pc:sldMk cId="2629718506" sldId="373"/>
        </pc:sldMkLst>
        <pc:spChg chg="del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2" creationId="{1FB8059C-35EC-60D4-4E80-9E4881FE2D7E}"/>
          </ac:spMkLst>
        </pc:spChg>
        <pc:spChg chg="del mod ord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3" creationId="{98F5B2F7-CF7E-5FB8-7408-0735B59F1AAC}"/>
          </ac:spMkLst>
        </pc:spChg>
        <pc:spChg chg="del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4" creationId="{441DFCEF-2FD3-F95B-6857-53FAF5FF7747}"/>
          </ac:spMkLst>
        </pc:spChg>
        <pc:spChg chg="del mod ord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5" creationId="{F9B91F71-55E9-874A-8504-46F6C62F2709}"/>
          </ac:spMkLst>
        </pc:spChg>
        <pc:spChg chg="del mod ord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6" creationId="{E9909DE9-2F6B-2E40-F9CA-9854526CB51A}"/>
          </ac:spMkLst>
        </pc:spChg>
        <pc:spChg chg="mod ord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7" creationId="{2FD4ADB1-6C2E-61F2-BE01-9E25EADEA3A9}"/>
          </ac:spMkLst>
        </pc:spChg>
        <pc:spChg chg="mod ord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8" creationId="{73DEDAFC-23EC-0742-B79F-0A6DB3DFE067}"/>
          </ac:spMkLst>
        </pc:spChg>
        <pc:spChg chg="add mod ord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9" creationId="{3BC54D34-4163-3B6D-B901-1CC6B29994F9}"/>
          </ac:spMkLst>
        </pc:spChg>
        <pc:spChg chg="add mod ord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10" creationId="{87E1469E-310F-85A1-3D0D-CA8D7C79889D}"/>
          </ac:spMkLst>
        </pc:spChg>
        <pc:spChg chg="add mod ord">
          <ac:chgData name="Merlin Gutter" userId="2abc6f04-74af-430b-bdc8-569c3bfa1dda" providerId="ADAL" clId="{CB1EFBC3-10F5-3048-8961-5969497C0019}" dt="2022-11-12T19:53:16.936" v="45977"/>
          <ac:spMkLst>
            <pc:docMk/>
            <pc:sldMk cId="2629718506" sldId="373"/>
            <ac:spMk id="11" creationId="{92BB428A-1DDA-22A3-FB0B-B029C5133252}"/>
          </ac:spMkLst>
        </pc:spChg>
        <pc:spChg chg="add del mod">
          <ac:chgData name="Merlin Gutter" userId="2abc6f04-74af-430b-bdc8-569c3bfa1dda" providerId="ADAL" clId="{CB1EFBC3-10F5-3048-8961-5969497C0019}" dt="2022-11-12T20:57:09.898" v="46029"/>
          <ac:spMkLst>
            <pc:docMk/>
            <pc:sldMk cId="2629718506" sldId="373"/>
            <ac:spMk id="12" creationId="{E749FDB3-9A64-0E06-3507-83BD453F7E1E}"/>
          </ac:spMkLst>
        </pc:spChg>
        <pc:spChg chg="add del mod">
          <ac:chgData name="Merlin Gutter" userId="2abc6f04-74af-430b-bdc8-569c3bfa1dda" providerId="ADAL" clId="{CB1EFBC3-10F5-3048-8961-5969497C0019}" dt="2022-11-12T20:57:09.898" v="46029"/>
          <ac:spMkLst>
            <pc:docMk/>
            <pc:sldMk cId="2629718506" sldId="373"/>
            <ac:spMk id="13" creationId="{59BAD27F-C422-747B-4AF8-29EC2E8927B5}"/>
          </ac:spMkLst>
        </pc:spChg>
        <pc:spChg chg="add del mod">
          <ac:chgData name="Merlin Gutter" userId="2abc6f04-74af-430b-bdc8-569c3bfa1dda" providerId="ADAL" clId="{CB1EFBC3-10F5-3048-8961-5969497C0019}" dt="2022-11-12T19:53:28.037" v="45981"/>
          <ac:spMkLst>
            <pc:docMk/>
            <pc:sldMk cId="2629718506" sldId="373"/>
            <ac:spMk id="14" creationId="{0CA4E6E9-4709-21F9-C1BD-57B763473C52}"/>
          </ac:spMkLst>
        </pc:spChg>
        <pc:spChg chg="add del mod">
          <ac:chgData name="Merlin Gutter" userId="2abc6f04-74af-430b-bdc8-569c3bfa1dda" providerId="ADAL" clId="{CB1EFBC3-10F5-3048-8961-5969497C0019}" dt="2022-11-12T19:53:28.037" v="45981"/>
          <ac:spMkLst>
            <pc:docMk/>
            <pc:sldMk cId="2629718506" sldId="373"/>
            <ac:spMk id="15" creationId="{B473C1DF-5EA0-C304-587A-F7915C69A019}"/>
          </ac:spMkLst>
        </pc:spChg>
        <pc:spChg chg="del mod">
          <ac:chgData name="Merlin Gutter" userId="2abc6f04-74af-430b-bdc8-569c3bfa1dda" providerId="ADAL" clId="{CB1EFBC3-10F5-3048-8961-5969497C0019}" dt="2022-11-12T19:53:53.459" v="45984" actId="478"/>
          <ac:spMkLst>
            <pc:docMk/>
            <pc:sldMk cId="2629718506" sldId="373"/>
            <ac:spMk id="16" creationId="{E14D6232-4F8B-F4ED-CAC7-765E7E6B6264}"/>
          </ac:spMkLst>
        </pc:spChg>
        <pc:spChg chg="add del mod">
          <ac:chgData name="Merlin Gutter" userId="2abc6f04-74af-430b-bdc8-569c3bfa1dda" providerId="ADAL" clId="{CB1EFBC3-10F5-3048-8961-5969497C0019}" dt="2022-11-12T19:53:59.428" v="45985"/>
          <ac:spMkLst>
            <pc:docMk/>
            <pc:sldMk cId="2629718506" sldId="373"/>
            <ac:spMk id="17" creationId="{86F291B2-7577-0EB3-03B7-02EBBEDC1AC1}"/>
          </ac:spMkLst>
        </pc:spChg>
        <pc:spChg chg="add del mod">
          <ac:chgData name="Merlin Gutter" userId="2abc6f04-74af-430b-bdc8-569c3bfa1dda" providerId="ADAL" clId="{CB1EFBC3-10F5-3048-8961-5969497C0019}" dt="2022-11-12T19:53:59.428" v="45985"/>
          <ac:spMkLst>
            <pc:docMk/>
            <pc:sldMk cId="2629718506" sldId="373"/>
            <ac:spMk id="18" creationId="{6345AAC9-E90A-D6E0-CF5F-0FB267B3B052}"/>
          </ac:spMkLst>
        </pc:spChg>
        <pc:spChg chg="del mod">
          <ac:chgData name="Merlin Gutter" userId="2abc6f04-74af-430b-bdc8-569c3bfa1dda" providerId="ADAL" clId="{CB1EFBC3-10F5-3048-8961-5969497C0019}" dt="2022-11-12T20:58:05.509" v="46040" actId="478"/>
          <ac:spMkLst>
            <pc:docMk/>
            <pc:sldMk cId="2629718506" sldId="373"/>
            <ac:spMk id="19" creationId="{6A155F74-9105-2A24-7CDD-C9C3B74C758B}"/>
          </ac:spMkLst>
        </pc:spChg>
        <pc:spChg chg="add del mod">
          <ac:chgData name="Merlin Gutter" userId="2abc6f04-74af-430b-bdc8-569c3bfa1dda" providerId="ADAL" clId="{CB1EFBC3-10F5-3048-8961-5969497C0019}" dt="2022-11-12T19:54:04.353" v="45987" actId="478"/>
          <ac:spMkLst>
            <pc:docMk/>
            <pc:sldMk cId="2629718506" sldId="373"/>
            <ac:spMk id="20" creationId="{A2BAFE45-F207-F9B1-809A-7B6882DF5422}"/>
          </ac:spMkLst>
        </pc:spChg>
        <pc:spChg chg="add del mod">
          <ac:chgData name="Merlin Gutter" userId="2abc6f04-74af-430b-bdc8-569c3bfa1dda" providerId="ADAL" clId="{CB1EFBC3-10F5-3048-8961-5969497C0019}" dt="2022-11-12T20:58:02.848" v="46038" actId="478"/>
          <ac:spMkLst>
            <pc:docMk/>
            <pc:sldMk cId="2629718506" sldId="373"/>
            <ac:spMk id="21" creationId="{E07FB9DC-7043-1363-C4F0-3D8B2C077ACB}"/>
          </ac:spMkLst>
        </pc:spChg>
        <pc:spChg chg="add del mod">
          <ac:chgData name="Merlin Gutter" userId="2abc6f04-74af-430b-bdc8-569c3bfa1dda" providerId="ADAL" clId="{CB1EFBC3-10F5-3048-8961-5969497C0019}" dt="2022-11-12T20:57:01.429" v="46028" actId="478"/>
          <ac:spMkLst>
            <pc:docMk/>
            <pc:sldMk cId="2629718506" sldId="373"/>
            <ac:spMk id="22" creationId="{9E8574B8-8050-98D1-4E61-9DCDB0434AA5}"/>
          </ac:spMkLst>
        </pc:spChg>
        <pc:spChg chg="add del mod">
          <ac:chgData name="Merlin Gutter" userId="2abc6f04-74af-430b-bdc8-569c3bfa1dda" providerId="ADAL" clId="{CB1EFBC3-10F5-3048-8961-5969497C0019}" dt="2022-11-12T20:56:59.893" v="46027" actId="478"/>
          <ac:spMkLst>
            <pc:docMk/>
            <pc:sldMk cId="2629718506" sldId="373"/>
            <ac:spMk id="23" creationId="{BA82B9DA-1A33-76BA-8396-66C3AF6C2B74}"/>
          </ac:spMkLst>
        </pc:spChg>
        <pc:spChg chg="mod">
          <ac:chgData name="Merlin Gutter" userId="2abc6f04-74af-430b-bdc8-569c3bfa1dda" providerId="ADAL" clId="{CB1EFBC3-10F5-3048-8961-5969497C0019}" dt="2022-11-12T20:53:46.537" v="45994"/>
          <ac:spMkLst>
            <pc:docMk/>
            <pc:sldMk cId="2629718506" sldId="373"/>
            <ac:spMk id="24" creationId="{EA228A3A-43FD-D153-98D7-F55FF3A6D6F4}"/>
          </ac:spMkLst>
        </pc:spChg>
        <pc:spChg chg="mod">
          <ac:chgData name="Merlin Gutter" userId="2abc6f04-74af-430b-bdc8-569c3bfa1dda" providerId="ADAL" clId="{CB1EFBC3-10F5-3048-8961-5969497C0019}" dt="2022-11-12T20:54:33.308" v="45997"/>
          <ac:spMkLst>
            <pc:docMk/>
            <pc:sldMk cId="2629718506" sldId="373"/>
            <ac:spMk id="25" creationId="{3438F8A1-2621-7808-D684-6EEDE04C376B}"/>
          </ac:spMkLst>
        </pc:spChg>
        <pc:spChg chg="add del mod">
          <ac:chgData name="Merlin Gutter" userId="2abc6f04-74af-430b-bdc8-569c3bfa1dda" providerId="ADAL" clId="{CB1EFBC3-10F5-3048-8961-5969497C0019}" dt="2022-11-12T20:58:04.270" v="46039" actId="478"/>
          <ac:spMkLst>
            <pc:docMk/>
            <pc:sldMk cId="2629718506" sldId="373"/>
            <ac:spMk id="26" creationId="{92640663-7317-46D7-120A-724AEB6A7DD7}"/>
          </ac:spMkLst>
        </pc:spChg>
        <pc:spChg chg="mod">
          <ac:chgData name="Merlin Gutter" userId="2abc6f04-74af-430b-bdc8-569c3bfa1dda" providerId="ADAL" clId="{CB1EFBC3-10F5-3048-8961-5969497C0019}" dt="2022-11-12T20:57:54.564" v="46037" actId="164"/>
          <ac:spMkLst>
            <pc:docMk/>
            <pc:sldMk cId="2629718506" sldId="373"/>
            <ac:spMk id="30" creationId="{C43ABC4E-6CEB-028D-2BE2-E6CAAD9AD2C2}"/>
          </ac:spMkLst>
        </pc:spChg>
        <pc:spChg chg="mod">
          <ac:chgData name="Merlin Gutter" userId="2abc6f04-74af-430b-bdc8-569c3bfa1dda" providerId="ADAL" clId="{CB1EFBC3-10F5-3048-8961-5969497C0019}" dt="2022-11-12T21:00:20.406" v="46092"/>
          <ac:spMkLst>
            <pc:docMk/>
            <pc:sldMk cId="2629718506" sldId="373"/>
            <ac:spMk id="33" creationId="{A9FB2E75-D778-B741-2151-7A960958A1BB}"/>
          </ac:spMkLst>
        </pc:spChg>
        <pc:grpChg chg="add mod">
          <ac:chgData name="Merlin Gutter" userId="2abc6f04-74af-430b-bdc8-569c3bfa1dda" providerId="ADAL" clId="{CB1EFBC3-10F5-3048-8961-5969497C0019}" dt="2022-11-12T21:08:42.363" v="46153" actId="1076"/>
          <ac:grpSpMkLst>
            <pc:docMk/>
            <pc:sldMk cId="2629718506" sldId="373"/>
            <ac:grpSpMk id="31" creationId="{771236B4-B4D6-CB81-1C22-23B92F6EA8E0}"/>
          </ac:grpSpMkLst>
        </pc:grpChg>
        <pc:grpChg chg="add del mod">
          <ac:chgData name="Merlin Gutter" userId="2abc6f04-74af-430b-bdc8-569c3bfa1dda" providerId="ADAL" clId="{CB1EFBC3-10F5-3048-8961-5969497C0019}" dt="2022-11-12T21:00:22.847" v="46093" actId="478"/>
          <ac:grpSpMkLst>
            <pc:docMk/>
            <pc:sldMk cId="2629718506" sldId="373"/>
            <ac:grpSpMk id="32" creationId="{B1124AA1-06E6-0415-9B57-52568F985B3C}"/>
          </ac:grpSpMkLst>
        </pc:grpChg>
        <pc:cxnChg chg="add mod">
          <ac:chgData name="Merlin Gutter" userId="2abc6f04-74af-430b-bdc8-569c3bfa1dda" providerId="ADAL" clId="{CB1EFBC3-10F5-3048-8961-5969497C0019}" dt="2022-11-12T20:57:54.564" v="46037" actId="164"/>
          <ac:cxnSpMkLst>
            <pc:docMk/>
            <pc:sldMk cId="2629718506" sldId="373"/>
            <ac:cxnSpMk id="28" creationId="{4F169CB7-6192-5C20-C58B-8E3809D3B7AB}"/>
          </ac:cxnSpMkLst>
        </pc:cxnChg>
        <pc:cxnChg chg="add mod">
          <ac:chgData name="Merlin Gutter" userId="2abc6f04-74af-430b-bdc8-569c3bfa1dda" providerId="ADAL" clId="{CB1EFBC3-10F5-3048-8961-5969497C0019}" dt="2022-11-12T20:57:54.564" v="46037" actId="164"/>
          <ac:cxnSpMkLst>
            <pc:docMk/>
            <pc:sldMk cId="2629718506" sldId="373"/>
            <ac:cxnSpMk id="29" creationId="{4231D166-8E1A-749A-6EB4-B5B401A70E93}"/>
          </ac:cxnSpMkLst>
        </pc:cxnChg>
        <pc:cxnChg chg="mod">
          <ac:chgData name="Merlin Gutter" userId="2abc6f04-74af-430b-bdc8-569c3bfa1dda" providerId="ADAL" clId="{CB1EFBC3-10F5-3048-8961-5969497C0019}" dt="2022-11-12T21:00:20.406" v="46092"/>
          <ac:cxnSpMkLst>
            <pc:docMk/>
            <pc:sldMk cId="2629718506" sldId="373"/>
            <ac:cxnSpMk id="34" creationId="{01ED6EF2-441D-EC32-FE49-271B918EC78E}"/>
          </ac:cxnSpMkLst>
        </pc:cxnChg>
        <pc:cxnChg chg="mod">
          <ac:chgData name="Merlin Gutter" userId="2abc6f04-74af-430b-bdc8-569c3bfa1dda" providerId="ADAL" clId="{CB1EFBC3-10F5-3048-8961-5969497C0019}" dt="2022-11-12T21:00:20.406" v="46092"/>
          <ac:cxnSpMkLst>
            <pc:docMk/>
            <pc:sldMk cId="2629718506" sldId="373"/>
            <ac:cxnSpMk id="35" creationId="{EF77CC04-C2DC-8EE0-D03C-3C1011563E6F}"/>
          </ac:cxnSpMkLst>
        </pc:cxnChg>
      </pc:sldChg>
      <pc:sldChg chg="addSp delSp modSp add del mod ord modNotesTx">
        <pc:chgData name="Merlin Gutter" userId="2abc6f04-74af-430b-bdc8-569c3bfa1dda" providerId="ADAL" clId="{CB1EFBC3-10F5-3048-8961-5969497C0019}" dt="2022-11-24T19:42:33.873" v="132212" actId="2696"/>
        <pc:sldMkLst>
          <pc:docMk/>
          <pc:sldMk cId="3735846079" sldId="374"/>
        </pc:sldMkLst>
        <pc:spChg chg="mod">
          <ac:chgData name="Merlin Gutter" userId="2abc6f04-74af-430b-bdc8-569c3bfa1dda" providerId="ADAL" clId="{CB1EFBC3-10F5-3048-8961-5969497C0019}" dt="2022-11-24T19:24:15.791" v="130646"/>
          <ac:spMkLst>
            <pc:docMk/>
            <pc:sldMk cId="3735846079" sldId="374"/>
            <ac:spMk id="2" creationId="{FDE3935B-E57A-CB5C-34D0-C80DA39CF76C}"/>
          </ac:spMkLst>
        </pc:spChg>
        <pc:spChg chg="mod">
          <ac:chgData name="Merlin Gutter" userId="2abc6f04-74af-430b-bdc8-569c3bfa1dda" providerId="ADAL" clId="{CB1EFBC3-10F5-3048-8961-5969497C0019}" dt="2022-11-23T22:57:01.018" v="130328"/>
          <ac:spMkLst>
            <pc:docMk/>
            <pc:sldMk cId="3735846079" sldId="374"/>
            <ac:spMk id="3" creationId="{4820C2B2-B326-90CE-A63F-220D7C6F78E1}"/>
          </ac:spMkLst>
        </pc:spChg>
        <pc:spChg chg="mod">
          <ac:chgData name="Merlin Gutter" userId="2abc6f04-74af-430b-bdc8-569c3bfa1dda" providerId="ADAL" clId="{CB1EFBC3-10F5-3048-8961-5969497C0019}" dt="2022-11-23T22:57:01.018" v="130329"/>
          <ac:spMkLst>
            <pc:docMk/>
            <pc:sldMk cId="3735846079" sldId="374"/>
            <ac:spMk id="4" creationId="{0FB084CA-5DFD-82E8-498D-9E28E23F72B8}"/>
          </ac:spMkLst>
        </pc:spChg>
        <pc:spChg chg="mod">
          <ac:chgData name="Merlin Gutter" userId="2abc6f04-74af-430b-bdc8-569c3bfa1dda" providerId="ADAL" clId="{CB1EFBC3-10F5-3048-8961-5969497C0019}" dt="2022-11-23T22:57:01.018" v="130330"/>
          <ac:spMkLst>
            <pc:docMk/>
            <pc:sldMk cId="3735846079" sldId="374"/>
            <ac:spMk id="5" creationId="{FB1521A7-E973-8781-4339-C3EB06CC1CE6}"/>
          </ac:spMkLst>
        </pc:spChg>
        <pc:spChg chg="mod">
          <ac:chgData name="Merlin Gutter" userId="2abc6f04-74af-430b-bdc8-569c3bfa1dda" providerId="ADAL" clId="{CB1EFBC3-10F5-3048-8961-5969497C0019}" dt="2022-11-23T22:57:01.019" v="130331"/>
          <ac:spMkLst>
            <pc:docMk/>
            <pc:sldMk cId="3735846079" sldId="374"/>
            <ac:spMk id="6" creationId="{90A2249E-7BEA-77C0-26D1-9DDD12E72E65}"/>
          </ac:spMkLst>
        </pc:spChg>
        <pc:spChg chg="mod">
          <ac:chgData name="Merlin Gutter" userId="2abc6f04-74af-430b-bdc8-569c3bfa1dda" providerId="ADAL" clId="{CB1EFBC3-10F5-3048-8961-5969497C0019}" dt="2022-11-13T01:17:28.089" v="55066" actId="947"/>
          <ac:spMkLst>
            <pc:docMk/>
            <pc:sldMk cId="3735846079" sldId="374"/>
            <ac:spMk id="8" creationId="{4EBDB3BA-F7B1-B1A3-6986-F1834DFBAD46}"/>
          </ac:spMkLst>
        </pc:spChg>
        <pc:spChg chg="mod">
          <ac:chgData name="Merlin Gutter" userId="2abc6f04-74af-430b-bdc8-569c3bfa1dda" providerId="ADAL" clId="{CB1EFBC3-10F5-3048-8961-5969497C0019}" dt="2022-11-13T01:17:28.070" v="55020" actId="947"/>
          <ac:spMkLst>
            <pc:docMk/>
            <pc:sldMk cId="3735846079" sldId="374"/>
            <ac:spMk id="9" creationId="{F79694A9-3BD6-4EC8-75FD-90451493EA3C}"/>
          </ac:spMkLst>
        </pc:spChg>
        <pc:spChg chg="mod">
          <ac:chgData name="Merlin Gutter" userId="2abc6f04-74af-430b-bdc8-569c3bfa1dda" providerId="ADAL" clId="{CB1EFBC3-10F5-3048-8961-5969497C0019}" dt="2022-11-13T01:17:28.069" v="55018" actId="947"/>
          <ac:spMkLst>
            <pc:docMk/>
            <pc:sldMk cId="3735846079" sldId="374"/>
            <ac:spMk id="10" creationId="{5CA3F3DA-249C-AC2C-CF5F-20A99DFEEB24}"/>
          </ac:spMkLst>
        </pc:spChg>
        <pc:spChg chg="mod">
          <ac:chgData name="Merlin Gutter" userId="2abc6f04-74af-430b-bdc8-569c3bfa1dda" providerId="ADAL" clId="{CB1EFBC3-10F5-3048-8961-5969497C0019}" dt="2022-11-13T01:17:28.077" v="55036" actId="947"/>
          <ac:spMkLst>
            <pc:docMk/>
            <pc:sldMk cId="3735846079" sldId="374"/>
            <ac:spMk id="11" creationId="{33EB60A5-4DAF-4F4D-3024-49A2AC8D28D4}"/>
          </ac:spMkLst>
        </pc:spChg>
        <pc:spChg chg="mod">
          <ac:chgData name="Merlin Gutter" userId="2abc6f04-74af-430b-bdc8-569c3bfa1dda" providerId="ADAL" clId="{CB1EFBC3-10F5-3048-8961-5969497C0019}" dt="2022-11-13T01:17:28.076" v="55034" actId="947"/>
          <ac:spMkLst>
            <pc:docMk/>
            <pc:sldMk cId="3735846079" sldId="374"/>
            <ac:spMk id="12" creationId="{58D6F150-D434-50FE-D8D6-DD9F767A2025}"/>
          </ac:spMkLst>
        </pc:spChg>
        <pc:spChg chg="mod">
          <ac:chgData name="Merlin Gutter" userId="2abc6f04-74af-430b-bdc8-569c3bfa1dda" providerId="ADAL" clId="{CB1EFBC3-10F5-3048-8961-5969497C0019}" dt="2022-11-13T01:17:28.075" v="55032" actId="947"/>
          <ac:spMkLst>
            <pc:docMk/>
            <pc:sldMk cId="3735846079" sldId="374"/>
            <ac:spMk id="16" creationId="{1F893CAB-FEF9-2151-911E-65699DDEACFF}"/>
          </ac:spMkLst>
        </pc:spChg>
        <pc:spChg chg="mod">
          <ac:chgData name="Merlin Gutter" userId="2abc6f04-74af-430b-bdc8-569c3bfa1dda" providerId="ADAL" clId="{CB1EFBC3-10F5-3048-8961-5969497C0019}" dt="2022-11-13T01:17:28.074" v="55030" actId="947"/>
          <ac:spMkLst>
            <pc:docMk/>
            <pc:sldMk cId="3735846079" sldId="374"/>
            <ac:spMk id="17" creationId="{06151536-D310-AD3B-003D-3E976E1E926E}"/>
          </ac:spMkLst>
        </pc:spChg>
        <pc:spChg chg="mod">
          <ac:chgData name="Merlin Gutter" userId="2abc6f04-74af-430b-bdc8-569c3bfa1dda" providerId="ADAL" clId="{CB1EFBC3-10F5-3048-8961-5969497C0019}" dt="2022-11-13T01:17:28.074" v="55028" actId="947"/>
          <ac:spMkLst>
            <pc:docMk/>
            <pc:sldMk cId="3735846079" sldId="374"/>
            <ac:spMk id="19" creationId="{F33E3D07-F2B4-C9A3-1245-47F446441F5E}"/>
          </ac:spMkLst>
        </pc:spChg>
        <pc:spChg chg="mod">
          <ac:chgData name="Merlin Gutter" userId="2abc6f04-74af-430b-bdc8-569c3bfa1dda" providerId="ADAL" clId="{CB1EFBC3-10F5-3048-8961-5969497C0019}" dt="2022-11-13T01:17:28.073" v="55026" actId="947"/>
          <ac:spMkLst>
            <pc:docMk/>
            <pc:sldMk cId="3735846079" sldId="374"/>
            <ac:spMk id="20" creationId="{0BBDB99F-ADB2-7908-5C61-1A241D5DBF40}"/>
          </ac:spMkLst>
        </pc:spChg>
        <pc:spChg chg="mod">
          <ac:chgData name="Merlin Gutter" userId="2abc6f04-74af-430b-bdc8-569c3bfa1dda" providerId="ADAL" clId="{CB1EFBC3-10F5-3048-8961-5969497C0019}" dt="2022-11-13T01:17:28.072" v="55024" actId="947"/>
          <ac:spMkLst>
            <pc:docMk/>
            <pc:sldMk cId="3735846079" sldId="374"/>
            <ac:spMk id="22" creationId="{3B327C8A-6A5E-4F3E-B530-F777A3DE249C}"/>
          </ac:spMkLst>
        </pc:spChg>
        <pc:spChg chg="mod">
          <ac:chgData name="Merlin Gutter" userId="2abc6f04-74af-430b-bdc8-569c3bfa1dda" providerId="ADAL" clId="{CB1EFBC3-10F5-3048-8961-5969497C0019}" dt="2022-11-13T01:17:28.071" v="55022" actId="947"/>
          <ac:spMkLst>
            <pc:docMk/>
            <pc:sldMk cId="3735846079" sldId="374"/>
            <ac:spMk id="23" creationId="{64345F12-BF2B-B174-9C93-2E2118BF4480}"/>
          </ac:spMkLst>
        </pc:spChg>
        <pc:spChg chg="add mod">
          <ac:chgData name="Merlin Gutter" userId="2abc6f04-74af-430b-bdc8-569c3bfa1dda" providerId="ADAL" clId="{CB1EFBC3-10F5-3048-8961-5969497C0019}" dt="2022-11-23T17:48:39.810" v="108470"/>
          <ac:spMkLst>
            <pc:docMk/>
            <pc:sldMk cId="3735846079" sldId="374"/>
            <ac:spMk id="26" creationId="{D4D861D2-DEB5-FCAB-ABF2-A4F5C3CEEDD1}"/>
          </ac:spMkLst>
        </pc:spChg>
        <pc:spChg chg="add mod topLvl">
          <ac:chgData name="Merlin Gutter" userId="2abc6f04-74af-430b-bdc8-569c3bfa1dda" providerId="ADAL" clId="{CB1EFBC3-10F5-3048-8961-5969497C0019}" dt="2022-11-13T01:17:28.081" v="55048" actId="947"/>
          <ac:spMkLst>
            <pc:docMk/>
            <pc:sldMk cId="3735846079" sldId="374"/>
            <ac:spMk id="27" creationId="{08BC5883-C723-8C7D-B37A-83D10F2F3FD8}"/>
          </ac:spMkLst>
        </pc:spChg>
        <pc:spChg chg="add mod topLvl">
          <ac:chgData name="Merlin Gutter" userId="2abc6f04-74af-430b-bdc8-569c3bfa1dda" providerId="ADAL" clId="{CB1EFBC3-10F5-3048-8961-5969497C0019}" dt="2022-11-13T01:17:28.084" v="55054" actId="947"/>
          <ac:spMkLst>
            <pc:docMk/>
            <pc:sldMk cId="3735846079" sldId="374"/>
            <ac:spMk id="28" creationId="{5DE9E15B-D5FA-F275-6FE3-EEF1CC952E68}"/>
          </ac:spMkLst>
        </pc:spChg>
        <pc:spChg chg="add mod topLvl">
          <ac:chgData name="Merlin Gutter" userId="2abc6f04-74af-430b-bdc8-569c3bfa1dda" providerId="ADAL" clId="{CB1EFBC3-10F5-3048-8961-5969497C0019}" dt="2022-11-13T01:17:28.086" v="55060" actId="947"/>
          <ac:spMkLst>
            <pc:docMk/>
            <pc:sldMk cId="3735846079" sldId="374"/>
            <ac:spMk id="29" creationId="{0CB30877-E86C-FB9A-7EB9-893EE0BCDCC0}"/>
          </ac:spMkLst>
        </pc:spChg>
        <pc:spChg chg="mod">
          <ac:chgData name="Merlin Gutter" userId="2abc6f04-74af-430b-bdc8-569c3bfa1dda" providerId="ADAL" clId="{CB1EFBC3-10F5-3048-8961-5969497C0019}" dt="2022-11-23T18:48:47.882" v="117893"/>
          <ac:spMkLst>
            <pc:docMk/>
            <pc:sldMk cId="3735846079" sldId="374"/>
            <ac:spMk id="32" creationId="{8398AF4C-208A-D27B-CBE9-ABFB64A89EA3}"/>
          </ac:spMkLst>
        </pc:spChg>
        <pc:spChg chg="add del mod">
          <ac:chgData name="Merlin Gutter" userId="2abc6f04-74af-430b-bdc8-569c3bfa1dda" providerId="ADAL" clId="{CB1EFBC3-10F5-3048-8961-5969497C0019}" dt="2022-11-12T21:23:42.488" v="46349" actId="478"/>
          <ac:spMkLst>
            <pc:docMk/>
            <pc:sldMk cId="3735846079" sldId="374"/>
            <ac:spMk id="34" creationId="{9FDED59A-F9E0-D974-E421-E827CC7E72C9}"/>
          </ac:spMkLst>
        </pc:spChg>
        <pc:spChg chg="add mod">
          <ac:chgData name="Merlin Gutter" userId="2abc6f04-74af-430b-bdc8-569c3bfa1dda" providerId="ADAL" clId="{CB1EFBC3-10F5-3048-8961-5969497C0019}" dt="2022-11-13T01:17:28.079" v="55042" actId="947"/>
          <ac:spMkLst>
            <pc:docMk/>
            <pc:sldMk cId="3735846079" sldId="374"/>
            <ac:spMk id="35" creationId="{021617D8-F23F-1764-CAF3-F6CB6A5F2428}"/>
          </ac:spMkLst>
        </pc:spChg>
        <pc:spChg chg="add mod">
          <ac:chgData name="Merlin Gutter" userId="2abc6f04-74af-430b-bdc8-569c3bfa1dda" providerId="ADAL" clId="{CB1EFBC3-10F5-3048-8961-5969497C0019}" dt="2022-11-23T22:57:01.019" v="130332"/>
          <ac:spMkLst>
            <pc:docMk/>
            <pc:sldMk cId="3735846079" sldId="374"/>
            <ac:spMk id="40" creationId="{A5F28EC5-A380-EB92-FF83-2AC093542811}"/>
          </ac:spMkLst>
        </pc:spChg>
        <pc:spChg chg="add mod topLvl">
          <ac:chgData name="Merlin Gutter" userId="2abc6f04-74af-430b-bdc8-569c3bfa1dda" providerId="ADAL" clId="{CB1EFBC3-10F5-3048-8961-5969497C0019}" dt="2022-11-13T01:17:28.078" v="55040" actId="20577"/>
          <ac:spMkLst>
            <pc:docMk/>
            <pc:sldMk cId="3735846079" sldId="374"/>
            <ac:spMk id="41" creationId="{1A4F5B30-73F0-6B33-D410-5B65DCF9CC60}"/>
          </ac:spMkLst>
        </pc:spChg>
        <pc:spChg chg="mod">
          <ac:chgData name="Merlin Gutter" userId="2abc6f04-74af-430b-bdc8-569c3bfa1dda" providerId="ADAL" clId="{CB1EFBC3-10F5-3048-8961-5969497C0019}" dt="2022-11-23T18:48:47.882" v="117893"/>
          <ac:spMkLst>
            <pc:docMk/>
            <pc:sldMk cId="3735846079" sldId="374"/>
            <ac:spMk id="42" creationId="{BBB8D111-6463-D67E-3120-6D063D0F5197}"/>
          </ac:spMkLst>
        </pc:spChg>
        <pc:spChg chg="mod">
          <ac:chgData name="Merlin Gutter" userId="2abc6f04-74af-430b-bdc8-569c3bfa1dda" providerId="ADAL" clId="{CB1EFBC3-10F5-3048-8961-5969497C0019}" dt="2022-11-23T18:48:47.882" v="117893"/>
          <ac:spMkLst>
            <pc:docMk/>
            <pc:sldMk cId="3735846079" sldId="374"/>
            <ac:spMk id="43" creationId="{27E7808B-D637-117A-B3F1-4646CE7A1ACA}"/>
          </ac:spMkLst>
        </pc:spChg>
        <pc:spChg chg="add del mod modVis">
          <ac:chgData name="Merlin Gutter" userId="2abc6f04-74af-430b-bdc8-569c3bfa1dda" providerId="ADAL" clId="{CB1EFBC3-10F5-3048-8961-5969497C0019}" dt="2022-11-23T18:53:17.756" v="118231"/>
          <ac:spMkLst>
            <pc:docMk/>
            <pc:sldMk cId="3735846079" sldId="374"/>
            <ac:spMk id="44" creationId="{41615937-2B56-64F7-431F-AC09EB9EB5E4}"/>
          </ac:spMkLst>
        </pc:spChg>
        <pc:spChg chg="add mod replST">
          <ac:chgData name="Merlin Gutter" userId="2abc6f04-74af-430b-bdc8-569c3bfa1dda" providerId="ADAL" clId="{CB1EFBC3-10F5-3048-8961-5969497C0019}" dt="2022-11-23T22:57:01.024" v="130358"/>
          <ac:spMkLst>
            <pc:docMk/>
            <pc:sldMk cId="3735846079" sldId="374"/>
            <ac:spMk id="45" creationId="{A192995B-9D3E-E540-2FB3-4F8D7419C3AA}"/>
          </ac:spMkLst>
        </pc:spChg>
        <pc:spChg chg="add mod replST">
          <ac:chgData name="Merlin Gutter" userId="2abc6f04-74af-430b-bdc8-569c3bfa1dda" providerId="ADAL" clId="{CB1EFBC3-10F5-3048-8961-5969497C0019}" dt="2022-11-23T22:57:01.025" v="130359"/>
          <ac:spMkLst>
            <pc:docMk/>
            <pc:sldMk cId="3735846079" sldId="374"/>
            <ac:spMk id="46" creationId="{5D723E7D-6C34-5187-7D20-2F5BCFE24E51}"/>
          </ac:spMkLst>
        </pc:spChg>
        <pc:spChg chg="add mod replST">
          <ac:chgData name="Merlin Gutter" userId="2abc6f04-74af-430b-bdc8-569c3bfa1dda" providerId="ADAL" clId="{CB1EFBC3-10F5-3048-8961-5969497C0019}" dt="2022-11-23T22:57:01.025" v="130360"/>
          <ac:spMkLst>
            <pc:docMk/>
            <pc:sldMk cId="3735846079" sldId="374"/>
            <ac:spMk id="47" creationId="{C449F2A9-44EC-4820-86E8-AD53644C7A57}"/>
          </ac:spMkLst>
        </pc:spChg>
        <pc:spChg chg="add mod">
          <ac:chgData name="Merlin Gutter" userId="2abc6f04-74af-430b-bdc8-569c3bfa1dda" providerId="ADAL" clId="{CB1EFBC3-10F5-3048-8961-5969497C0019}" dt="2022-11-23T22:57:01.019" v="130333"/>
          <ac:spMkLst>
            <pc:docMk/>
            <pc:sldMk cId="3735846079" sldId="374"/>
            <ac:spMk id="48" creationId="{45CA0CA3-79F2-C83F-53BE-17D42C48E1BA}"/>
          </ac:spMkLst>
        </pc:spChg>
        <pc:spChg chg="add mod">
          <ac:chgData name="Merlin Gutter" userId="2abc6f04-74af-430b-bdc8-569c3bfa1dda" providerId="ADAL" clId="{CB1EFBC3-10F5-3048-8961-5969497C0019}" dt="2022-11-13T01:17:28.341" v="55080" actId="20577"/>
          <ac:spMkLst>
            <pc:docMk/>
            <pc:sldMk cId="3735846079" sldId="374"/>
            <ac:spMk id="49" creationId="{D12B5513-D02F-79BC-9A53-D7C192275719}"/>
          </ac:spMkLst>
        </pc:spChg>
        <pc:spChg chg="add del mod modVis">
          <ac:chgData name="Merlin Gutter" userId="2abc6f04-74af-430b-bdc8-569c3bfa1dda" providerId="ADAL" clId="{CB1EFBC3-10F5-3048-8961-5969497C0019}" dt="2022-11-23T22:49:10.521" v="124461"/>
          <ac:spMkLst>
            <pc:docMk/>
            <pc:sldMk cId="3735846079" sldId="374"/>
            <ac:spMk id="52" creationId="{C1F67C35-2862-B451-11D8-9A94CBC28439}"/>
          </ac:spMkLst>
        </pc:spChg>
        <pc:spChg chg="add del mod modVis">
          <ac:chgData name="Merlin Gutter" userId="2abc6f04-74af-430b-bdc8-569c3bfa1dda" providerId="ADAL" clId="{CB1EFBC3-10F5-3048-8961-5969497C0019}" dt="2022-11-23T22:49:12.002" v="124548"/>
          <ac:spMkLst>
            <pc:docMk/>
            <pc:sldMk cId="3735846079" sldId="374"/>
            <ac:spMk id="54" creationId="{B8AAFAD4-6428-B5EC-28A1-E58DC03C33B8}"/>
          </ac:spMkLst>
        </pc:spChg>
        <pc:spChg chg="add del mod modVis">
          <ac:chgData name="Merlin Gutter" userId="2abc6f04-74af-430b-bdc8-569c3bfa1dda" providerId="ADAL" clId="{CB1EFBC3-10F5-3048-8961-5969497C0019}" dt="2022-11-23T22:49:14.117" v="124635"/>
          <ac:spMkLst>
            <pc:docMk/>
            <pc:sldMk cId="3735846079" sldId="374"/>
            <ac:spMk id="56" creationId="{A4A0EC6A-E9B8-0560-8948-388E96197035}"/>
          </ac:spMkLst>
        </pc:spChg>
        <pc:spChg chg="add del mod modVis">
          <ac:chgData name="Merlin Gutter" userId="2abc6f04-74af-430b-bdc8-569c3bfa1dda" providerId="ADAL" clId="{CB1EFBC3-10F5-3048-8961-5969497C0019}" dt="2022-11-23T22:49:16.266" v="124801"/>
          <ac:spMkLst>
            <pc:docMk/>
            <pc:sldMk cId="3735846079" sldId="374"/>
            <ac:spMk id="58" creationId="{1F563479-BD60-B175-B927-42BFED34414D}"/>
          </ac:spMkLst>
        </pc:spChg>
        <pc:spChg chg="add del mod replST">
          <ac:chgData name="Merlin Gutter" userId="2abc6f04-74af-430b-bdc8-569c3bfa1dda" providerId="ADAL" clId="{CB1EFBC3-10F5-3048-8961-5969497C0019}" dt="2022-11-23T22:51:20.150" v="126638"/>
          <ac:spMkLst>
            <pc:docMk/>
            <pc:sldMk cId="3735846079" sldId="374"/>
            <ac:spMk id="59" creationId="{61470D08-9368-38AE-2DB4-30AAF581ADCA}"/>
          </ac:spMkLst>
        </pc:spChg>
        <pc:spChg chg="add del mod modVis">
          <ac:chgData name="Merlin Gutter" userId="2abc6f04-74af-430b-bdc8-569c3bfa1dda" providerId="ADAL" clId="{CB1EFBC3-10F5-3048-8961-5969497C0019}" dt="2022-11-23T22:49:19.044" v="124890"/>
          <ac:spMkLst>
            <pc:docMk/>
            <pc:sldMk cId="3735846079" sldId="374"/>
            <ac:spMk id="61" creationId="{840001B0-0C22-38B4-0925-1B51A7E19376}"/>
          </ac:spMkLst>
        </pc:spChg>
        <pc:spChg chg="add del mod modVis">
          <ac:chgData name="Merlin Gutter" userId="2abc6f04-74af-430b-bdc8-569c3bfa1dda" providerId="ADAL" clId="{CB1EFBC3-10F5-3048-8961-5969497C0019}" dt="2022-11-23T22:49:21.336" v="125067"/>
          <ac:spMkLst>
            <pc:docMk/>
            <pc:sldMk cId="3735846079" sldId="374"/>
            <ac:spMk id="63" creationId="{DFEE4E3F-ABD1-FFC9-D1A3-F23AD3D00B92}"/>
          </ac:spMkLst>
        </pc:spChg>
        <pc:spChg chg="add mod replST">
          <ac:chgData name="Merlin Gutter" userId="2abc6f04-74af-430b-bdc8-569c3bfa1dda" providerId="ADAL" clId="{CB1EFBC3-10F5-3048-8961-5969497C0019}" dt="2022-11-23T22:57:01.023" v="130352"/>
          <ac:spMkLst>
            <pc:docMk/>
            <pc:sldMk cId="3735846079" sldId="374"/>
            <ac:spMk id="64" creationId="{2C83D311-B780-BE8E-4490-70D46F7ECC59}"/>
          </ac:spMkLst>
        </pc:spChg>
        <pc:spChg chg="del">
          <ac:chgData name="Merlin Gutter" userId="2abc6f04-74af-430b-bdc8-569c3bfa1dda" providerId="ADAL" clId="{CB1EFBC3-10F5-3048-8961-5969497C0019}" dt="2022-11-12T21:00:14.577" v="46078"/>
          <ac:spMkLst>
            <pc:docMk/>
            <pc:sldMk cId="3735846079" sldId="374"/>
            <ac:spMk id="64" creationId="{81584AC9-79AE-7452-2705-F10CFA36043B}"/>
          </ac:spMkLst>
        </pc:spChg>
        <pc:spChg chg="add mod replST">
          <ac:chgData name="Merlin Gutter" userId="2abc6f04-74af-430b-bdc8-569c3bfa1dda" providerId="ADAL" clId="{CB1EFBC3-10F5-3048-8961-5969497C0019}" dt="2022-11-23T22:57:01.023" v="130350"/>
          <ac:spMkLst>
            <pc:docMk/>
            <pc:sldMk cId="3735846079" sldId="374"/>
            <ac:spMk id="65" creationId="{11CAD2A2-86C9-7DB0-FBBA-E0749CBB57F0}"/>
          </ac:spMkLst>
        </pc:spChg>
        <pc:spChg chg="add mod replST">
          <ac:chgData name="Merlin Gutter" userId="2abc6f04-74af-430b-bdc8-569c3bfa1dda" providerId="ADAL" clId="{CB1EFBC3-10F5-3048-8961-5969497C0019}" dt="2022-11-23T22:57:01.023" v="130349"/>
          <ac:spMkLst>
            <pc:docMk/>
            <pc:sldMk cId="3735846079" sldId="374"/>
            <ac:spMk id="66" creationId="{F247B305-C8DD-5D49-6A81-CB9FA2D0A5EA}"/>
          </ac:spMkLst>
        </pc:spChg>
        <pc:spChg chg="add del mod modVis">
          <ac:chgData name="Merlin Gutter" userId="2abc6f04-74af-430b-bdc8-569c3bfa1dda" providerId="ADAL" clId="{CB1EFBC3-10F5-3048-8961-5969497C0019}" dt="2022-11-23T22:51:38.587" v="127534"/>
          <ac:spMkLst>
            <pc:docMk/>
            <pc:sldMk cId="3735846079" sldId="374"/>
            <ac:spMk id="67" creationId="{A3B7D4DD-B33D-14EE-A4D1-D5230F36859C}"/>
          </ac:spMkLst>
        </pc:spChg>
        <pc:spChg chg="add mod replST">
          <ac:chgData name="Merlin Gutter" userId="2abc6f04-74af-430b-bdc8-569c3bfa1dda" providerId="ADAL" clId="{CB1EFBC3-10F5-3048-8961-5969497C0019}" dt="2022-11-23T22:57:01.022" v="130348"/>
          <ac:spMkLst>
            <pc:docMk/>
            <pc:sldMk cId="3735846079" sldId="374"/>
            <ac:spMk id="68" creationId="{E008829A-6E9E-559B-2C3D-D25693B4D2D3}"/>
          </ac:spMkLst>
        </pc:spChg>
        <pc:spChg chg="add mod replST">
          <ac:chgData name="Merlin Gutter" userId="2abc6f04-74af-430b-bdc8-569c3bfa1dda" providerId="ADAL" clId="{CB1EFBC3-10F5-3048-8961-5969497C0019}" dt="2022-11-23T22:57:01.022" v="130345"/>
          <ac:spMkLst>
            <pc:docMk/>
            <pc:sldMk cId="3735846079" sldId="374"/>
            <ac:spMk id="69" creationId="{09D919D5-6E61-F138-2F22-4D27BCF770F3}"/>
          </ac:spMkLst>
        </pc:spChg>
        <pc:spChg chg="add mod replST">
          <ac:chgData name="Merlin Gutter" userId="2abc6f04-74af-430b-bdc8-569c3bfa1dda" providerId="ADAL" clId="{CB1EFBC3-10F5-3048-8961-5969497C0019}" dt="2022-11-23T22:57:01.022" v="130347"/>
          <ac:spMkLst>
            <pc:docMk/>
            <pc:sldMk cId="3735846079" sldId="374"/>
            <ac:spMk id="70" creationId="{9105FF0F-CF4F-86B8-4A8D-A534B2CF84CD}"/>
          </ac:spMkLst>
        </pc:spChg>
        <pc:spChg chg="add mod replST">
          <ac:chgData name="Merlin Gutter" userId="2abc6f04-74af-430b-bdc8-569c3bfa1dda" providerId="ADAL" clId="{CB1EFBC3-10F5-3048-8961-5969497C0019}" dt="2022-11-23T22:57:01.022" v="130346"/>
          <ac:spMkLst>
            <pc:docMk/>
            <pc:sldMk cId="3735846079" sldId="374"/>
            <ac:spMk id="71" creationId="{0EA4E08E-7EA4-BD83-305C-A5B9FA5ADBC6}"/>
          </ac:spMkLst>
        </pc:spChg>
        <pc:spChg chg="add del mod modVis">
          <ac:chgData name="Merlin Gutter" userId="2abc6f04-74af-430b-bdc8-569c3bfa1dda" providerId="ADAL" clId="{CB1EFBC3-10F5-3048-8961-5969497C0019}" dt="2022-11-23T22:52:31.006" v="128395"/>
          <ac:spMkLst>
            <pc:docMk/>
            <pc:sldMk cId="3735846079" sldId="374"/>
            <ac:spMk id="73" creationId="{B1E6F10E-0B66-B2E8-842C-E396913E91B7}"/>
          </ac:spMkLst>
        </pc:spChg>
        <pc:spChg chg="add del mod modVis">
          <ac:chgData name="Merlin Gutter" userId="2abc6f04-74af-430b-bdc8-569c3bfa1dda" providerId="ADAL" clId="{CB1EFBC3-10F5-3048-8961-5969497C0019}" dt="2022-11-23T22:52:32.084" v="128544"/>
          <ac:spMkLst>
            <pc:docMk/>
            <pc:sldMk cId="3735846079" sldId="374"/>
            <ac:spMk id="74" creationId="{865C125D-BF46-7EF0-E3EF-0AED5275E1F7}"/>
          </ac:spMkLst>
        </pc:spChg>
        <pc:spChg chg="add del mod modVis">
          <ac:chgData name="Merlin Gutter" userId="2abc6f04-74af-430b-bdc8-569c3bfa1dda" providerId="ADAL" clId="{CB1EFBC3-10F5-3048-8961-5969497C0019}" dt="2022-11-23T22:52:44.583" v="128848"/>
          <ac:spMkLst>
            <pc:docMk/>
            <pc:sldMk cId="3735846079" sldId="374"/>
            <ac:spMk id="75" creationId="{4E53A6C1-8E3A-E78C-E51C-006BD083D0DE}"/>
          </ac:spMkLst>
        </pc:spChg>
        <pc:spChg chg="add del mod modVis">
          <ac:chgData name="Merlin Gutter" userId="2abc6f04-74af-430b-bdc8-569c3bfa1dda" providerId="ADAL" clId="{CB1EFBC3-10F5-3048-8961-5969497C0019}" dt="2022-11-23T22:52:46.635" v="129068"/>
          <ac:spMkLst>
            <pc:docMk/>
            <pc:sldMk cId="3735846079" sldId="374"/>
            <ac:spMk id="77" creationId="{F9D24C7D-F9E2-6F0D-7FE0-CABCC80C2452}"/>
          </ac:spMkLst>
        </pc:spChg>
        <pc:spChg chg="add mod">
          <ac:chgData name="Merlin Gutter" userId="2abc6f04-74af-430b-bdc8-569c3bfa1dda" providerId="ADAL" clId="{CB1EFBC3-10F5-3048-8961-5969497C0019}" dt="2022-11-23T22:57:01.025" v="130361"/>
          <ac:spMkLst>
            <pc:docMk/>
            <pc:sldMk cId="3735846079" sldId="374"/>
            <ac:spMk id="81" creationId="{2D96DA5E-EC64-6B61-F652-8F4FE731423B}"/>
          </ac:spMkLst>
        </pc:spChg>
        <pc:spChg chg="add del mod modVis">
          <ac:chgData name="Merlin Gutter" userId="2abc6f04-74af-430b-bdc8-569c3bfa1dda" providerId="ADAL" clId="{CB1EFBC3-10F5-3048-8961-5969497C0019}" dt="2022-11-23T22:55:11.394" v="129494"/>
          <ac:spMkLst>
            <pc:docMk/>
            <pc:sldMk cId="3735846079" sldId="374"/>
            <ac:spMk id="82" creationId="{EF17F6CF-53B4-8054-45B3-EC0ECEC288EB}"/>
          </ac:spMkLst>
        </pc:spChg>
        <pc:spChg chg="add del mod modVis">
          <ac:chgData name="Merlin Gutter" userId="2abc6f04-74af-430b-bdc8-569c3bfa1dda" providerId="ADAL" clId="{CB1EFBC3-10F5-3048-8961-5969497C0019}" dt="2022-11-23T22:55:12.800" v="129601"/>
          <ac:spMkLst>
            <pc:docMk/>
            <pc:sldMk cId="3735846079" sldId="374"/>
            <ac:spMk id="84" creationId="{18BD8628-AB1F-BDD6-5A4A-C4B358DAB418}"/>
          </ac:spMkLst>
        </pc:spChg>
        <pc:spChg chg="add mod">
          <ac:chgData name="Merlin Gutter" userId="2abc6f04-74af-430b-bdc8-569c3bfa1dda" providerId="ADAL" clId="{CB1EFBC3-10F5-3048-8961-5969497C0019}" dt="2022-11-23T22:57:01.018" v="130326"/>
          <ac:spMkLst>
            <pc:docMk/>
            <pc:sldMk cId="3735846079" sldId="374"/>
            <ac:spMk id="87" creationId="{9DB41C66-62C3-64FA-CACE-3428DA38F6E2}"/>
          </ac:spMkLst>
        </pc:spChg>
        <pc:spChg chg="del">
          <ac:chgData name="Merlin Gutter" userId="2abc6f04-74af-430b-bdc8-569c3bfa1dda" providerId="ADAL" clId="{CB1EFBC3-10F5-3048-8961-5969497C0019}" dt="2022-11-12T21:00:14.584" v="46084"/>
          <ac:spMkLst>
            <pc:docMk/>
            <pc:sldMk cId="3735846079" sldId="374"/>
            <ac:spMk id="88" creationId="{F5835A70-EC69-99F6-568E-811C0FF96AEC}"/>
          </ac:spMkLst>
        </pc:spChg>
        <pc:spChg chg="del">
          <ac:chgData name="Merlin Gutter" userId="2abc6f04-74af-430b-bdc8-569c3bfa1dda" providerId="ADAL" clId="{CB1EFBC3-10F5-3048-8961-5969497C0019}" dt="2022-11-12T21:00:14.583" v="46082"/>
          <ac:spMkLst>
            <pc:docMk/>
            <pc:sldMk cId="3735846079" sldId="374"/>
            <ac:spMk id="89" creationId="{3694268F-056C-1BFD-991E-E785CD53A70E}"/>
          </ac:spMkLst>
        </pc:spChg>
        <pc:spChg chg="del">
          <ac:chgData name="Merlin Gutter" userId="2abc6f04-74af-430b-bdc8-569c3bfa1dda" providerId="ADAL" clId="{CB1EFBC3-10F5-3048-8961-5969497C0019}" dt="2022-11-12T21:00:14.582" v="46080"/>
          <ac:spMkLst>
            <pc:docMk/>
            <pc:sldMk cId="3735846079" sldId="374"/>
            <ac:spMk id="90" creationId="{FD004D79-F2AC-9208-1F6C-1198C519696D}"/>
          </ac:spMkLst>
        </pc:spChg>
        <pc:spChg chg="add del mod modVis">
          <ac:chgData name="Merlin Gutter" userId="2abc6f04-74af-430b-bdc8-569c3bfa1dda" providerId="ADAL" clId="{CB1EFBC3-10F5-3048-8961-5969497C0019}" dt="2022-11-23T22:56:54.126" v="130245"/>
          <ac:spMkLst>
            <pc:docMk/>
            <pc:sldMk cId="3735846079" sldId="374"/>
            <ac:spMk id="91" creationId="{490D1C70-FBC4-F482-1CF3-7F45D4D37ECB}"/>
          </ac:spMkLst>
        </pc:spChg>
        <pc:spChg chg="del">
          <ac:chgData name="Merlin Gutter" userId="2abc6f04-74af-430b-bdc8-569c3bfa1dda" providerId="ADAL" clId="{CB1EFBC3-10F5-3048-8961-5969497C0019}" dt="2022-11-12T21:00:17.629" v="46091" actId="478"/>
          <ac:spMkLst>
            <pc:docMk/>
            <pc:sldMk cId="3735846079" sldId="374"/>
            <ac:spMk id="92" creationId="{28352A1C-9B92-F4F5-F2C4-01F744401082}"/>
          </ac:spMkLst>
        </pc:spChg>
        <pc:spChg chg="add del mod replST">
          <ac:chgData name="Merlin Gutter" userId="2abc6f04-74af-430b-bdc8-569c3bfa1dda" providerId="ADAL" clId="{CB1EFBC3-10F5-3048-8961-5969497C0019}" dt="2022-11-23T22:56:55.424" v="130259"/>
          <ac:spMkLst>
            <pc:docMk/>
            <pc:sldMk cId="3735846079" sldId="374"/>
            <ac:spMk id="92" creationId="{AAEA1224-6541-56BD-F8E8-E589EC6F4B47}"/>
          </ac:spMkLst>
        </pc:spChg>
        <pc:spChg chg="mod">
          <ac:chgData name="Merlin Gutter" userId="2abc6f04-74af-430b-bdc8-569c3bfa1dda" providerId="ADAL" clId="{CB1EFBC3-10F5-3048-8961-5969497C0019}" dt="2022-11-13T01:17:28.081" v="55046" actId="20577"/>
          <ac:spMkLst>
            <pc:docMk/>
            <pc:sldMk cId="3735846079" sldId="374"/>
            <ac:spMk id="94" creationId="{DB1D3CF5-3829-CD35-B7B4-4FE4413B5662}"/>
          </ac:spMkLst>
        </pc:spChg>
        <pc:spChg chg="mod topLvl">
          <ac:chgData name="Merlin Gutter" userId="2abc6f04-74af-430b-bdc8-569c3bfa1dda" providerId="ADAL" clId="{CB1EFBC3-10F5-3048-8961-5969497C0019}" dt="2022-11-13T01:17:28.083" v="55052" actId="20577"/>
          <ac:spMkLst>
            <pc:docMk/>
            <pc:sldMk cId="3735846079" sldId="374"/>
            <ac:spMk id="95" creationId="{6C21D1A9-9635-717B-86A7-26DB4A51A129}"/>
          </ac:spMkLst>
        </pc:spChg>
        <pc:spChg chg="mod topLvl">
          <ac:chgData name="Merlin Gutter" userId="2abc6f04-74af-430b-bdc8-569c3bfa1dda" providerId="ADAL" clId="{CB1EFBC3-10F5-3048-8961-5969497C0019}" dt="2022-11-13T01:17:28.088" v="55064" actId="20577"/>
          <ac:spMkLst>
            <pc:docMk/>
            <pc:sldMk cId="3735846079" sldId="374"/>
            <ac:spMk id="96" creationId="{64FDA7E4-458E-0EDA-6BFD-04E14E20E308}"/>
          </ac:spMkLst>
        </pc:spChg>
        <pc:spChg chg="mod topLvl">
          <ac:chgData name="Merlin Gutter" userId="2abc6f04-74af-430b-bdc8-569c3bfa1dda" providerId="ADAL" clId="{CB1EFBC3-10F5-3048-8961-5969497C0019}" dt="2022-11-13T01:17:28.086" v="55058" actId="20577"/>
          <ac:spMkLst>
            <pc:docMk/>
            <pc:sldMk cId="3735846079" sldId="374"/>
            <ac:spMk id="97" creationId="{8C386ADB-FE8A-0BEF-8B8C-71C2EE488712}"/>
          </ac:spMkLst>
        </pc:spChg>
        <pc:spChg chg="add del mod replST">
          <ac:chgData name="Merlin Gutter" userId="2abc6f04-74af-430b-bdc8-569c3bfa1dda" providerId="ADAL" clId="{CB1EFBC3-10F5-3048-8961-5969497C0019}" dt="2022-11-23T22:51:20.143" v="126632"/>
          <ac:spMkLst>
            <pc:docMk/>
            <pc:sldMk cId="3735846079" sldId="374"/>
            <ac:spMk id="1936" creationId="{4784AC2C-A54E-324B-EBDF-3BB292A67683}"/>
          </ac:spMkLst>
        </pc:spChg>
        <pc:spChg chg="add del mod replST">
          <ac:chgData name="Merlin Gutter" userId="2abc6f04-74af-430b-bdc8-569c3bfa1dda" providerId="ADAL" clId="{CB1EFBC3-10F5-3048-8961-5969497C0019}" dt="2022-11-23T22:51:20.149" v="126636"/>
          <ac:spMkLst>
            <pc:docMk/>
            <pc:sldMk cId="3735846079" sldId="374"/>
            <ac:spMk id="1939" creationId="{AA62C22A-151A-8030-D6B1-0193C088DFC7}"/>
          </ac:spMkLst>
        </pc:spChg>
        <pc:spChg chg="add mod replST">
          <ac:chgData name="Merlin Gutter" userId="2abc6f04-74af-430b-bdc8-569c3bfa1dda" providerId="ADAL" clId="{CB1EFBC3-10F5-3048-8961-5969497C0019}" dt="2022-11-23T22:57:01.024" v="130356"/>
          <ac:spMkLst>
            <pc:docMk/>
            <pc:sldMk cId="3735846079" sldId="374"/>
            <ac:spMk id="1940" creationId="{DA4E2485-907A-8644-EFEF-4C27FA91C2AA}"/>
          </ac:spMkLst>
        </pc:spChg>
        <pc:spChg chg="add del mod modVis">
          <ac:chgData name="Merlin Gutter" userId="2abc6f04-74af-430b-bdc8-569c3bfa1dda" providerId="ADAL" clId="{CB1EFBC3-10F5-3048-8961-5969497C0019}" dt="2022-11-23T22:49:27.820" v="125249"/>
          <ac:spMkLst>
            <pc:docMk/>
            <pc:sldMk cId="3735846079" sldId="374"/>
            <ac:spMk id="1941" creationId="{46652C19-CA5A-8888-1EC0-B4FDB98E65D9}"/>
          </ac:spMkLst>
        </pc:spChg>
        <pc:spChg chg="add del mod replST">
          <ac:chgData name="Merlin Gutter" userId="2abc6f04-74af-430b-bdc8-569c3bfa1dda" providerId="ADAL" clId="{CB1EFBC3-10F5-3048-8961-5969497C0019}" dt="2022-11-23T22:51:20.148" v="126634"/>
          <ac:spMkLst>
            <pc:docMk/>
            <pc:sldMk cId="3735846079" sldId="374"/>
            <ac:spMk id="1945" creationId="{93B243D5-328A-E4A9-88A8-BD0EEC167B34}"/>
          </ac:spMkLst>
        </pc:spChg>
        <pc:spChg chg="add mod replST">
          <ac:chgData name="Merlin Gutter" userId="2abc6f04-74af-430b-bdc8-569c3bfa1dda" providerId="ADAL" clId="{CB1EFBC3-10F5-3048-8961-5969497C0019}" dt="2022-11-23T22:57:01.024" v="130357"/>
          <ac:spMkLst>
            <pc:docMk/>
            <pc:sldMk cId="3735846079" sldId="374"/>
            <ac:spMk id="1946" creationId="{B94F65D4-1A55-A124-0BF2-6115FB24543D}"/>
          </ac:spMkLst>
        </pc:spChg>
        <pc:spChg chg="add del mod modVis">
          <ac:chgData name="Merlin Gutter" userId="2abc6f04-74af-430b-bdc8-569c3bfa1dda" providerId="ADAL" clId="{CB1EFBC3-10F5-3048-8961-5969497C0019}" dt="2022-11-23T22:49:35.283" v="125436"/>
          <ac:spMkLst>
            <pc:docMk/>
            <pc:sldMk cId="3735846079" sldId="374"/>
            <ac:spMk id="1947" creationId="{D680D84E-D0FB-8DE3-251F-E949D1FA57B0}"/>
          </ac:spMkLst>
        </pc:spChg>
        <pc:spChg chg="add del mod replST">
          <ac:chgData name="Merlin Gutter" userId="2abc6f04-74af-430b-bdc8-569c3bfa1dda" providerId="ADAL" clId="{CB1EFBC3-10F5-3048-8961-5969497C0019}" dt="2022-11-23T22:49:38.125" v="125590"/>
          <ac:spMkLst>
            <pc:docMk/>
            <pc:sldMk cId="3735846079" sldId="374"/>
            <ac:spMk id="1950" creationId="{5EAE554D-C659-C785-4C28-749F3EC1043F}"/>
          </ac:spMkLst>
        </pc:spChg>
        <pc:spChg chg="add mod replST">
          <ac:chgData name="Merlin Gutter" userId="2abc6f04-74af-430b-bdc8-569c3bfa1dda" providerId="ADAL" clId="{CB1EFBC3-10F5-3048-8961-5969497C0019}" dt="2022-11-23T22:57:01.024" v="130355"/>
          <ac:spMkLst>
            <pc:docMk/>
            <pc:sldMk cId="3735846079" sldId="374"/>
            <ac:spMk id="1951" creationId="{9E82E0DD-5718-F69C-359D-2F2B27BACB64}"/>
          </ac:spMkLst>
        </pc:spChg>
        <pc:spChg chg="add del mod modVis">
          <ac:chgData name="Merlin Gutter" userId="2abc6f04-74af-430b-bdc8-569c3bfa1dda" providerId="ADAL" clId="{CB1EFBC3-10F5-3048-8961-5969497C0019}" dt="2022-11-23T22:49:38.168" v="125636"/>
          <ac:spMkLst>
            <pc:docMk/>
            <pc:sldMk cId="3735846079" sldId="374"/>
            <ac:spMk id="1952" creationId="{34C34A57-4C96-732B-56EE-ED6A59363D6C}"/>
          </ac:spMkLst>
        </pc:spChg>
        <pc:spChg chg="add del mod modVis">
          <ac:chgData name="Merlin Gutter" userId="2abc6f04-74af-430b-bdc8-569c3bfa1dda" providerId="ADAL" clId="{CB1EFBC3-10F5-3048-8961-5969497C0019}" dt="2022-11-23T22:50:04.194" v="125909"/>
          <ac:spMkLst>
            <pc:docMk/>
            <pc:sldMk cId="3735846079" sldId="374"/>
            <ac:spMk id="1955" creationId="{ECD34462-646D-5F67-A5E7-D144FB346672}"/>
          </ac:spMkLst>
        </pc:spChg>
        <pc:spChg chg="add del mod replST">
          <ac:chgData name="Merlin Gutter" userId="2abc6f04-74af-430b-bdc8-569c3bfa1dda" providerId="ADAL" clId="{CB1EFBC3-10F5-3048-8961-5969497C0019}" dt="2022-11-23T22:51:28.198" v="126719"/>
          <ac:spMkLst>
            <pc:docMk/>
            <pc:sldMk cId="3735846079" sldId="374"/>
            <ac:spMk id="1957" creationId="{B1801E9A-91BF-E56A-E2C5-993DE14C4EB1}"/>
          </ac:spMkLst>
        </pc:spChg>
        <pc:spChg chg="add del mod replST">
          <ac:chgData name="Merlin Gutter" userId="2abc6f04-74af-430b-bdc8-569c3bfa1dda" providerId="ADAL" clId="{CB1EFBC3-10F5-3048-8961-5969497C0019}" dt="2022-11-23T22:51:28.205" v="126733"/>
          <ac:spMkLst>
            <pc:docMk/>
            <pc:sldMk cId="3735846079" sldId="374"/>
            <ac:spMk id="1958" creationId="{F8635FED-AEFD-ED70-AFF7-7B0E012ECF32}"/>
          </ac:spMkLst>
        </pc:spChg>
        <pc:spChg chg="add del mod replST">
          <ac:chgData name="Merlin Gutter" userId="2abc6f04-74af-430b-bdc8-569c3bfa1dda" providerId="ADAL" clId="{CB1EFBC3-10F5-3048-8961-5969497C0019}" dt="2022-11-23T22:51:28.180" v="126691"/>
          <ac:spMkLst>
            <pc:docMk/>
            <pc:sldMk cId="3735846079" sldId="374"/>
            <ac:spMk id="1959" creationId="{F2B7D5AC-DE24-E1CA-0632-D9A01856731F}"/>
          </ac:spMkLst>
        </pc:spChg>
        <pc:spChg chg="add del mod replST">
          <ac:chgData name="Merlin Gutter" userId="2abc6f04-74af-430b-bdc8-569c3bfa1dda" providerId="ADAL" clId="{CB1EFBC3-10F5-3048-8961-5969497C0019}" dt="2022-11-23T22:51:28.211" v="126747"/>
          <ac:spMkLst>
            <pc:docMk/>
            <pc:sldMk cId="3735846079" sldId="374"/>
            <ac:spMk id="1960" creationId="{E3D6C105-5EE4-55DE-1FA0-3B82FF85CCE4}"/>
          </ac:spMkLst>
        </pc:spChg>
        <pc:spChg chg="add del mod replST">
          <ac:chgData name="Merlin Gutter" userId="2abc6f04-74af-430b-bdc8-569c3bfa1dda" providerId="ADAL" clId="{CB1EFBC3-10F5-3048-8961-5969497C0019}" dt="2022-11-23T22:51:28.175" v="126688"/>
          <ac:spMkLst>
            <pc:docMk/>
            <pc:sldMk cId="3735846079" sldId="374"/>
            <ac:spMk id="1961" creationId="{760768D9-3C89-A498-D1BB-30A29892403C}"/>
          </ac:spMkLst>
        </pc:spChg>
        <pc:spChg chg="add del mod replST">
          <ac:chgData name="Merlin Gutter" userId="2abc6f04-74af-430b-bdc8-569c3bfa1dda" providerId="ADAL" clId="{CB1EFBC3-10F5-3048-8961-5969497C0019}" dt="2022-11-23T22:51:28.190" v="126705"/>
          <ac:spMkLst>
            <pc:docMk/>
            <pc:sldMk cId="3735846079" sldId="374"/>
            <ac:spMk id="1962" creationId="{53908589-8078-8AE0-080B-F3BE7C432382}"/>
          </ac:spMkLst>
        </pc:spChg>
        <pc:spChg chg="add del mod replST">
          <ac:chgData name="Merlin Gutter" userId="2abc6f04-74af-430b-bdc8-569c3bfa1dda" providerId="ADAL" clId="{CB1EFBC3-10F5-3048-8961-5969497C0019}" dt="2022-11-23T22:50:59.826" v="126584"/>
          <ac:spMkLst>
            <pc:docMk/>
            <pc:sldMk cId="3735846079" sldId="374"/>
            <ac:spMk id="1970" creationId="{7B0F116C-ED17-1D1F-B626-AE486A1F49CB}"/>
          </ac:spMkLst>
        </pc:spChg>
        <pc:spChg chg="add del mod modVis">
          <ac:chgData name="Merlin Gutter" userId="2abc6f04-74af-430b-bdc8-569c3bfa1dda" providerId="ADAL" clId="{CB1EFBC3-10F5-3048-8961-5969497C0019}" dt="2022-11-23T22:50:58.147" v="126570"/>
          <ac:spMkLst>
            <pc:docMk/>
            <pc:sldMk cId="3735846079" sldId="374"/>
            <ac:spMk id="1971" creationId="{9631B76E-2C3D-C2CD-174B-8B37236078E5}"/>
          </ac:spMkLst>
        </pc:spChg>
        <pc:spChg chg="add del mod modVis">
          <ac:chgData name="Merlin Gutter" userId="2abc6f04-74af-430b-bdc8-569c3bfa1dda" providerId="ADAL" clId="{CB1EFBC3-10F5-3048-8961-5969497C0019}" dt="2022-11-23T22:51:28.290" v="126895"/>
          <ac:spMkLst>
            <pc:docMk/>
            <pc:sldMk cId="3735846079" sldId="374"/>
            <ac:spMk id="1975" creationId="{AABBB423-02A5-F5AD-AA47-91BBE671506C}"/>
          </ac:spMkLst>
        </pc:spChg>
        <pc:spChg chg="add del mod modVis">
          <ac:chgData name="Merlin Gutter" userId="2abc6f04-74af-430b-bdc8-569c3bfa1dda" providerId="ADAL" clId="{CB1EFBC3-10F5-3048-8961-5969497C0019}" dt="2022-11-23T22:51:32.957" v="127160"/>
          <ac:spMkLst>
            <pc:docMk/>
            <pc:sldMk cId="3735846079" sldId="374"/>
            <ac:spMk id="1979" creationId="{30270591-F04C-F1EA-1707-95EF586B71E6}"/>
          </ac:spMkLst>
        </pc:spChg>
        <pc:spChg chg="add mod replST">
          <ac:chgData name="Merlin Gutter" userId="2abc6f04-74af-430b-bdc8-569c3bfa1dda" providerId="ADAL" clId="{CB1EFBC3-10F5-3048-8961-5969497C0019}" dt="2022-11-23T22:57:01.024" v="130354"/>
          <ac:spMkLst>
            <pc:docMk/>
            <pc:sldMk cId="3735846079" sldId="374"/>
            <ac:spMk id="1981" creationId="{15D6A983-0F1E-9F92-C0F7-CE738691772C}"/>
          </ac:spMkLst>
        </pc:spChg>
        <pc:spChg chg="add mod replST">
          <ac:chgData name="Merlin Gutter" userId="2abc6f04-74af-430b-bdc8-569c3bfa1dda" providerId="ADAL" clId="{CB1EFBC3-10F5-3048-8961-5969497C0019}" dt="2022-11-23T22:57:01.023" v="130351"/>
          <ac:spMkLst>
            <pc:docMk/>
            <pc:sldMk cId="3735846079" sldId="374"/>
            <ac:spMk id="1982" creationId="{906D4B9A-ED4B-CCC3-B835-8C7D2491E3B3}"/>
          </ac:spMkLst>
        </pc:spChg>
        <pc:spChg chg="add mod replST">
          <ac:chgData name="Merlin Gutter" userId="2abc6f04-74af-430b-bdc8-569c3bfa1dda" providerId="ADAL" clId="{CB1EFBC3-10F5-3048-8961-5969497C0019}" dt="2022-11-23T22:57:01.023" v="130353"/>
          <ac:spMkLst>
            <pc:docMk/>
            <pc:sldMk cId="3735846079" sldId="374"/>
            <ac:spMk id="1983" creationId="{BBE2D43E-5BFA-0E7B-D394-8EA9A4D02660}"/>
          </ac:spMkLst>
        </pc:spChg>
        <pc:spChg chg="add mod">
          <ac:chgData name="Merlin Gutter" userId="2abc6f04-74af-430b-bdc8-569c3bfa1dda" providerId="ADAL" clId="{CB1EFBC3-10F5-3048-8961-5969497C0019}" dt="2022-11-13T01:17:28.092" v="55068" actId="947"/>
          <ac:spMkLst>
            <pc:docMk/>
            <pc:sldMk cId="3735846079" sldId="374"/>
            <ac:spMk id="2147" creationId="{6C7EEC2B-338B-94F2-CD06-311183679433}"/>
          </ac:spMkLst>
        </pc:spChg>
        <pc:spChg chg="add mod">
          <ac:chgData name="Merlin Gutter" userId="2abc6f04-74af-430b-bdc8-569c3bfa1dda" providerId="ADAL" clId="{CB1EFBC3-10F5-3048-8961-5969497C0019}" dt="2022-11-13T01:17:28.290" v="55076" actId="947"/>
          <ac:spMkLst>
            <pc:docMk/>
            <pc:sldMk cId="3735846079" sldId="374"/>
            <ac:spMk id="2148" creationId="{27259E55-0C13-96FC-26E5-EE8F80D12A4E}"/>
          </ac:spMkLst>
        </pc:spChg>
        <pc:spChg chg="add mod">
          <ac:chgData name="Merlin Gutter" userId="2abc6f04-74af-430b-bdc8-569c3bfa1dda" providerId="ADAL" clId="{CB1EFBC3-10F5-3048-8961-5969497C0019}" dt="2022-11-13T01:17:28.239" v="55074" actId="947"/>
          <ac:spMkLst>
            <pc:docMk/>
            <pc:sldMk cId="3735846079" sldId="374"/>
            <ac:spMk id="2149" creationId="{8D1AF2FF-074A-1A7E-4166-D6D18BBC9842}"/>
          </ac:spMkLst>
        </pc:spChg>
        <pc:spChg chg="add mod">
          <ac:chgData name="Merlin Gutter" userId="2abc6f04-74af-430b-bdc8-569c3bfa1dda" providerId="ADAL" clId="{CB1EFBC3-10F5-3048-8961-5969497C0019}" dt="2022-11-13T01:17:28.190" v="55072" actId="947"/>
          <ac:spMkLst>
            <pc:docMk/>
            <pc:sldMk cId="3735846079" sldId="374"/>
            <ac:spMk id="2150" creationId="{8067F7C0-FCC4-7468-5D9A-807C9F052CD6}"/>
          </ac:spMkLst>
        </pc:spChg>
        <pc:spChg chg="add mod">
          <ac:chgData name="Merlin Gutter" userId="2abc6f04-74af-430b-bdc8-569c3bfa1dda" providerId="ADAL" clId="{CB1EFBC3-10F5-3048-8961-5969497C0019}" dt="2022-11-13T01:17:28.141" v="55070" actId="947"/>
          <ac:spMkLst>
            <pc:docMk/>
            <pc:sldMk cId="3735846079" sldId="374"/>
            <ac:spMk id="2151" creationId="{8549C03D-BFA1-24BF-81FC-B56950D00F49}"/>
          </ac:spMkLst>
        </pc:spChg>
        <pc:spChg chg="add del mod">
          <ac:chgData name="Merlin Gutter" userId="2abc6f04-74af-430b-bdc8-569c3bfa1dda" providerId="ADAL" clId="{CB1EFBC3-10F5-3048-8961-5969497C0019}" dt="2022-11-13T00:28:37.873" v="47709" actId="478"/>
          <ac:spMkLst>
            <pc:docMk/>
            <pc:sldMk cId="3735846079" sldId="374"/>
            <ac:spMk id="2152" creationId="{C8D4DFF1-E21D-3C08-D1DD-C709AFD1FACF}"/>
          </ac:spMkLst>
        </pc:spChg>
        <pc:spChg chg="add del mod topLvl">
          <ac:chgData name="Merlin Gutter" userId="2abc6f04-74af-430b-bdc8-569c3bfa1dda" providerId="ADAL" clId="{CB1EFBC3-10F5-3048-8961-5969497C0019}" dt="2022-11-23T18:48:46.996" v="117892" actId="164"/>
          <ac:spMkLst>
            <pc:docMk/>
            <pc:sldMk cId="3735846079" sldId="374"/>
            <ac:spMk id="2158" creationId="{0CCD4919-BC8B-11DA-9DE5-4D0C912C612D}"/>
          </ac:spMkLst>
        </pc:spChg>
        <pc:spChg chg="add mod">
          <ac:chgData name="Merlin Gutter" userId="2abc6f04-74af-430b-bdc8-569c3bfa1dda" providerId="ADAL" clId="{CB1EFBC3-10F5-3048-8961-5969497C0019}" dt="2022-11-23T18:48:46.996" v="117892" actId="164"/>
          <ac:spMkLst>
            <pc:docMk/>
            <pc:sldMk cId="3735846079" sldId="374"/>
            <ac:spMk id="2162" creationId="{AE753414-3674-7EB9-EDD5-85E2A0A91039}"/>
          </ac:spMkLst>
        </pc:spChg>
        <pc:spChg chg="mod">
          <ac:chgData name="Merlin Gutter" userId="2abc6f04-74af-430b-bdc8-569c3bfa1dda" providerId="ADAL" clId="{CB1EFBC3-10F5-3048-8961-5969497C0019}" dt="2022-11-13T01:17:28.347" v="55092" actId="947"/>
          <ac:spMkLst>
            <pc:docMk/>
            <pc:sldMk cId="3735846079" sldId="374"/>
            <ac:spMk id="2167" creationId="{3F7724B0-CD50-23AC-C7E6-6A10086D3F6F}"/>
          </ac:spMkLst>
        </pc:spChg>
        <pc:spChg chg="mod">
          <ac:chgData name="Merlin Gutter" userId="2abc6f04-74af-430b-bdc8-569c3bfa1dda" providerId="ADAL" clId="{CB1EFBC3-10F5-3048-8961-5969497C0019}" dt="2022-11-13T01:17:28.345" v="55090" actId="20577"/>
          <ac:spMkLst>
            <pc:docMk/>
            <pc:sldMk cId="3735846079" sldId="374"/>
            <ac:spMk id="2168" creationId="{874F20AB-CDFB-31F1-8C9D-BC103C52B6B5}"/>
          </ac:spMkLst>
        </pc:spChg>
        <pc:spChg chg="add mod">
          <ac:chgData name="Merlin Gutter" userId="2abc6f04-74af-430b-bdc8-569c3bfa1dda" providerId="ADAL" clId="{CB1EFBC3-10F5-3048-8961-5969497C0019}" dt="2022-11-23T22:57:01.021" v="130343"/>
          <ac:spMkLst>
            <pc:docMk/>
            <pc:sldMk cId="3735846079" sldId="374"/>
            <ac:spMk id="2169" creationId="{D5312260-CB52-B673-3B12-FA866611CD17}"/>
          </ac:spMkLst>
        </pc:spChg>
        <pc:spChg chg="add mod">
          <ac:chgData name="Merlin Gutter" userId="2abc6f04-74af-430b-bdc8-569c3bfa1dda" providerId="ADAL" clId="{CB1EFBC3-10F5-3048-8961-5969497C0019}" dt="2022-11-23T18:48:46.996" v="117892" actId="164"/>
          <ac:spMkLst>
            <pc:docMk/>
            <pc:sldMk cId="3735846079" sldId="374"/>
            <ac:spMk id="2170" creationId="{545031EB-D892-E62B-1A39-1AFC02183161}"/>
          </ac:spMkLst>
        </pc:spChg>
        <pc:grpChg chg="add 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7" creationId="{CC3873AB-01DF-66EE-5A71-9814C0DB7FC4}"/>
          </ac:grpSpMkLst>
        </pc:grpChg>
        <pc:grpChg chg="mod topLvl">
          <ac:chgData name="Merlin Gutter" userId="2abc6f04-74af-430b-bdc8-569c3bfa1dda" providerId="ADAL" clId="{CB1EFBC3-10F5-3048-8961-5969497C0019}" dt="2022-11-23T22:57:01.020" v="130338"/>
          <ac:grpSpMkLst>
            <pc:docMk/>
            <pc:sldMk cId="3735846079" sldId="374"/>
            <ac:grpSpMk id="13" creationId="{8BEFBFC9-44C6-0D27-910B-21645A8B880D}"/>
          </ac:grpSpMkLst>
        </pc:grpChg>
        <pc:grpChg chg="mod topLvl">
          <ac:chgData name="Merlin Gutter" userId="2abc6f04-74af-430b-bdc8-569c3bfa1dda" providerId="ADAL" clId="{CB1EFBC3-10F5-3048-8961-5969497C0019}" dt="2022-11-23T22:57:01.019" v="130334"/>
          <ac:grpSpMkLst>
            <pc:docMk/>
            <pc:sldMk cId="3735846079" sldId="374"/>
            <ac:grpSpMk id="14" creationId="{7E5406B6-C6BE-AE3F-701D-D8816BCC8B0C}"/>
          </ac:grpSpMkLst>
        </pc:grpChg>
        <pc:grpChg chg="mod topLvl">
          <ac:chgData name="Merlin Gutter" userId="2abc6f04-74af-430b-bdc8-569c3bfa1dda" providerId="ADAL" clId="{CB1EFBC3-10F5-3048-8961-5969497C0019}" dt="2022-11-23T22:57:01.020" v="130337"/>
          <ac:grpSpMkLst>
            <pc:docMk/>
            <pc:sldMk cId="3735846079" sldId="374"/>
            <ac:grpSpMk id="15" creationId="{653C55EE-3A17-4A64-A947-90688B5DDB42}"/>
          </ac:grpSpMkLst>
        </pc:grpChg>
        <pc:grpChg chg="mod topLvl">
          <ac:chgData name="Merlin Gutter" userId="2abc6f04-74af-430b-bdc8-569c3bfa1dda" providerId="ADAL" clId="{CB1EFBC3-10F5-3048-8961-5969497C0019}" dt="2022-11-23T22:57:01.020" v="130336"/>
          <ac:grpSpMkLst>
            <pc:docMk/>
            <pc:sldMk cId="3735846079" sldId="374"/>
            <ac:grpSpMk id="18" creationId="{8D22FA1C-C709-EA3C-F4B8-EC848BB7CED5}"/>
          </ac:grpSpMkLst>
        </pc:grpChg>
        <pc:grpChg chg="mod topLvl">
          <ac:chgData name="Merlin Gutter" userId="2abc6f04-74af-430b-bdc8-569c3bfa1dda" providerId="ADAL" clId="{CB1EFBC3-10F5-3048-8961-5969497C0019}" dt="2022-11-23T22:57:01.019" v="130335"/>
          <ac:grpSpMkLst>
            <pc:docMk/>
            <pc:sldMk cId="3735846079" sldId="374"/>
            <ac:grpSpMk id="21" creationId="{BF17FEB8-5140-CAC1-D14E-C5ABD20FB94C}"/>
          </ac:grpSpMkLst>
        </pc:grpChg>
        <pc:grpChg chg="add del mod">
          <ac:chgData name="Merlin Gutter" userId="2abc6f04-74af-430b-bdc8-569c3bfa1dda" providerId="ADAL" clId="{CB1EFBC3-10F5-3048-8961-5969497C0019}" dt="2022-11-12T22:18:41.373" v="47526" actId="478"/>
          <ac:grpSpMkLst>
            <pc:docMk/>
            <pc:sldMk cId="3735846079" sldId="374"/>
            <ac:grpSpMk id="26" creationId="{B770E9ED-E0E1-89C8-F879-E44E8071A15D}"/>
          </ac:grpSpMkLst>
        </pc:grpChg>
        <pc:grpChg chg="add del mod">
          <ac:chgData name="Merlin Gutter" userId="2abc6f04-74af-430b-bdc8-569c3bfa1dda" providerId="ADAL" clId="{CB1EFBC3-10F5-3048-8961-5969497C0019}" dt="2022-11-23T18:48:55.929" v="117896" actId="478"/>
          <ac:grpSpMkLst>
            <pc:docMk/>
            <pc:sldMk cId="3735846079" sldId="374"/>
            <ac:grpSpMk id="30" creationId="{5564B97E-5EEA-CCDF-7207-45B2E49A22C9}"/>
          </ac:grpSpMkLst>
        </pc:grpChg>
        <pc:grpChg chg="add del mod">
          <ac:chgData name="Merlin Gutter" userId="2abc6f04-74af-430b-bdc8-569c3bfa1dda" providerId="ADAL" clId="{CB1EFBC3-10F5-3048-8961-5969497C0019}" dt="2022-11-12T21:19:03.889" v="46311" actId="165"/>
          <ac:grpSpMkLst>
            <pc:docMk/>
            <pc:sldMk cId="3735846079" sldId="374"/>
            <ac:grpSpMk id="30" creationId="{722CEC38-C569-C287-69C9-6D1A4A58D7D0}"/>
          </ac:grpSpMkLst>
        </pc:grpChg>
        <pc:grpChg chg="add del mod">
          <ac:chgData name="Merlin Gutter" userId="2abc6f04-74af-430b-bdc8-569c3bfa1dda" providerId="ADAL" clId="{CB1EFBC3-10F5-3048-8961-5969497C0019}" dt="2022-11-12T21:19:03.889" v="46311" actId="165"/>
          <ac:grpSpMkLst>
            <pc:docMk/>
            <pc:sldMk cId="3735846079" sldId="374"/>
            <ac:grpSpMk id="31" creationId="{A0417D34-E2C3-A853-FE9D-5A6881A76203}"/>
          </ac:grpSpMkLst>
        </pc:grpChg>
        <pc:grpChg chg="add del mod">
          <ac:chgData name="Merlin Gutter" userId="2abc6f04-74af-430b-bdc8-569c3bfa1dda" providerId="ADAL" clId="{CB1EFBC3-10F5-3048-8961-5969497C0019}" dt="2022-11-23T18:48:49.041" v="117894" actId="478"/>
          <ac:grpSpMkLst>
            <pc:docMk/>
            <pc:sldMk cId="3735846079" sldId="374"/>
            <ac:grpSpMk id="31" creationId="{C60BAC96-A5D0-BA2B-A098-94758318D3DB}"/>
          </ac:grpSpMkLst>
        </pc:grpChg>
        <pc:grpChg chg="add del mod">
          <ac:chgData name="Merlin Gutter" userId="2abc6f04-74af-430b-bdc8-569c3bfa1dda" providerId="ADAL" clId="{CB1EFBC3-10F5-3048-8961-5969497C0019}" dt="2022-11-12T21:19:03.889" v="46311" actId="165"/>
          <ac:grpSpMkLst>
            <pc:docMk/>
            <pc:sldMk cId="3735846079" sldId="374"/>
            <ac:grpSpMk id="32" creationId="{5879997D-245E-3911-AF36-6D7C1D04AA60}"/>
          </ac:grpSpMkLst>
        </pc:grpChg>
        <pc:grpChg chg="add 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36" creationId="{BEF5ECCC-3201-451D-B5CF-519BCDDE6AA1}"/>
          </ac:grpSpMkLst>
        </pc:grpChg>
        <pc:grpChg chg="add 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37" creationId="{01FE7EEF-51C2-B3A4-F674-0E4A900C9076}"/>
          </ac:grpSpMkLst>
        </pc:grpChg>
        <pc:grpChg chg="add 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38" creationId="{A8341061-F83F-1A2B-E139-20A5786AAFF0}"/>
          </ac:grpSpMkLst>
        </pc:grpChg>
        <pc:grpChg chg="add 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39" creationId="{2CD92CD4-9496-74D0-9AD7-D888D8E21D10}"/>
          </ac:grpSpMkLst>
        </pc:grpChg>
        <pc:grpChg chg="add del mod topLvl">
          <ac:chgData name="Merlin Gutter" userId="2abc6f04-74af-430b-bdc8-569c3bfa1dda" providerId="ADAL" clId="{CB1EFBC3-10F5-3048-8961-5969497C0019}" dt="2022-11-12T21:47:14.294" v="46837" actId="165"/>
          <ac:grpSpMkLst>
            <pc:docMk/>
            <pc:sldMk cId="3735846079" sldId="374"/>
            <ac:grpSpMk id="42" creationId="{E80AC026-B2EF-11E3-AEF5-E8166186DB3C}"/>
          </ac:grpSpMkLst>
        </pc:grpChg>
        <pc:grpChg chg="add del mod topLvl">
          <ac:chgData name="Merlin Gutter" userId="2abc6f04-74af-430b-bdc8-569c3bfa1dda" providerId="ADAL" clId="{CB1EFBC3-10F5-3048-8961-5969497C0019}" dt="2022-11-12T21:47:14.294" v="46837" actId="165"/>
          <ac:grpSpMkLst>
            <pc:docMk/>
            <pc:sldMk cId="3735846079" sldId="374"/>
            <ac:grpSpMk id="43" creationId="{FA1CC8F4-DC16-2EE9-7B2C-79B8C4907AFE}"/>
          </ac:grpSpMkLst>
        </pc:grpChg>
        <pc:grpChg chg="add del mod">
          <ac:chgData name="Merlin Gutter" userId="2abc6f04-74af-430b-bdc8-569c3bfa1dda" providerId="ADAL" clId="{CB1EFBC3-10F5-3048-8961-5969497C0019}" dt="2022-11-12T21:27:33.091" v="46393" actId="165"/>
          <ac:grpSpMkLst>
            <pc:docMk/>
            <pc:sldMk cId="3735846079" sldId="374"/>
            <ac:grpSpMk id="44" creationId="{9C2A16A0-C738-A064-F598-D911D94E52F4}"/>
          </ac:grpSpMkLst>
        </pc:grpChg>
        <pc:grpChg chg="add del mod topLvl">
          <ac:chgData name="Merlin Gutter" userId="2abc6f04-74af-430b-bdc8-569c3bfa1dda" providerId="ADAL" clId="{CB1EFBC3-10F5-3048-8961-5969497C0019}" dt="2022-11-12T21:47:14.294" v="46837" actId="165"/>
          <ac:grpSpMkLst>
            <pc:docMk/>
            <pc:sldMk cId="3735846079" sldId="374"/>
            <ac:grpSpMk id="45" creationId="{9B14753D-A612-87EE-01E4-1C73682FD146}"/>
          </ac:grpSpMkLst>
        </pc:grpChg>
        <pc:grpChg chg="add del mod topLvl">
          <ac:chgData name="Merlin Gutter" userId="2abc6f04-74af-430b-bdc8-569c3bfa1dda" providerId="ADAL" clId="{CB1EFBC3-10F5-3048-8961-5969497C0019}" dt="2022-11-12T21:47:14.294" v="46837" actId="165"/>
          <ac:grpSpMkLst>
            <pc:docMk/>
            <pc:sldMk cId="3735846079" sldId="374"/>
            <ac:grpSpMk id="46" creationId="{2465A46C-EF27-A8D5-EA03-60F6C9553C19}"/>
          </ac:grpSpMkLst>
        </pc:grpChg>
        <pc:grpChg chg="add del mod topLvl">
          <ac:chgData name="Merlin Gutter" userId="2abc6f04-74af-430b-bdc8-569c3bfa1dda" providerId="ADAL" clId="{CB1EFBC3-10F5-3048-8961-5969497C0019}" dt="2022-11-12T21:47:14.294" v="46837" actId="165"/>
          <ac:grpSpMkLst>
            <pc:docMk/>
            <pc:sldMk cId="3735846079" sldId="374"/>
            <ac:grpSpMk id="47" creationId="{D2A0EAF2-B1C6-51EC-253C-0830A483DF71}"/>
          </ac:grpSpMkLst>
        </pc:grpChg>
        <pc:grpChg chg="add del mod">
          <ac:chgData name="Merlin Gutter" userId="2abc6f04-74af-430b-bdc8-569c3bfa1dda" providerId="ADAL" clId="{CB1EFBC3-10F5-3048-8961-5969497C0019}" dt="2022-11-12T21:37:58.802" v="46734" actId="165"/>
          <ac:grpSpMkLst>
            <pc:docMk/>
            <pc:sldMk cId="3735846079" sldId="374"/>
            <ac:grpSpMk id="50" creationId="{39F735F8-4EF7-0FBB-4591-5E476F956F6B}"/>
          </ac:grpSpMkLst>
        </pc:grpChg>
        <pc:grpChg chg="add del mod">
          <ac:chgData name="Merlin Gutter" userId="2abc6f04-74af-430b-bdc8-569c3bfa1dda" providerId="ADAL" clId="{CB1EFBC3-10F5-3048-8961-5969497C0019}" dt="2022-11-12T21:46:41.953" v="46831" actId="478"/>
          <ac:grpSpMkLst>
            <pc:docMk/>
            <pc:sldMk cId="3735846079" sldId="374"/>
            <ac:grpSpMk id="53" creationId="{482A797E-6108-1670-07F5-8FA81CCCE8FE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54" creationId="{E8702C3A-4587-6527-3B96-F5C39A4DC92C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55" creationId="{C298E6EB-7E5D-BA62-4899-804C8D27E76C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56" creationId="{64A6E7F5-D720-AEE0-AEA0-E691B3DA0610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57" creationId="{14B76BBB-5595-5CD1-D332-85B0465630AE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58" creationId="{05A21955-3839-B199-A78F-20091A431CB6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59" creationId="{AA94F902-1D37-0865-EA43-103ABC479F44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60" creationId="{AAC7DB5D-A65E-8421-7FB9-4722B639992C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61" creationId="{D7AB6458-7309-C4B4-BE6E-2AE9BA07204A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62" creationId="{FC9E742F-1BA6-2745-EAC5-A36334627A23}"/>
          </ac:grpSpMkLst>
        </pc:grpChg>
        <pc:grpChg chg="mod">
          <ac:chgData name="Merlin Gutter" userId="2abc6f04-74af-430b-bdc8-569c3bfa1dda" providerId="ADAL" clId="{CB1EFBC3-10F5-3048-8961-5969497C0019}" dt="2022-11-12T21:44:23.495" v="46801"/>
          <ac:grpSpMkLst>
            <pc:docMk/>
            <pc:sldMk cId="3735846079" sldId="374"/>
            <ac:grpSpMk id="63" creationId="{83650464-D6A1-1462-157F-047B76EF0AF9}"/>
          </ac:grpSpMkLst>
        </pc:grpChg>
        <pc:grpChg chg="add mod">
          <ac:chgData name="Merlin Gutter" userId="2abc6f04-74af-430b-bdc8-569c3bfa1dda" providerId="ADAL" clId="{CB1EFBC3-10F5-3048-8961-5969497C0019}" dt="2022-11-12T21:50:21.077" v="46868" actId="207"/>
          <ac:grpSpMkLst>
            <pc:docMk/>
            <pc:sldMk cId="3735846079" sldId="374"/>
            <ac:grpSpMk id="174" creationId="{056F6366-3D55-47F6-0C50-B35CABAFF404}"/>
          </ac:grpSpMkLst>
        </pc:grpChg>
        <pc:grpChg chg="add mod">
          <ac:chgData name="Merlin Gutter" userId="2abc6f04-74af-430b-bdc8-569c3bfa1dda" providerId="ADAL" clId="{CB1EFBC3-10F5-3048-8961-5969497C0019}" dt="2022-11-12T21:50:21.077" v="46868" actId="207"/>
          <ac:grpSpMkLst>
            <pc:docMk/>
            <pc:sldMk cId="3735846079" sldId="374"/>
            <ac:grpSpMk id="225" creationId="{DEFA3CDB-1595-DDEC-6A07-E75FC84CD873}"/>
          </ac:grpSpMkLst>
        </pc:grpChg>
        <pc:grpChg chg="add del mod">
          <ac:chgData name="Merlin Gutter" userId="2abc6f04-74af-430b-bdc8-569c3bfa1dda" providerId="ADAL" clId="{CB1EFBC3-10F5-3048-8961-5969497C0019}" dt="2022-11-12T22:19:09.309" v="47537" actId="478"/>
          <ac:grpSpMkLst>
            <pc:docMk/>
            <pc:sldMk cId="3735846079" sldId="374"/>
            <ac:grpSpMk id="276" creationId="{9D4AA1BB-E649-FFBC-CB44-DBBF4A95B230}"/>
          </ac:grpSpMkLst>
        </pc:grpChg>
        <pc:grpChg chg="add del mod topLvl">
          <ac:chgData name="Merlin Gutter" userId="2abc6f04-74af-430b-bdc8-569c3bfa1dda" providerId="ADAL" clId="{CB1EFBC3-10F5-3048-8961-5969497C0019}" dt="2022-11-12T21:47:51.009" v="46848" actId="165"/>
          <ac:grpSpMkLst>
            <pc:docMk/>
            <pc:sldMk cId="3735846079" sldId="374"/>
            <ac:grpSpMk id="277" creationId="{1DEFD7C3-3156-8221-C5BB-DBAB3545BD04}"/>
          </ac:grpSpMkLst>
        </pc:grpChg>
        <pc:grpChg chg="add del mod topLvl">
          <ac:chgData name="Merlin Gutter" userId="2abc6f04-74af-430b-bdc8-569c3bfa1dda" providerId="ADAL" clId="{CB1EFBC3-10F5-3048-8961-5969497C0019}" dt="2022-11-12T21:47:51.009" v="46848" actId="165"/>
          <ac:grpSpMkLst>
            <pc:docMk/>
            <pc:sldMk cId="3735846079" sldId="374"/>
            <ac:grpSpMk id="278" creationId="{17F0B14D-9F2B-51C8-8707-98451B1D7A56}"/>
          </ac:grpSpMkLst>
        </pc:grpChg>
        <pc:grpChg chg="add del mod topLvl">
          <ac:chgData name="Merlin Gutter" userId="2abc6f04-74af-430b-bdc8-569c3bfa1dda" providerId="ADAL" clId="{CB1EFBC3-10F5-3048-8961-5969497C0019}" dt="2022-11-12T21:47:51.009" v="46848" actId="165"/>
          <ac:grpSpMkLst>
            <pc:docMk/>
            <pc:sldMk cId="3735846079" sldId="374"/>
            <ac:grpSpMk id="279" creationId="{7CC0DBEF-1B5A-37E2-8FB8-095F57A0065A}"/>
          </ac:grpSpMkLst>
        </pc:grpChg>
        <pc:grpChg chg="add del mod">
          <ac:chgData name="Merlin Gutter" userId="2abc6f04-74af-430b-bdc8-569c3bfa1dda" providerId="ADAL" clId="{CB1EFBC3-10F5-3048-8961-5969497C0019}" dt="2022-11-12T21:47:49.843" v="46847" actId="165"/>
          <ac:grpSpMkLst>
            <pc:docMk/>
            <pc:sldMk cId="3735846079" sldId="374"/>
            <ac:grpSpMk id="280" creationId="{5495F516-2599-E86B-48B9-89177B99FF86}"/>
          </ac:grpSpMkLst>
        </pc:grpChg>
        <pc:grpChg chg="add del mod">
          <ac:chgData name="Merlin Gutter" userId="2abc6f04-74af-430b-bdc8-569c3bfa1dda" providerId="ADAL" clId="{CB1EFBC3-10F5-3048-8961-5969497C0019}" dt="2022-11-12T21:48:04.082" v="46851" actId="478"/>
          <ac:grpSpMkLst>
            <pc:docMk/>
            <pc:sldMk cId="3735846079" sldId="374"/>
            <ac:grpSpMk id="281" creationId="{83BEC27E-A99F-2E7A-E7EB-FCB4FF6A7C21}"/>
          </ac:grpSpMkLst>
        </pc:grpChg>
        <pc:grpChg chg="mod">
          <ac:chgData name="Merlin Gutter" userId="2abc6f04-74af-430b-bdc8-569c3bfa1dda" providerId="ADAL" clId="{CB1EFBC3-10F5-3048-8961-5969497C0019}" dt="2022-11-12T21:47:59.197" v="46849"/>
          <ac:grpSpMkLst>
            <pc:docMk/>
            <pc:sldMk cId="3735846079" sldId="374"/>
            <ac:grpSpMk id="282" creationId="{ABA863BD-6244-3CF8-A5A7-4ECCED02EA46}"/>
          </ac:grpSpMkLst>
        </pc:grpChg>
        <pc:grpChg chg="mod">
          <ac:chgData name="Merlin Gutter" userId="2abc6f04-74af-430b-bdc8-569c3bfa1dda" providerId="ADAL" clId="{CB1EFBC3-10F5-3048-8961-5969497C0019}" dt="2022-11-12T21:47:59.197" v="46849"/>
          <ac:grpSpMkLst>
            <pc:docMk/>
            <pc:sldMk cId="3735846079" sldId="374"/>
            <ac:grpSpMk id="283" creationId="{A2ADE42D-7106-F038-114E-DDA3808FF4FC}"/>
          </ac:grpSpMkLst>
        </pc:grpChg>
        <pc:grpChg chg="add del mod">
          <ac:chgData name="Merlin Gutter" userId="2abc6f04-74af-430b-bdc8-569c3bfa1dda" providerId="ADAL" clId="{CB1EFBC3-10F5-3048-8961-5969497C0019}" dt="2022-11-12T22:19:08.544" v="47536" actId="478"/>
          <ac:grpSpMkLst>
            <pc:docMk/>
            <pc:sldMk cId="3735846079" sldId="374"/>
            <ac:grpSpMk id="384" creationId="{0713E021-AD67-E3DD-790B-3D276EABF352}"/>
          </ac:grpSpMkLst>
        </pc:grpChg>
        <pc:grpChg chg="mod">
          <ac:chgData name="Merlin Gutter" userId="2abc6f04-74af-430b-bdc8-569c3bfa1dda" providerId="ADAL" clId="{CB1EFBC3-10F5-3048-8961-5969497C0019}" dt="2022-11-12T21:50:21.077" v="46868" actId="207"/>
          <ac:grpSpMkLst>
            <pc:docMk/>
            <pc:sldMk cId="3735846079" sldId="374"/>
            <ac:grpSpMk id="385" creationId="{1C4D9EB9-111C-D964-5D78-B44FF7DB466D}"/>
          </ac:grpSpMkLst>
        </pc:grpChg>
        <pc:grpChg chg="mod">
          <ac:chgData name="Merlin Gutter" userId="2abc6f04-74af-430b-bdc8-569c3bfa1dda" providerId="ADAL" clId="{CB1EFBC3-10F5-3048-8961-5969497C0019}" dt="2022-11-12T21:50:21.077" v="46868" actId="207"/>
          <ac:grpSpMkLst>
            <pc:docMk/>
            <pc:sldMk cId="3735846079" sldId="374"/>
            <ac:grpSpMk id="386" creationId="{AEB68987-EDB3-65E6-E1C7-A0C97279DD6D}"/>
          </ac:grpSpMkLst>
        </pc:grpChg>
        <pc:grpChg chg="add del mod">
          <ac:chgData name="Merlin Gutter" userId="2abc6f04-74af-430b-bdc8-569c3bfa1dda" providerId="ADAL" clId="{CB1EFBC3-10F5-3048-8961-5969497C0019}" dt="2022-11-12T22:19:07.639" v="47535" actId="478"/>
          <ac:grpSpMkLst>
            <pc:docMk/>
            <pc:sldMk cId="3735846079" sldId="374"/>
            <ac:grpSpMk id="487" creationId="{42C652B0-9EDC-9A35-EE40-06AEAC83BCE5}"/>
          </ac:grpSpMkLst>
        </pc:grpChg>
        <pc:grpChg chg="mod">
          <ac:chgData name="Merlin Gutter" userId="2abc6f04-74af-430b-bdc8-569c3bfa1dda" providerId="ADAL" clId="{CB1EFBC3-10F5-3048-8961-5969497C0019}" dt="2022-11-12T21:50:21.077" v="46868" actId="207"/>
          <ac:grpSpMkLst>
            <pc:docMk/>
            <pc:sldMk cId="3735846079" sldId="374"/>
            <ac:grpSpMk id="488" creationId="{24452BD7-380E-83A7-3270-DE3A22F494A3}"/>
          </ac:grpSpMkLst>
        </pc:grpChg>
        <pc:grpChg chg="mod">
          <ac:chgData name="Merlin Gutter" userId="2abc6f04-74af-430b-bdc8-569c3bfa1dda" providerId="ADAL" clId="{CB1EFBC3-10F5-3048-8961-5969497C0019}" dt="2022-11-12T21:50:21.077" v="46868" actId="207"/>
          <ac:grpSpMkLst>
            <pc:docMk/>
            <pc:sldMk cId="3735846079" sldId="374"/>
            <ac:grpSpMk id="489" creationId="{12111C91-7467-5C06-4967-126C0AE96835}"/>
          </ac:grpSpMkLst>
        </pc:grpChg>
        <pc:grpChg chg="add 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590" creationId="{A1AD2550-B231-BCF6-F8EC-F690D63CFF82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591" creationId="{FEB4314B-6291-FDCC-FBA9-124163F0E2DB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592" creationId="{9FB05DA7-A419-FEA6-42B4-4329506FFF07}"/>
          </ac:grpSpMkLst>
        </pc:grpChg>
        <pc:grpChg chg="add del mod">
          <ac:chgData name="Merlin Gutter" userId="2abc6f04-74af-430b-bdc8-569c3bfa1dda" providerId="ADAL" clId="{CB1EFBC3-10F5-3048-8961-5969497C0019}" dt="2022-11-12T21:58:32.321" v="47015" actId="478"/>
          <ac:grpSpMkLst>
            <pc:docMk/>
            <pc:sldMk cId="3735846079" sldId="374"/>
            <ac:grpSpMk id="693" creationId="{0C537F88-165E-7D04-13FA-AADFC4610103}"/>
          </ac:grpSpMkLst>
        </pc:grpChg>
        <pc:grpChg chg="mod">
          <ac:chgData name="Merlin Gutter" userId="2abc6f04-74af-430b-bdc8-569c3bfa1dda" providerId="ADAL" clId="{CB1EFBC3-10F5-3048-8961-5969497C0019}" dt="2022-11-12T21:50:21.077" v="46868" actId="207"/>
          <ac:grpSpMkLst>
            <pc:docMk/>
            <pc:sldMk cId="3735846079" sldId="374"/>
            <ac:grpSpMk id="694" creationId="{114811F8-9A92-E330-8E2B-3EA6D7D1E303}"/>
          </ac:grpSpMkLst>
        </pc:grpChg>
        <pc:grpChg chg="mod">
          <ac:chgData name="Merlin Gutter" userId="2abc6f04-74af-430b-bdc8-569c3bfa1dda" providerId="ADAL" clId="{CB1EFBC3-10F5-3048-8961-5969497C0019}" dt="2022-11-12T21:50:21.077" v="46868" actId="207"/>
          <ac:grpSpMkLst>
            <pc:docMk/>
            <pc:sldMk cId="3735846079" sldId="374"/>
            <ac:grpSpMk id="695" creationId="{4DDAE88D-0BE4-05F2-7966-0BCD1707CB21}"/>
          </ac:grpSpMkLst>
        </pc:grpChg>
        <pc:grpChg chg="add del mod topLvl">
          <ac:chgData name="Merlin Gutter" userId="2abc6f04-74af-430b-bdc8-569c3bfa1dda" providerId="ADAL" clId="{CB1EFBC3-10F5-3048-8961-5969497C0019}" dt="2022-11-13T00:20:14.319" v="47578" actId="478"/>
          <ac:grpSpMkLst>
            <pc:docMk/>
            <pc:sldMk cId="3735846079" sldId="374"/>
            <ac:grpSpMk id="784" creationId="{E618CFBB-70F2-0E99-24A7-B060198FE474}"/>
          </ac:grpSpMkLst>
        </pc:grpChg>
        <pc:grpChg chg="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785" creationId="{D63F347F-C542-E420-A790-9AA426A719AD}"/>
          </ac:grpSpMkLst>
        </pc:grpChg>
        <pc:grpChg chg="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786" creationId="{CF455992-F570-33E1-A608-8B66D1839AFD}"/>
          </ac:grpSpMkLst>
        </pc:grpChg>
        <pc:grpChg chg="add del mod">
          <ac:chgData name="Merlin Gutter" userId="2abc6f04-74af-430b-bdc8-569c3bfa1dda" providerId="ADAL" clId="{CB1EFBC3-10F5-3048-8961-5969497C0019}" dt="2022-11-12T22:18:02.730" v="47516" actId="478"/>
          <ac:grpSpMkLst>
            <pc:docMk/>
            <pc:sldMk cId="3735846079" sldId="374"/>
            <ac:grpSpMk id="796" creationId="{211814DD-F61E-A021-B288-1762E03EEAC4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797" creationId="{C9623248-010B-A3AA-85CA-0011D9BE973C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798" creationId="{039F6D8F-64EA-386A-3974-41987A5908D7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799" creationId="{D2518DC1-1922-0F44-793A-7ABC02DB53C5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0" creationId="{5E2D6557-B1F8-4BD9-2141-D744229D6E41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1" creationId="{690A6E61-817E-DC1A-FF91-8878989FADA5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2" creationId="{8B3BF470-C8CD-FDD6-F31A-A881E8EB1BD3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3" creationId="{240FF7E0-3DE0-9017-CB49-D687A26A9749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4" creationId="{F190DF8B-CA71-577F-681D-C3F3C3501F09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5" creationId="{86425060-5BC0-D3A7-8CDF-6727423D3CC8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6" creationId="{04D9F3D3-2662-9FF8-83CA-99C8DFAEFB56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7" creationId="{B4E2BAEE-B584-9156-0417-1941B8AA5541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8" creationId="{F4F14794-C3D6-8BAC-F563-3103445BBA0E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09" creationId="{B79A67B4-01DC-D99E-C807-D6154AACF62E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10" creationId="{76E84428-3745-5337-F868-CD8C03081772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11" creationId="{67AD856E-3EE2-DD3E-119D-963A87C0817B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12" creationId="{C3E3C991-5219-CAB1-A62D-C963D0681E08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13" creationId="{BEF30552-CCBA-F27D-9CB6-6635D8DAE060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14" creationId="{B98F1D9A-9F5F-A711-246E-B6E03CE6B72D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15" creationId="{FA33B300-B807-2475-FAA4-169812FE8853}"/>
          </ac:grpSpMkLst>
        </pc:grpChg>
        <pc:grpChg chg="mod">
          <ac:chgData name="Merlin Gutter" userId="2abc6f04-74af-430b-bdc8-569c3bfa1dda" providerId="ADAL" clId="{CB1EFBC3-10F5-3048-8961-5969497C0019}" dt="2022-11-12T21:58:33.124" v="47016"/>
          <ac:grpSpMkLst>
            <pc:docMk/>
            <pc:sldMk cId="3735846079" sldId="374"/>
            <ac:grpSpMk id="816" creationId="{BA369721-9E74-F182-4423-4DC3ED6FE305}"/>
          </ac:grpSpMkLst>
        </pc:grpChg>
        <pc:grpChg chg="add del mod">
          <ac:chgData name="Merlin Gutter" userId="2abc6f04-74af-430b-bdc8-569c3bfa1dda" providerId="ADAL" clId="{CB1EFBC3-10F5-3048-8961-5969497C0019}" dt="2022-11-12T22:18:59.879" v="47531" actId="478"/>
          <ac:grpSpMkLst>
            <pc:docMk/>
            <pc:sldMk cId="3735846079" sldId="374"/>
            <ac:grpSpMk id="1108" creationId="{FCBBF59A-6916-7C2E-5688-6805A0B40CFE}"/>
          </ac:grpSpMkLst>
        </pc:grpChg>
        <pc:grpChg chg="mod">
          <ac:chgData name="Merlin Gutter" userId="2abc6f04-74af-430b-bdc8-569c3bfa1dda" providerId="ADAL" clId="{CB1EFBC3-10F5-3048-8961-5969497C0019}" dt="2022-11-12T22:18:44.112" v="47527"/>
          <ac:grpSpMkLst>
            <pc:docMk/>
            <pc:sldMk cId="3735846079" sldId="374"/>
            <ac:grpSpMk id="1109" creationId="{E3D743B1-64C6-D70C-ADC1-746BA72DFD8D}"/>
          </ac:grpSpMkLst>
        </pc:grpChg>
        <pc:grpChg chg="mod">
          <ac:chgData name="Merlin Gutter" userId="2abc6f04-74af-430b-bdc8-569c3bfa1dda" providerId="ADAL" clId="{CB1EFBC3-10F5-3048-8961-5969497C0019}" dt="2022-11-12T22:18:44.112" v="47527"/>
          <ac:grpSpMkLst>
            <pc:docMk/>
            <pc:sldMk cId="3735846079" sldId="374"/>
            <ac:grpSpMk id="1110" creationId="{83CB9E44-3C01-3402-5815-DBCEBC87CA74}"/>
          </ac:grpSpMkLst>
        </pc:grpChg>
        <pc:grpChg chg="add del mod">
          <ac:chgData name="Merlin Gutter" userId="2abc6f04-74af-430b-bdc8-569c3bfa1dda" providerId="ADAL" clId="{CB1EFBC3-10F5-3048-8961-5969497C0019}" dt="2022-11-12T22:18:58.420" v="47530" actId="478"/>
          <ac:grpSpMkLst>
            <pc:docMk/>
            <pc:sldMk cId="3735846079" sldId="374"/>
            <ac:grpSpMk id="1211" creationId="{441C8093-1B20-98BA-6EC8-2AAA9EA4799F}"/>
          </ac:grpSpMkLst>
        </pc:grpChg>
        <pc:grpChg chg="mod">
          <ac:chgData name="Merlin Gutter" userId="2abc6f04-74af-430b-bdc8-569c3bfa1dda" providerId="ADAL" clId="{CB1EFBC3-10F5-3048-8961-5969497C0019}" dt="2022-11-12T22:18:44.112" v="47527"/>
          <ac:grpSpMkLst>
            <pc:docMk/>
            <pc:sldMk cId="3735846079" sldId="374"/>
            <ac:grpSpMk id="1212" creationId="{4747035D-2996-62C2-16C2-C9319D3436C7}"/>
          </ac:grpSpMkLst>
        </pc:grpChg>
        <pc:grpChg chg="mod">
          <ac:chgData name="Merlin Gutter" userId="2abc6f04-74af-430b-bdc8-569c3bfa1dda" providerId="ADAL" clId="{CB1EFBC3-10F5-3048-8961-5969497C0019}" dt="2022-11-12T22:18:44.112" v="47527"/>
          <ac:grpSpMkLst>
            <pc:docMk/>
            <pc:sldMk cId="3735846079" sldId="374"/>
            <ac:grpSpMk id="1213" creationId="{D19A6778-C8D5-1802-8AB2-0068BC5A543F}"/>
          </ac:grpSpMkLst>
        </pc:grpChg>
        <pc:grpChg chg="add del 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314" creationId="{51B7DCBD-3C0F-C5C1-3257-70DFEA684457}"/>
          </ac:grpSpMkLst>
        </pc:grpChg>
        <pc:grpChg chg="add del 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315" creationId="{57A86FBF-8770-55CC-9976-C6A3F5FE4051}"/>
          </ac:grpSpMkLst>
        </pc:grpChg>
        <pc:grpChg chg="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316" creationId="{CD794A5E-F777-2053-388B-44D3269C811B}"/>
          </ac:grpSpMkLst>
        </pc:grpChg>
        <pc:grpChg chg="del mod topLvl">
          <ac:chgData name="Merlin Gutter" userId="2abc6f04-74af-430b-bdc8-569c3bfa1dda" providerId="ADAL" clId="{CB1EFBC3-10F5-3048-8961-5969497C0019}" dt="2022-11-13T00:20:14.319" v="47578" actId="478"/>
          <ac:grpSpMkLst>
            <pc:docMk/>
            <pc:sldMk cId="3735846079" sldId="374"/>
            <ac:grpSpMk id="1317" creationId="{4A4ABC60-22F0-53B2-44DC-011A53EE1E9F}"/>
          </ac:grpSpMkLst>
        </pc:grpChg>
        <pc:grpChg chg="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318" creationId="{CEFF4776-CF51-6114-4A13-BE305A53A76F}"/>
          </ac:grpSpMkLst>
        </pc:grpChg>
        <pc:grpChg chg="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319" creationId="{FB9F37D2-6729-3074-ABD6-C30D24A45B7B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420" creationId="{6EE25EE3-7DBC-8CE7-9983-403DC2A315C2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421" creationId="{1D49A87A-E538-292F-D7A8-33BC1248C8E1}"/>
          </ac:grpSpMkLst>
        </pc:grpChg>
        <pc:grpChg chg="add del 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522" creationId="{8221BD94-25CC-EE4F-19F9-D02BAA99DAF3}"/>
          </ac:grpSpMkLst>
        </pc:grpChg>
        <pc:grpChg chg="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523" creationId="{DB1878E3-73C8-D0FE-B268-483ABB47898D}"/>
          </ac:grpSpMkLst>
        </pc:grpChg>
        <pc:grpChg chg="del mod topLvl">
          <ac:chgData name="Merlin Gutter" userId="2abc6f04-74af-430b-bdc8-569c3bfa1dda" providerId="ADAL" clId="{CB1EFBC3-10F5-3048-8961-5969497C0019}" dt="2022-11-13T00:20:14.319" v="47578" actId="478"/>
          <ac:grpSpMkLst>
            <pc:docMk/>
            <pc:sldMk cId="3735846079" sldId="374"/>
            <ac:grpSpMk id="1524" creationId="{1D3F2946-C177-1338-B3BC-AD44121BA396}"/>
          </ac:grpSpMkLst>
        </pc:grpChg>
        <pc:grpChg chg="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525" creationId="{60222194-F2EF-7E1B-5E49-2831FC892513}"/>
          </ac:grpSpMkLst>
        </pc:grpChg>
        <pc:grpChg chg="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526" creationId="{A043350F-4801-3C43-922C-49FA043AD97F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627" creationId="{3C7CD472-1197-DAC3-0CAF-FAF586C1FAA7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628" creationId="{E5C55535-E2DF-2161-6C98-42E3E7952CC5}"/>
          </ac:grpSpMkLst>
        </pc:grpChg>
        <pc:grpChg chg="add del 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729" creationId="{E18EC314-B524-18C1-A30C-4DEF400634CE}"/>
          </ac:grpSpMkLst>
        </pc:grpChg>
        <pc:grpChg chg="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730" creationId="{F0508CF2-2C63-405F-36B5-2A07E6C724AB}"/>
          </ac:grpSpMkLst>
        </pc:grpChg>
        <pc:grpChg chg="del mod topLvl">
          <ac:chgData name="Merlin Gutter" userId="2abc6f04-74af-430b-bdc8-569c3bfa1dda" providerId="ADAL" clId="{CB1EFBC3-10F5-3048-8961-5969497C0019}" dt="2022-11-13T00:20:14.319" v="47578" actId="478"/>
          <ac:grpSpMkLst>
            <pc:docMk/>
            <pc:sldMk cId="3735846079" sldId="374"/>
            <ac:grpSpMk id="1731" creationId="{6228F362-D9B7-8228-FAAB-37D03F889E98}"/>
          </ac:grpSpMkLst>
        </pc:grpChg>
        <pc:grpChg chg="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732" creationId="{DA709844-C36E-309D-5DA6-F80A4C1777E8}"/>
          </ac:grpSpMkLst>
        </pc:grpChg>
        <pc:grpChg chg="mod">
          <ac:chgData name="Merlin Gutter" userId="2abc6f04-74af-430b-bdc8-569c3bfa1dda" providerId="ADAL" clId="{CB1EFBC3-10F5-3048-8961-5969497C0019}" dt="2022-11-13T00:20:09.440" v="47577" actId="165"/>
          <ac:grpSpMkLst>
            <pc:docMk/>
            <pc:sldMk cId="3735846079" sldId="374"/>
            <ac:grpSpMk id="1733" creationId="{271D1FC3-C5BA-5D5C-32CC-D7E9037E421B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834" creationId="{173BFE3E-8D68-9B34-F324-CA420C335528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835" creationId="{BB5E80F1-14C7-5ADF-6865-90B5E978B4CB}"/>
          </ac:grpSpMkLst>
        </pc:grpChg>
        <pc:grpChg chg="add del mod">
          <ac:chgData name="Merlin Gutter" userId="2abc6f04-74af-430b-bdc8-569c3bfa1dda" providerId="ADAL" clId="{CB1EFBC3-10F5-3048-8961-5969497C0019}" dt="2022-11-13T00:19:59.210" v="47575" actId="165"/>
          <ac:grpSpMkLst>
            <pc:docMk/>
            <pc:sldMk cId="3735846079" sldId="374"/>
            <ac:grpSpMk id="1936" creationId="{4277A647-7F6F-9B53-65AE-D9B116BF881B}"/>
          </ac:grpSpMkLst>
        </pc:grpChg>
        <pc:grpChg chg="mod topLvl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1937" creationId="{9316451A-0BC3-7434-4688-D1EC8728E5A7}"/>
          </ac:grpSpMkLst>
        </pc:grpChg>
        <pc:grpChg chg="del mod topLvl">
          <ac:chgData name="Merlin Gutter" userId="2abc6f04-74af-430b-bdc8-569c3bfa1dda" providerId="ADAL" clId="{CB1EFBC3-10F5-3048-8961-5969497C0019}" dt="2022-11-13T00:20:01.538" v="47576" actId="478"/>
          <ac:grpSpMkLst>
            <pc:docMk/>
            <pc:sldMk cId="3735846079" sldId="374"/>
            <ac:grpSpMk id="1938" creationId="{DCFB79B4-C446-C1C9-A185-9375B52C1223}"/>
          </ac:grpSpMkLst>
        </pc:grpChg>
        <pc:grpChg chg="mod">
          <ac:chgData name="Merlin Gutter" userId="2abc6f04-74af-430b-bdc8-569c3bfa1dda" providerId="ADAL" clId="{CB1EFBC3-10F5-3048-8961-5969497C0019}" dt="2022-11-13T00:19:59.210" v="47575" actId="165"/>
          <ac:grpSpMkLst>
            <pc:docMk/>
            <pc:sldMk cId="3735846079" sldId="374"/>
            <ac:grpSpMk id="1939" creationId="{20E2576D-F046-922C-A782-54FC6DDEBB73}"/>
          </ac:grpSpMkLst>
        </pc:grpChg>
        <pc:grpChg chg="mod">
          <ac:chgData name="Merlin Gutter" userId="2abc6f04-74af-430b-bdc8-569c3bfa1dda" providerId="ADAL" clId="{CB1EFBC3-10F5-3048-8961-5969497C0019}" dt="2022-11-13T00:19:59.210" v="47575" actId="165"/>
          <ac:grpSpMkLst>
            <pc:docMk/>
            <pc:sldMk cId="3735846079" sldId="374"/>
            <ac:grpSpMk id="1940" creationId="{AE2B9C21-78A6-7D4C-C0FD-A4283A4EB2A5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041" creationId="{4FBA97FA-6B02-953D-3DFA-D1DA0460AA52}"/>
          </ac:grpSpMkLst>
        </pc:grpChg>
        <pc:grpChg chg="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042" creationId="{F0AB1652-8314-6C96-78A5-A4BDD75F25DF}"/>
          </ac:grpSpMkLst>
        </pc:grpChg>
        <pc:grpChg chg="add 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143" creationId="{DD0019F6-2DDE-F2A6-F758-600E05E04A7E}"/>
          </ac:grpSpMkLst>
        </pc:grpChg>
        <pc:grpChg chg="add 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146" creationId="{AAA6C3DA-71D1-F895-8A4B-E74E954D9533}"/>
          </ac:grpSpMkLst>
        </pc:grpChg>
        <pc:grpChg chg="add 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153" creationId="{0E9E7BD4-5D13-3118-2CB6-06B5F135AA90}"/>
          </ac:grpSpMkLst>
        </pc:grpChg>
        <pc:grpChg chg="add 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154" creationId="{9F5965EB-D68E-5800-0BD9-C078DE403A33}"/>
          </ac:grpSpMkLst>
        </pc:grpChg>
        <pc:grpChg chg="add 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155" creationId="{7C963771-955F-2D0B-4FE4-E08CA7D8224F}"/>
          </ac:grpSpMkLst>
        </pc:grpChg>
        <pc:grpChg chg="add 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156" creationId="{06935962-8CE0-D9BA-E686-420219E72F0A}"/>
          </ac:grpSpMkLst>
        </pc:grpChg>
        <pc:grpChg chg="add 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157" creationId="{6F74CC70-1F30-A6C5-5075-27B87EAF9E75}"/>
          </ac:grpSpMkLst>
        </pc:grpChg>
        <pc:grpChg chg="add mod topLvl">
          <ac:chgData name="Merlin Gutter" userId="2abc6f04-74af-430b-bdc8-569c3bfa1dda" providerId="ADAL" clId="{CB1EFBC3-10F5-3048-8961-5969497C0019}" dt="2022-11-23T22:57:01.021" v="130340"/>
          <ac:grpSpMkLst>
            <pc:docMk/>
            <pc:sldMk cId="3735846079" sldId="374"/>
            <ac:grpSpMk id="2159" creationId="{299781C7-1F31-9A46-3365-D58D1CD52529}"/>
          </ac:grpSpMkLst>
        </pc:grpChg>
        <pc:grpChg chg="add mod topLvl">
          <ac:chgData name="Merlin Gutter" userId="2abc6f04-74af-430b-bdc8-569c3bfa1dda" providerId="ADAL" clId="{CB1EFBC3-10F5-3048-8961-5969497C0019}" dt="2022-11-23T22:57:01.020" v="130339"/>
          <ac:grpSpMkLst>
            <pc:docMk/>
            <pc:sldMk cId="3735846079" sldId="374"/>
            <ac:grpSpMk id="2160" creationId="{7EA26B9C-5669-6864-AE72-BD3DB940C33A}"/>
          </ac:grpSpMkLst>
        </pc:grpChg>
        <pc:grpChg chg="add del mod">
          <ac:chgData name="Merlin Gutter" userId="2abc6f04-74af-430b-bdc8-569c3bfa1dda" providerId="ADAL" clId="{CB1EFBC3-10F5-3048-8961-5969497C0019}" dt="2022-11-13T00:38:43.708" v="47889" actId="165"/>
          <ac:grpSpMkLst>
            <pc:docMk/>
            <pc:sldMk cId="3735846079" sldId="374"/>
            <ac:grpSpMk id="2165" creationId="{B78BB85D-D0D4-4968-2684-2518F9D5DA10}"/>
          </ac:grpSpMkLst>
        </pc:grpChg>
        <pc:grpChg chg="add del mod">
          <ac:chgData name="Merlin Gutter" userId="2abc6f04-74af-430b-bdc8-569c3bfa1dda" providerId="ADAL" clId="{CB1EFBC3-10F5-3048-8961-5969497C0019}" dt="2022-11-23T18:49:03.895" v="117897" actId="478"/>
          <ac:grpSpMkLst>
            <pc:docMk/>
            <pc:sldMk cId="3735846079" sldId="374"/>
            <ac:grpSpMk id="2166" creationId="{104EE84C-B5E7-6544-91F2-25EA44427C89}"/>
          </ac:grpSpMkLst>
        </pc:grpChg>
        <pc:graphicFrameChg chg="add del mod">
          <ac:chgData name="Merlin Gutter" userId="2abc6f04-74af-430b-bdc8-569c3bfa1dda" providerId="ADAL" clId="{CB1EFBC3-10F5-3048-8961-5969497C0019}" dt="2022-11-12T21:04:17.469" v="46109" actId="478"/>
          <ac:graphicFrameMkLst>
            <pc:docMk/>
            <pc:sldMk cId="3735846079" sldId="374"/>
            <ac:graphicFrameMk id="26" creationId="{A2DD0F8F-159D-6730-3CA5-C9E09FEA4D8A}"/>
          </ac:graphicFrameMkLst>
        </pc:graphicFrameChg>
        <pc:graphicFrameChg chg="mod">
          <ac:chgData name="Merlin Gutter" userId="2abc6f04-74af-430b-bdc8-569c3bfa1dda" providerId="ADAL" clId="{CB1EFBC3-10F5-3048-8961-5969497C0019}" dt="2022-11-24T19:42:27.085" v="132207"/>
          <ac:graphicFrameMkLst>
            <pc:docMk/>
            <pc:sldMk cId="3735846079" sldId="374"/>
            <ac:graphicFrameMk id="33" creationId="{8376C383-093F-71E7-8E14-23D20051611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0:55:37.767" v="118238"/>
          <ac:graphicFrameMkLst>
            <pc:docMk/>
            <pc:sldMk cId="3735846079" sldId="374"/>
            <ac:graphicFrameMk id="50" creationId="{F3427467-7D4E-97CE-438A-E340662C079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9:10.453" v="124430"/>
          <ac:graphicFrameMkLst>
            <pc:docMk/>
            <pc:sldMk cId="3735846079" sldId="374"/>
            <ac:graphicFrameMk id="51" creationId="{E34EB6BF-2C2F-5748-7E5B-9E368E2593D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9:11.965" v="124517"/>
          <ac:graphicFrameMkLst>
            <pc:docMk/>
            <pc:sldMk cId="3735846079" sldId="374"/>
            <ac:graphicFrameMk id="53" creationId="{A944B1EF-7080-FC19-D539-48FC01F54C9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9:14.086" v="124604"/>
          <ac:graphicFrameMkLst>
            <pc:docMk/>
            <pc:sldMk cId="3735846079" sldId="374"/>
            <ac:graphicFrameMk id="55" creationId="{BC438E05-17F6-107E-8DFE-4164C8E5DA6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9:16.234" v="124769"/>
          <ac:graphicFrameMkLst>
            <pc:docMk/>
            <pc:sldMk cId="3735846079" sldId="374"/>
            <ac:graphicFrameMk id="57" creationId="{811B7EDF-8C67-7BF3-ECA9-BE994A78CD0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9:19.010" v="124858"/>
          <ac:graphicFrameMkLst>
            <pc:docMk/>
            <pc:sldMk cId="3735846079" sldId="374"/>
            <ac:graphicFrameMk id="60" creationId="{9D0DCD27-AF9C-A221-1E3C-BE393A5360F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9:21.304" v="125034"/>
          <ac:graphicFrameMkLst>
            <pc:docMk/>
            <pc:sldMk cId="3735846079" sldId="374"/>
            <ac:graphicFrameMk id="62" creationId="{48B75FDB-A6DD-2161-32DC-193BA676A9B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2:44.543" v="128792"/>
          <ac:graphicFrameMkLst>
            <pc:docMk/>
            <pc:sldMk cId="3735846079" sldId="374"/>
            <ac:graphicFrameMk id="72" creationId="{AD2CA705-A1B0-EA3F-F08B-C3A25F18772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2:46.592" v="129012"/>
          <ac:graphicFrameMkLst>
            <pc:docMk/>
            <pc:sldMk cId="3735846079" sldId="374"/>
            <ac:graphicFrameMk id="76" creationId="{3741FE8C-22AD-E888-D40A-E8EBFE748B0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2:53.089" v="129114"/>
          <ac:graphicFrameMkLst>
            <pc:docMk/>
            <pc:sldMk cId="3735846079" sldId="374"/>
            <ac:graphicFrameMk id="78" creationId="{F356FB9B-1172-73F3-609E-B203F519E38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3:00.355" v="129202"/>
          <ac:graphicFrameMkLst>
            <pc:docMk/>
            <pc:sldMk cId="3735846079" sldId="374"/>
            <ac:graphicFrameMk id="79" creationId="{D1CFBBEA-B247-B61C-3537-51366E1C48A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5:11.353" v="129449"/>
          <ac:graphicFrameMkLst>
            <pc:docMk/>
            <pc:sldMk cId="3735846079" sldId="374"/>
            <ac:graphicFrameMk id="80" creationId="{C4A2AE8F-30AB-291C-BAC7-F856193587C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5:12.762" v="129556"/>
          <ac:graphicFrameMkLst>
            <pc:docMk/>
            <pc:sldMk cId="3735846079" sldId="374"/>
            <ac:graphicFrameMk id="83" creationId="{39A24DB5-03D1-7C15-A919-A0EE35EE6E2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5:15.137" v="129617"/>
          <ac:graphicFrameMkLst>
            <pc:docMk/>
            <pc:sldMk cId="3735846079" sldId="374"/>
            <ac:graphicFrameMk id="85" creationId="{FBC6B94B-118B-3FF6-5F9C-6A89EB7BE25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6:43.213" v="129745"/>
          <ac:graphicFrameMkLst>
            <pc:docMk/>
            <pc:sldMk cId="3735846079" sldId="374"/>
            <ac:graphicFrameMk id="86" creationId="{D0C54435-13C4-4F20-5491-1EEE39583ED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6:45.033" v="129835"/>
          <ac:graphicFrameMkLst>
            <pc:docMk/>
            <pc:sldMk cId="3735846079" sldId="374"/>
            <ac:graphicFrameMk id="88" creationId="{F401034C-B583-8420-81ED-60F967EE744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6:54.090" v="130198"/>
          <ac:graphicFrameMkLst>
            <pc:docMk/>
            <pc:sldMk cId="3735846079" sldId="374"/>
            <ac:graphicFrameMk id="89" creationId="{EFBBBEBF-4C2F-FA52-A80E-9B57F1103833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3T22:56:53.609" v="129995"/>
          <ac:graphicFrameMkLst>
            <pc:docMk/>
            <pc:sldMk cId="3735846079" sldId="374"/>
            <ac:graphicFrameMk id="90" creationId="{FA30BDCA-84B6-3225-0BC8-4B9BD99BA4BC}"/>
          </ac:graphicFrameMkLst>
        </pc:graphicFrameChg>
        <pc:graphicFrameChg chg="del">
          <ac:chgData name="Merlin Gutter" userId="2abc6f04-74af-430b-bdc8-569c3bfa1dda" providerId="ADAL" clId="{CB1EFBC3-10F5-3048-8961-5969497C0019}" dt="2022-11-12T21:00:14.596" v="46086"/>
          <ac:graphicFrameMkLst>
            <pc:docMk/>
            <pc:sldMk cId="3735846079" sldId="374"/>
            <ac:graphicFrameMk id="91" creationId="{702D8DA2-1B83-26D4-6132-277336F480A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6:55.426" v="130261"/>
          <ac:graphicFrameMkLst>
            <pc:docMk/>
            <pc:sldMk cId="3735846079" sldId="374"/>
            <ac:graphicFrameMk id="93" creationId="{EC8F698A-618B-78EF-1167-DB9523585A5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7:05.175" v="130373"/>
          <ac:graphicFrameMkLst>
            <pc:docMk/>
            <pc:sldMk cId="3735846079" sldId="374"/>
            <ac:graphicFrameMk id="98" creationId="{12ED620C-6895-C457-ED8B-8233A8B7AD35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3T22:57:05.175" v="130373"/>
          <ac:graphicFrameMkLst>
            <pc:docMk/>
            <pc:sldMk cId="3735846079" sldId="374"/>
            <ac:graphicFrameMk id="99" creationId="{552F71E1-8E41-109C-8A64-8635F103A27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9:27.788" v="125212"/>
          <ac:graphicFrameMkLst>
            <pc:docMk/>
            <pc:sldMk cId="3735846079" sldId="374"/>
            <ac:graphicFrameMk id="1938" creationId="{CC541637-1CC3-54C7-19F4-23AA9FD4243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9:35.250" v="125398"/>
          <ac:graphicFrameMkLst>
            <pc:docMk/>
            <pc:sldMk cId="3735846079" sldId="374"/>
            <ac:graphicFrameMk id="1944" creationId="{34D5905A-F0D4-C07D-088C-6963325E020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9:38.127" v="125596"/>
          <ac:graphicFrameMkLst>
            <pc:docMk/>
            <pc:sldMk cId="3735846079" sldId="374"/>
            <ac:graphicFrameMk id="1949" creationId="{43C0DC4A-B333-D28B-2E98-1F9B7EF3AEF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04.127" v="125753"/>
          <ac:graphicFrameMkLst>
            <pc:docMk/>
            <pc:sldMk cId="3735846079" sldId="374"/>
            <ac:graphicFrameMk id="1954" creationId="{829DD76B-2B22-04CE-602A-53DC042AF23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09.396" v="125923"/>
          <ac:graphicFrameMkLst>
            <pc:docMk/>
            <pc:sldMk cId="3735846079" sldId="374"/>
            <ac:graphicFrameMk id="1956" creationId="{5D87D1E7-4ED7-643B-0E36-36802D0CEBE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15.513" v="125996"/>
          <ac:graphicFrameMkLst>
            <pc:docMk/>
            <pc:sldMk cId="3735846079" sldId="374"/>
            <ac:graphicFrameMk id="1963" creationId="{1EF0F12A-8284-48C3-1835-2AE9D394D62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21.062" v="126069"/>
          <ac:graphicFrameMkLst>
            <pc:docMk/>
            <pc:sldMk cId="3735846079" sldId="374"/>
            <ac:graphicFrameMk id="1964" creationId="{95AEACE2-7359-429F-FD55-C702C5D3442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26.467" v="126143"/>
          <ac:graphicFrameMkLst>
            <pc:docMk/>
            <pc:sldMk cId="3735846079" sldId="374"/>
            <ac:graphicFrameMk id="1965" creationId="{26D7E1A4-F01F-9D69-BECA-56E3B885137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38.143" v="126216"/>
          <ac:graphicFrameMkLst>
            <pc:docMk/>
            <pc:sldMk cId="3735846079" sldId="374"/>
            <ac:graphicFrameMk id="1966" creationId="{3AA3D629-A876-2375-7910-EDA71BDB6C3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43.657" v="126286"/>
          <ac:graphicFrameMkLst>
            <pc:docMk/>
            <pc:sldMk cId="3735846079" sldId="374"/>
            <ac:graphicFrameMk id="1967" creationId="{78ADC17A-4097-2897-AC7C-FA0FDBADC62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56.921" v="126372"/>
          <ac:graphicFrameMkLst>
            <pc:docMk/>
            <pc:sldMk cId="3735846079" sldId="374"/>
            <ac:graphicFrameMk id="1968" creationId="{5008AEA8-EC82-6E86-BF3D-DE4C64EFCFF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58.112" v="126525"/>
          <ac:graphicFrameMkLst>
            <pc:docMk/>
            <pc:sldMk cId="3735846079" sldId="374"/>
            <ac:graphicFrameMk id="1969" creationId="{DBCAC170-36FF-B302-182B-6C2F3E668FA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0:59.828" v="126586"/>
          <ac:graphicFrameMkLst>
            <pc:docMk/>
            <pc:sldMk cId="3735846079" sldId="374"/>
            <ac:graphicFrameMk id="1972" creationId="{3A1353DD-02D0-B936-8FBA-B55813CF399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1:20.166" v="126646"/>
          <ac:graphicFrameMkLst>
            <pc:docMk/>
            <pc:sldMk cId="3735846079" sldId="374"/>
            <ac:graphicFrameMk id="1973" creationId="{1ADFE3B7-83B2-2467-DDEA-E46C4C84116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1:28.258" v="126859"/>
          <ac:graphicFrameMkLst>
            <pc:docMk/>
            <pc:sldMk cId="3735846079" sldId="374"/>
            <ac:graphicFrameMk id="1974" creationId="{430FD616-4EC0-A0C2-5B0B-10341B64A99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1:32.891" v="127008"/>
          <ac:graphicFrameMkLst>
            <pc:docMk/>
            <pc:sldMk cId="3735846079" sldId="374"/>
            <ac:graphicFrameMk id="1978" creationId="{75C527CC-1F5A-23AE-6D9B-A3FFA4117FE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51:38.551" v="127490"/>
          <ac:graphicFrameMkLst>
            <pc:docMk/>
            <pc:sldMk cId="3735846079" sldId="374"/>
            <ac:graphicFrameMk id="1980" creationId="{5030136C-88BB-682D-C7E5-0E67473457A4}"/>
          </ac:graphicFrameMkLst>
        </pc:graphicFrame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" creationId="{0BAADFD0-C79B-461E-3238-D0B2151CE41F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" creationId="{099FD5D3-C12C-23BC-CA82-3A94B84A8C2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2" creationId="{3210CEFC-D9C8-B2B3-1A4E-63270059BF3F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4" creationId="{7DE59B11-3734-57B3-5C58-D6E485C4D589}"/>
          </ac:picMkLst>
        </pc:picChg>
        <pc:picChg chg="mod">
          <ac:chgData name="Merlin Gutter" userId="2abc6f04-74af-430b-bdc8-569c3bfa1dda" providerId="ADAL" clId="{CB1EFBC3-10F5-3048-8961-5969497C0019}" dt="2022-11-23T18:48:47.882" v="117893"/>
          <ac:picMkLst>
            <pc:docMk/>
            <pc:sldMk cId="3735846079" sldId="374"/>
            <ac:picMk id="34" creationId="{8B4D36FE-1E5C-9879-D534-11E918F653B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42" creationId="{7D168F1A-F353-074B-2C35-EB44D7E57CF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43" creationId="{B00BAC49-0E9A-88AC-63C8-7AE49143B79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44" creationId="{224678D4-93AF-EEBA-0627-1AAC421F758B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45" creationId="{E7CCAF49-6DA7-2E04-17C1-97CAE4F134C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46" creationId="{E90401FD-1E0C-B1E9-3515-337EBA1F2C6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47" creationId="{7846DE11-AAE5-0C1C-620C-EBFEE2BFD5B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0" creationId="{8F2A47FE-C6F7-319F-7BD6-B2F01C0FF7D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1" creationId="{0944E7C6-77C3-B3E6-49F6-E672E72F9148}"/>
          </ac:picMkLst>
        </pc:picChg>
        <pc:picChg chg="add del mod">
          <ac:chgData name="Merlin Gutter" userId="2abc6f04-74af-430b-bdc8-569c3bfa1dda" providerId="ADAL" clId="{CB1EFBC3-10F5-3048-8961-5969497C0019}" dt="2022-11-12T21:42:19.474" v="46762" actId="478"/>
          <ac:picMkLst>
            <pc:docMk/>
            <pc:sldMk cId="3735846079" sldId="374"/>
            <ac:picMk id="52" creationId="{4E3C7A80-2ABC-E0FA-15EE-A8DC72022A8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2" creationId="{64DCAFA1-D5C3-B111-2873-3728B02338C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3" creationId="{E833EC74-DA9E-FF56-67E0-81339B6E0A1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4" creationId="{4346A1AF-0F23-18BC-2DC6-E88FD167336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5" creationId="{E62CB702-31AB-8AEB-0361-8D675FCD928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6" creationId="{EC591D51-062A-7874-EFD4-7ABF12EC944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7" creationId="{51D32C8D-D4C1-4250-C5D6-AE3F1EA7040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8" creationId="{7AF8633B-51D2-55E2-5E76-999DF6B2B7F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59" creationId="{60487BD1-9F05-1A46-B86B-6B9E3F7361D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0" creationId="{241E69AD-A86A-D9D3-5F25-E23FB83EC46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1" creationId="{6626FEA8-D2EB-3896-A417-6998E1BC650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2" creationId="{F3361BD3-C173-7BE4-88C0-5871CC5A45A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3" creationId="{EA60ADCE-EFA1-E191-B94B-C613DF5CF6E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4" creationId="{021A2386-0C82-8781-1767-55AEBAAB5B44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65" creationId="{167BA8F7-DCAE-F0D7-4D59-A2E212F7A51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5" creationId="{D258F9C5-79E9-599B-7E05-37FE596BB13F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66" creationId="{27A53AA1-81F7-358D-20C5-9A17CCB02B4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6" creationId="{9FE3BFED-BE1B-6149-2684-C05E2F90C37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7" creationId="{50F55316-2FFA-8665-F485-3A7C1E4EC939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67" creationId="{7F16C50E-052E-2A60-0094-74C5499F73B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68" creationId="{806F9515-36FF-8156-7649-D85146FF8F7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8" creationId="{8945DDA8-C3EA-F12C-1D86-3BF284DA3EE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9" creationId="{47A33354-08DE-6977-50D0-A3C6224162EC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69" creationId="{50F9F664-1AA6-8978-FDC1-04419251E04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0" creationId="{91427694-7591-CFC8-4834-508E21880CAD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0" creationId="{A78ECCC8-98AC-B39F-2DF6-1FA9ADCB0917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1" creationId="{52AA825B-3B53-1F46-695F-3D5F9E01D4A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1" creationId="{62E1726C-E69D-DD25-BFC7-4BA61649760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2" creationId="{775E7D4D-79F3-394B-16AE-F20F003839BF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2" creationId="{BFBFBBC8-BB48-A758-249E-AA5335B586A7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3" creationId="{030E6F37-2392-97C5-C495-B34C215598D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3" creationId="{13C3F49B-84C8-591D-94FD-E22414CB339D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4" creationId="{58271281-410D-C832-297B-BD3D323F5B6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4" creationId="{FED2DD54-65A3-1AE3-D8EE-2AD0E549C0A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5" creationId="{4B1CB7B4-D20E-F2B5-A56F-5AA4A60D66A0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5" creationId="{662F31FB-D53E-25EC-3213-3A163613B858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6" creationId="{330BC425-E00D-BF95-5F08-5451F10DD23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6" creationId="{520A57F2-ACC9-F863-ABCB-6F27442A282F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" creationId="{933C0940-20F8-4D0D-EE9C-D9C972267EBD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7" creationId="{A2F04CC2-AD13-CC6C-7E68-A814884B001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8" creationId="{212E85B2-E470-557B-0EE5-214C476CAB1F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8" creationId="{CAA19976-21C3-AC3D-64B5-049F3DD6C318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79" creationId="{104CC10F-2411-7241-5DCC-AC30419B034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9" creationId="{58A1E36D-C506-F32B-BBBA-7177222651C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0" creationId="{3B88A1F5-01BE-957C-029C-8C539422F26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80" creationId="{5CBCEF1B-1F4D-AC66-8F00-D8809F6DBB36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81" creationId="{59F45630-186C-6094-55E6-B3859FBF58A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1" creationId="{DD555F18-C8EE-B37C-C561-E0941BE0EB20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82" creationId="{0272F1E3-8F48-DE3B-8FD1-8B52019B241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2" creationId="{39E08BCC-BD3B-E7B5-7780-79F2FB06FF8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3" creationId="{353706B6-E51F-E1A2-3E20-1E5990176C2E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83" creationId="{A0DE1164-309E-257D-94C8-AC8E58B01B8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4" creationId="{5BF80DBB-0B66-8181-88E8-B17CCFD34895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84" creationId="{CDD7D828-EE00-EF7A-4376-E441A6053970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85" creationId="{6BE89AB6-E413-354B-C815-8EBA0F669C8B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5" creationId="{73D06681-07E0-5974-71B1-DF015AA71346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86" creationId="{D27B7C22-6CEC-B133-B04B-37A99F79F7A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6" creationId="{DCEF8CB7-AA78-862F-C9D0-CF2A8082818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7" creationId="{288ED034-B001-279A-F3D0-43D0E11D40C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87" creationId="{C4B75CE5-1F9C-7949-3D51-431CC5AFAB0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8" creationId="{E3F9C0D0-1A01-F2B8-7352-672288B18CC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89" creationId="{E19B699A-4ABD-0A73-970B-6B48931232B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90" creationId="{9BB4F696-B20C-A453-B7EB-5698E468A3C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91" creationId="{6FBCD313-F98B-2110-E0A1-93ED31DE662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92" creationId="{D0F0B89A-F699-C628-F94F-4F749DB7475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93" creationId="{1DEB1EA8-C662-4DB9-F607-2D61BA8CA5E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93" creationId="{A2E6A09C-F864-530A-3B95-5CAD67B15073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98" creationId="{8D0F6285-C851-1F3A-0839-44005932F98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98" creationId="{9E2C5893-3D74-978B-4F65-32E3D74F351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99" creationId="{86F704DA-2418-643A-78FD-FA9826413EF8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99" creationId="{D495B002-9506-A93B-2337-B8890727B584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0" creationId="{62769C5B-335F-C732-77AF-697EB25E251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0" creationId="{6E7469AB-B96C-7E5B-18D1-A066B7E03298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1" creationId="{86870515-9C83-E306-5D90-B98F0011F93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1" creationId="{C460A251-C2AD-F8BC-D4B6-DEC702718E39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2" creationId="{89D8FCC5-3D77-B191-6C2F-5F28180D3E6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2" creationId="{F1DFBA87-C0CE-442C-D21E-D05A82AC110F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3" creationId="{590791E7-B1AE-5ACD-8C04-E40C3BD7468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3" creationId="{876715B4-EFDC-916E-7FD9-BD8566EECB53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4" creationId="{3769F67D-CD5D-AB39-AD2D-CDA0DD4A83B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4" creationId="{DA6FDE98-4F99-4095-76C3-F275CF889643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5" creationId="{569CD1B5-8846-F0D1-BCEB-EC45FC5F781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5" creationId="{760C980F-5D77-1743-078C-93174DB4A1CC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6" creationId="{0CDB11BF-01DB-4BC9-F34A-81781ECECF6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6" creationId="{7E81BE37-2AB4-3FA2-4646-0C877BAC3B2B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7" creationId="{6EAC77D2-B317-E1AF-E2B8-74381484936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7" creationId="{D7D240A9-1B8D-23BF-A56B-9CF01B1BA33D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8" creationId="{EA77504A-453B-1CAA-DC4E-6240CC11F4B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8" creationId="{F9FF3B42-1255-D0D8-3D7B-8FC190FF233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09" creationId="{2E0A5E12-C3AF-F7E1-D76D-AC25EE3744CE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09" creationId="{DF81ADCD-F775-CF48-924D-8B73E81BB3E4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0" creationId="{3772ECEB-B18F-9DAE-0680-203BA57AD67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0" creationId="{CE727DEB-650E-F8C8-E36D-2D03C65543C4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1" creationId="{740713B9-E27A-B9DD-4A2D-5FCFE543579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1" creationId="{78D506B4-0B45-B312-0224-261D4808DEDB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2" creationId="{05D83141-0522-461C-327B-98B01BB8833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2" creationId="{B44E560F-D7BB-39FA-5E1D-C40B09F2523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3" creationId="{0F73E1AB-C77B-BB6A-20FC-DDFFED31F2C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3" creationId="{8FB9F68D-FDF7-C77D-6B2C-79CB009B287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4" creationId="{03D58F69-7584-5AC1-652A-BFE40CF12032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4" creationId="{39D626D7-1EBA-A60E-68E3-FAE6ECBEAAC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5" creationId="{34017608-FAAE-CD6F-D1AC-DAA048454EF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5" creationId="{F356EC86-5D0A-FDA7-0351-B235907D7193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6" creationId="{22BF3A91-5FDA-EE18-49EE-F97CF7F830E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6" creationId="{F2D54886-C695-456C-28BE-8FAFF306EA3B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7" creationId="{16214AC0-BC04-9DAF-F064-65D2E4828A64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7" creationId="{5BEB64A9-0D25-58FE-B4D2-9F050058BDD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8" creationId="{A90B8947-2121-CE70-348E-69B6B4443BF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8" creationId="{D034C397-DA85-ED72-E4B7-001E642B128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19" creationId="{5385FE53-8C6A-D4A1-B9BD-476EA7012916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19" creationId="{62C09825-D937-58A3-B3D6-4ADB2690F84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0" creationId="{2325C958-543B-8F3F-3F5A-00A64E1A1FA5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0" creationId="{C938A0FF-9A1E-2D6D-2849-9B58723DCD7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1" creationId="{897B70AD-B41C-13F7-B0C2-E1ACD25D89B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1" creationId="{E477B86E-6B0E-6CB9-5F6E-1B1894B2C586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2" creationId="{48A4C3A6-DCE7-1861-DFC0-60891840AD9F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2" creationId="{726FF2E4-C3D0-A213-85F5-B45A53563B0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3" creationId="{2752CE0F-71A7-2AA9-C83D-5B6F35990A52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3" creationId="{94F06D89-BA88-5929-258C-0BE3B1C759A9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4" creationId="{56F66707-E78B-F689-0C62-7268D5484A4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4" creationId="{84A6D3D8-9F6F-0A97-0B2D-2972D8480984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5" creationId="{2DF63C18-7211-6EE8-3A70-44666EFCA5A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5" creationId="{F3CE7EE0-5FB7-6C46-7E3A-CC53F672BC0F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6" creationId="{15708760-018C-5D5B-336C-5EF30924B80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6" creationId="{F61E5DBE-658E-0EF3-FDBB-43AB509E6CCF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7" creationId="{3A4CBC72-2209-E1B2-1313-40F21B12243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7" creationId="{F982FEFA-8880-F7F5-917C-53D2AF00131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8" creationId="{0F1B3C01-06F6-EA15-E2EB-0F380FFAE35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8" creationId="{E97F8CF2-3911-A132-B24A-4FD646E0CE28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29" creationId="{73B71520-549B-3DDB-AAD5-9D343208F0A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29" creationId="{9BE6FB8C-8C73-1828-A344-4AC83D8A808B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0" creationId="{A346003E-C25A-23D2-FD3B-0E9E713A406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0" creationId="{AD6F84D5-2648-76B2-293B-D950E877BAAF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1" creationId="{A8DF6E50-F7A8-3F2A-307C-CF6FA59D59D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1" creationId="{F9FF84B7-850F-61E7-2A7A-9B4397007FD7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2" creationId="{1116DFF8-F490-0E72-BE00-08AEB833435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2" creationId="{F450A4EA-FD14-BF3C-527A-CCD529D76E22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3" creationId="{537890B3-1DEE-89AE-DA9A-D3FC34D2602B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3" creationId="{8AF5BD69-FED4-684D-44A1-ADE6A53DF6F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4" creationId="{060E846B-2CC2-F765-9BC7-76959D84472C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4" creationId="{F4F5E5AE-0A13-63AB-856A-69A4504B6C5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5" creationId="{2A6757F1-FBD5-E874-AC8B-0312F60BDD4B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5" creationId="{FDE0379F-66A8-0828-E805-BFD6E98236E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6" creationId="{78E595F0-A912-971D-8DB5-991B2D1A0E89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6" creationId="{86A77CB6-54CD-4E9B-41D5-35CED798BDF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7" creationId="{3AE19663-EF1A-869E-0623-007FAD82C356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7" creationId="{55A74E6B-4617-BA95-65EB-0E87520CD60E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8" creationId="{3697F6F0-C0EA-A7FA-6B75-B2CE55D1DFA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8" creationId="{3D2E6810-8591-3F50-3687-9F236DA03BB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39" creationId="{92D702D8-F967-A327-FF26-952160D016F5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39" creationId="{9BBDC5D1-9AD5-D0C1-5855-9A50FA410E6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0" creationId="{48DBD96B-94F6-3C34-F3C7-DE26E797A699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0" creationId="{B7873E43-ED9C-371A-07D8-5E520672E2E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1" creationId="{15BF66F4-2C96-0690-4618-CC5D381868C3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1" creationId="{763108F0-8F25-D7A6-766C-940DCB4652C5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2" creationId="{5542A168-F5C5-71C8-C847-8B700026AB2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2" creationId="{B56FBD80-EE87-A5CB-2115-76033E2B826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3" creationId="{2EF41B26-D5EC-EAE0-3CF2-E52AE19BE314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3" creationId="{57A914D3-7E33-0729-686B-B2514594295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4" creationId="{708995E2-48E5-20EE-AF83-AE7A0AEADA9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4" creationId="{989440E8-0C64-1244-658E-730D409E016C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5" creationId="{1895C4EF-CDA4-F1C5-015E-0631244A567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5" creationId="{8B81741A-D2F5-6BDA-B106-3C7D8AEEB42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6" creationId="{56F1B88B-B5B6-9FE4-FE18-EADEF8ABEE2F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6" creationId="{E29A2BF7-D4EE-EAB0-61BF-89B6508A71C7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7" creationId="{4505C70B-24EC-A5B1-D5D3-60940ADF614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7" creationId="{55371AA1-E632-254A-3ABF-00040FF3CBB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8" creationId="{4FBFD754-6C13-2D3F-9BF3-B2A4D5CA8C43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8" creationId="{9560B9D3-C040-1D4F-48F2-13B8498FFD43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49" creationId="{62941A0C-EBFD-356F-8228-D57E3865DDA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49" creationId="{667C8C8F-7485-A004-348E-CCA42BAA97CD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0" creationId="{35D2DC93-E73D-34C1-0A18-9B2B27FC5B4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0" creationId="{FDDF9234-D4C9-D387-DED9-51E0124A2BEA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1" creationId="{6DE60582-CD23-8525-D807-1DC0831BAC1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1" creationId="{F1A4A4AF-1724-113E-5A45-809E169EF13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2" creationId="{11B553E1-01F1-37A8-30B1-F56EC9429F6E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2" creationId="{877ADA50-79C3-A095-DE70-E4F95683799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3" creationId="{4CE5C455-F650-BCA1-6CBE-8EBB07F95631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3" creationId="{85CA236C-5155-FE77-9A53-3BCD8AC4D042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4" creationId="{63575F92-681D-63D2-F977-55C564F5A62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4" creationId="{A909F929-B79B-9A38-7C23-77E9E41CB2DC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5" creationId="{02826722-C64E-0828-3BFC-86DDDCC3BDB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5" creationId="{34D04C75-85C0-9CB9-E814-86B22DBB5AE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6" creationId="{10998B8A-EF23-423F-F0E1-07B98F7FE64B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6" creationId="{DF2223F1-1164-C789-70D1-126135FCE34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7" creationId="{062CC84E-DAF2-4899-6ADE-C4B653BAE1E4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7" creationId="{DDFF83BB-0071-F28C-E408-29822A39338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8" creationId="{38CE1873-29E5-6B66-EEC6-1DDC59F63888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8" creationId="{4C0B8211-E2C9-0CB1-C351-D4BE19AB5700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59" creationId="{65CDE919-3028-844E-AD06-DE03D334781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59" creationId="{DB77C4AA-D364-B78E-03B9-0BA85BDE870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0" creationId="{25ABA9A8-4D22-1630-9983-26E30695244B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0" creationId="{8ABFA1C6-3AB2-A02E-1EA4-0E240F313B9D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1" creationId="{D550DA5A-0551-199F-8F27-8252EDEC5C3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1" creationId="{DE6D22F4-065E-D31D-BE08-25D9972B284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2" creationId="{9B9AF242-A0C1-684C-A377-CF294E3285E2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2" creationId="{ACC6D569-465A-56CD-E909-B894A23B070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3" creationId="{5A1724CA-DD51-1C0A-81CF-13E214E600AC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3" creationId="{DCFEEDF6-D363-271E-0BCD-F9DBB5E8751C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4" creationId="{259DB86C-AA8D-E15F-A013-F5297D8BF9D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4" creationId="{6D81AEF4-EF74-E057-A9D6-26BD020B2F8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5" creationId="{11B3B98D-6685-5AC7-173C-75C8BE658D9A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5" creationId="{51FC69F7-5A4F-6846-0EF6-6780F5765E74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6" creationId="{7A6F2D02-89E9-DCD9-8C51-E68060341EE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6" creationId="{C2DFA565-F112-6A16-8F88-21F0D07A7A8B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7" creationId="{5BA4DFEB-E887-EA7B-C1C2-2FB2D029216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7" creationId="{F925D064-925E-4E56-BCFF-DFD2E0185DFD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8" creationId="{E9EAE213-EE76-D971-37E7-F208957A035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8" creationId="{EB57C92E-5B6B-2751-D61F-A1B66163569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69" creationId="{2B8B7C24-E083-90D6-A1AA-9A818706479D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69" creationId="{F9D2DF60-85BC-DC52-BF6A-4FD98747A7E0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70" creationId="{DEF9AAC4-CDD2-585A-E1DC-168F2788A34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70" creationId="{F5E65977-B7A9-97CF-BF85-87C58DF9D02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71" creationId="{BE620A90-B23A-F21D-050E-66C2FE335A6E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71" creationId="{C8C6AAC9-3FC1-6B15-F8D5-E843A2E800D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72" creationId="{BAC0766F-A409-369D-19E8-2C53B392B7F3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72" creationId="{FD9ED2E0-2294-8FDD-8882-C19A5EB234AA}"/>
          </ac:picMkLst>
        </pc:picChg>
        <pc:picChg chg="mod">
          <ac:chgData name="Merlin Gutter" userId="2abc6f04-74af-430b-bdc8-569c3bfa1dda" providerId="ADAL" clId="{CB1EFBC3-10F5-3048-8961-5969497C0019}" dt="2022-11-12T21:44:23.495" v="46801"/>
          <ac:picMkLst>
            <pc:docMk/>
            <pc:sldMk cId="3735846079" sldId="374"/>
            <ac:picMk id="173" creationId="{17077A10-AB79-84EB-1D67-BFB11141743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173" creationId="{859BD914-CE83-887E-86FA-B28768910793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75" creationId="{2F7F0ED1-A00B-E18D-2E35-2D10ABE0AD06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76" creationId="{F17D8193-7256-7045-8615-4546CA602B32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77" creationId="{C3D4667F-2759-6194-892A-7309EA83E8AE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78" creationId="{EA2AE075-2156-673B-3D7C-5BB4D5829BEA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79" creationId="{1971F1CB-D22A-C2B9-879C-D4DF7FE8E938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80" creationId="{75A3B81C-203F-A786-EC51-996919011F4D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81" creationId="{658B74A8-5C42-A070-ED6F-8D734E1E4C05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82" creationId="{213C8664-1852-E121-3187-67D2C342B37F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83" creationId="{95FDFEC5-8494-75A0-2A50-A2151E0CA0D6}"/>
          </ac:picMkLst>
        </pc:picChg>
        <pc:picChg chg="mod">
          <ac:chgData name="Merlin Gutter" userId="2abc6f04-74af-430b-bdc8-569c3bfa1dda" providerId="ADAL" clId="{CB1EFBC3-10F5-3048-8961-5969497C0019}" dt="2022-11-12T21:50:38.090" v="46869" actId="207"/>
          <ac:picMkLst>
            <pc:docMk/>
            <pc:sldMk cId="3735846079" sldId="374"/>
            <ac:picMk id="184" creationId="{67CF49E5-92A5-EA9D-0B3C-F716460B87A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85" creationId="{4D29B4AA-2190-8A32-2B6F-FDC9E1DC2BF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86" creationId="{481E9E72-28D3-444A-3ADE-8689538EC0B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87" creationId="{766BD7BE-EC41-23D2-F16A-2F27DBD2964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88" creationId="{DEAEFE13-625C-7A7F-CBC4-ABF43E755B5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89" creationId="{65F71ED2-819B-15B3-A425-B2DBB2D1204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0" creationId="{5CD0F74F-695A-682A-23E7-44D3B88DB82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1" creationId="{CCE6F2F2-5754-72A0-798C-D7FC012D4F9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2" creationId="{86717556-E1E4-5B91-AB98-63CB0F663AC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3" creationId="{6A77452E-AE9B-F905-A462-5238633250E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4" creationId="{403D578A-0CBC-00FD-15B5-7CC440FC215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5" creationId="{57039D4F-DC28-D076-D608-127415851E0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6" creationId="{CAA8A73E-C379-39B5-7453-FB2060FF8B6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7" creationId="{300452B6-4269-198C-CD6A-325EB87839A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8" creationId="{CBA9C6F5-1112-A296-50D3-1FD99886C02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199" creationId="{4FC46504-B33D-C943-8245-096E8E20286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0" creationId="{EA5C0919-093D-8161-E0DD-BBE220675A4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1" creationId="{FD53923E-DC79-57C7-BA4A-D08EE6C792C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2" creationId="{FF70FBC7-E4BA-F0E8-5E9F-AD27F2B70C6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3" creationId="{E6CA86AB-1490-B78A-AF5C-EDD0EDE2BF1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4" creationId="{32119525-DFD2-1A93-C1CB-9562D8B399A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5" creationId="{90DE3A21-D8C0-F8DB-6BF3-E7D70334E68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6" creationId="{2972C6FA-E788-BCB7-C235-DB3A18E2B6A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7" creationId="{01EAD4D9-14C3-4230-4386-8572CF19114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8" creationId="{87FD6F47-E358-5958-7C1C-6DFF97A1068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09" creationId="{A65839F7-1F2E-6A76-518A-48C0329B135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0" creationId="{4187905C-6CBB-E77C-50F7-96D4230BF49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1" creationId="{91A3466E-4AD8-1D23-CB62-467CEA5B090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2" creationId="{48107437-094F-AA98-53B4-09179A3A991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3" creationId="{4F809AC5-A896-65B9-0BF3-9C3EC884BCD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4" creationId="{B62BAA88-5A1A-E0C5-CAC1-A120F563349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5" creationId="{A18D63C8-0262-5DA7-B29A-99ABAC173AF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6" creationId="{ED38A6FB-348B-984C-6E5C-43490276F46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7" creationId="{3DCB0203-D4F0-178D-2655-80633861230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8" creationId="{5F933166-C5BB-5B0F-B6DC-35DFE755844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19" creationId="{C10A2F32-85E6-A925-D005-499819640F5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20" creationId="{96E3E6BA-57DD-DE3E-F725-A84BAAE84BD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21" creationId="{8F02619A-27BE-DB49-0DEE-6F71E45F3AE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22" creationId="{64B33955-664D-9A27-60FD-82C11CDC18D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23" creationId="{A2FDA3B4-96A8-B9BF-7FBA-74F7CD2E810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24" creationId="{C73DB8A7-2640-0F33-C8B1-D64BB14E40BE}"/>
          </ac:picMkLst>
        </pc:picChg>
        <pc:picChg chg="mod">
          <ac:chgData name="Merlin Gutter" userId="2abc6f04-74af-430b-bdc8-569c3bfa1dda" providerId="ADAL" clId="{CB1EFBC3-10F5-3048-8961-5969497C0019}" dt="2022-11-12T21:50:47.496" v="46870" actId="207"/>
          <ac:picMkLst>
            <pc:docMk/>
            <pc:sldMk cId="3735846079" sldId="374"/>
            <ac:picMk id="226" creationId="{8BC73E23-8396-A94B-527A-BE4DB4F2B3F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27" creationId="{9D6CBA9B-1CBB-2064-6522-DBD4311B656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28" creationId="{B45CB3F4-BAE1-D03E-B611-1BDA01078B7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29" creationId="{194DAD3D-4454-FD83-307B-C9150C1C5BF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0" creationId="{30C40A71-AB5B-146B-D08E-E3F2C7C7A83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1" creationId="{0FFA5A8B-369D-3223-B2D5-6BD793C278F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2" creationId="{3ADEC50B-4335-B6CE-A77E-31A03F3AC38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3" creationId="{A0E5D6CF-1062-48AB-CBC4-6E9340AD152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4" creationId="{CF8EB9B1-2D08-67D0-6197-440837CD45C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5" creationId="{30EF01EF-8B55-5345-AEE8-12AEA2A0345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6" creationId="{506B238A-2905-BF89-2D16-250B269C327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7" creationId="{DB4C9070-27CA-78B0-989D-977950F3797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8" creationId="{F409AB34-60A2-8686-B66E-D0299BEBE3C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39" creationId="{CBA1A312-95E1-EECC-4F0A-5CBE87182BE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0" creationId="{6B45CC21-F2E8-C3E3-E8D9-E18F668BCF2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1" creationId="{CDE84596-4E2B-FD02-F6DF-EC98E6BFA32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2" creationId="{A1B4E8F2-758D-8341-9B74-68654391932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3" creationId="{E928C15B-4924-7E6F-F407-9975DA1937E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4" creationId="{0EFE5AD2-21F8-F371-8147-33E3F82F643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5" creationId="{97C7DB6D-23BF-B258-C98E-4616570B4A4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6" creationId="{B39B584F-BEB0-AD9E-7FC7-F23646445A5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7" creationId="{BFBDB312-0FB5-7254-6E2B-E7D18C191C2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8" creationId="{3ED4B59B-AAB7-A993-3482-10D58AE9CB8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49" creationId="{8718A3AE-3994-EBFE-0E95-77D2962D8E5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0" creationId="{1BC4B86D-365C-A8A1-72CB-304F053AB2B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1" creationId="{C8EA99F5-2855-E7AF-1749-C9A8CA85500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2" creationId="{FB860CD4-42C9-E4BB-4729-E03283C5335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3" creationId="{67D5AC43-F7E0-64BB-3FCE-AA5989F6604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4" creationId="{690F3183-72B0-4409-DA1B-1D647F0A312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5" creationId="{E3C8512A-D3D4-C6FA-A62C-F906844A1AF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6" creationId="{719C3B4F-9FD3-A1C7-922B-34EB89DAFA7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7" creationId="{136FAA6C-A800-A96B-831E-12F73CBB7C4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8" creationId="{7D54A0E4-4CB9-BC07-D205-1B95995344A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59" creationId="{5A7DDFBA-3CD7-499C-E548-34E53C6049C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0" creationId="{A3317B57-537C-60ED-DA07-8E305DC94E7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1" creationId="{32642F60-63D2-C4AA-CA85-CC0B4BF6AC7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2" creationId="{6D085ED6-8BC4-0221-C6B1-7C5AC04711E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3" creationId="{6BEB08AA-5523-46A9-4E4F-067A22BC456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4" creationId="{C19A1EC3-B69A-2F56-1389-158E081F086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5" creationId="{2CC83BF8-5A06-5A98-8AB3-C7D8C07A941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6" creationId="{525796A8-561B-6057-40CE-9506EDA0248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7" creationId="{398DB039-E807-2DA7-D91C-3ED82333B01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8" creationId="{4F987EED-D4CA-A704-6259-95DE2064456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69" creationId="{D6282BDC-40D4-5C16-EF41-D09515BCA14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70" creationId="{01A33C5B-FC03-0735-0764-307BD034403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71" creationId="{177E8832-14B6-4AA9-1EA1-10C91511B50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72" creationId="{DBD4C90B-1549-1FE5-4980-3B671620811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73" creationId="{93F91966-1584-D627-4AB2-F5F5344DC75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74" creationId="{4F2CD8FC-49FA-3648-2F83-E083C3CE588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275" creationId="{D0F59795-0741-2614-F23E-C9EF31DC243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77" creationId="{1C781005-97C3-0724-72B1-3712AB6BE6E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78" creationId="{5E0CB3CC-53B4-B9BE-4D94-CFA2982E903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79" creationId="{089BC4F0-39F8-802D-386B-A674CEDB677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0" creationId="{1C36905F-FC3C-17D7-BCB0-DEFF1E9EE9F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1" creationId="{41F44FE9-0C64-82BA-A69F-19C4BE05F57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2" creationId="{83D0D0DD-31B9-B3E5-FB91-E4B6204314F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3" creationId="{2300984B-BAB7-AEC1-D33A-98D80868093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4" creationId="{97D30D85-2640-C961-8F69-589999A066E9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84" creationId="{B48E7A85-6D27-4121-9162-F70137595975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85" creationId="{343FF4C6-DC86-092C-22B0-8CFEB76E760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5" creationId="{90A1F831-3173-C3D6-5DF7-C5075F902D4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6" creationId="{050F4401-B8CF-9EFB-88AE-FAAC0097DD9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86" creationId="{1BD3E781-A32E-AFF3-59AB-C4A47355B86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87" creationId="{49042254-AE6F-0E2B-58F0-7240182AFF9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7" creationId="{85E2E42A-8F19-6F74-1C2B-A70655D1880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8" creationId="{2CBF49D9-A0D1-A465-D846-AB2CD326C73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88" creationId="{BF27CE7D-0E90-B81B-4E38-DB6FFFAECFD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89" creationId="{8D8A2EF9-9239-86AD-BE74-8407C0B38D1A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89" creationId="{D81080F4-D39C-38A2-E1F4-4FC5D5F0710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0" creationId="{AE465814-23CF-9831-0B63-DB8023857085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0" creationId="{EDE65B9E-F521-B496-5340-2EB55AB5C53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1" creationId="{0B1A6890-FF5E-B206-DA0E-D31782CDCB3D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1" creationId="{BCEC4579-253C-D30D-DAA0-A31C281C6D45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2" creationId="{75335F95-F6BE-BD0E-06B7-92D766FE820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2" creationId="{93C5F3E4-3BD4-03C3-4A5E-FF5567F6680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3" creationId="{0C8B4277-663D-26A8-6756-8B770974B9E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3" creationId="{BE7F352A-E2A8-5A70-6F3D-1A0234CCE0B3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4" creationId="{2982C521-BD97-4458-8327-947419C19F2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4" creationId="{85B02247-92F6-D416-B6C7-672E9E38EF5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5" creationId="{1DE50CA2-31E3-FF17-643F-19AC137645F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5" creationId="{2AA11C1C-63AB-9732-E252-24925ACC07A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6" creationId="{5BD1FA18-C24D-2E41-625F-67640275BF4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6" creationId="{E24B7A18-3009-08A5-B6F6-81A104CE5F34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7" creationId="{15EB7041-124D-4104-F1AA-53D86892E10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7" creationId="{49AC2800-BF40-D7ED-8F9E-0BC78C252BB6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8" creationId="{2E185671-B087-6234-6B66-B079836A8ACC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8" creationId="{9B42B424-16BA-6E04-EBF1-A63EB7780F6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299" creationId="{83924647-D119-5189-5272-E22352E79ADD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299" creationId="{DAC9B0BE-FF5F-E851-1944-FB25F2DD1B4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0" creationId="{2D9607D5-B942-CD61-4B74-3066AE222C9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0" creationId="{CD827EC5-F8EB-EC41-FCEC-5A015EA26749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1" creationId="{48F433AF-5ECD-CD5B-C4ED-E928E2AC787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1" creationId="{B2EB7B4E-2F69-B8C8-E820-7D7DE9C1BD91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2" creationId="{20A3A5A4-A1BC-9817-7EC5-CDB86199AB6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2" creationId="{7A762529-2303-87B6-FA4C-5EC28D61E46D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3" creationId="{4586C7D5-70AB-9099-CFF2-B89198F7EBD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3" creationId="{B14D1F9C-CD61-570A-E502-A282C1D9FF7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4" creationId="{A2FC4A93-C6E9-B50A-172E-B1FEC2E0C26F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4" creationId="{CC16E890-F023-8961-98AA-E7955D7E74C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5" creationId="{28D80793-3812-D564-2199-12FB4E03A1FF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5" creationId="{751FA367-FFC6-3502-32A7-15781E4129C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6" creationId="{17F16C5D-49E9-5B41-2909-FCDAC896E2C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6" creationId="{A1C0A89E-1F61-E629-201A-98C817732BF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7" creationId="{2E829882-4031-81B5-668A-A2E40B4A8C99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7" creationId="{5CCC8C5D-8EF1-4A21-4460-2CB983A04B0D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8" creationId="{2E99D068-46E0-90E4-8800-B8520CAB6D6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8" creationId="{7D24D161-DFEA-BAEF-D4C1-7E6C62A2D2FC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09" creationId="{68E9BA8C-5A93-6D4B-CD1A-BF36AE817E0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09" creationId="{9EF69D33-AE35-58C3-58AA-C586C1403C7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0" creationId="{1E31D078-A9E6-7B28-9D04-56BB9710CA65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0" creationId="{F5536342-C580-FCEC-BB9C-7E45DCD35B43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1" creationId="{1162FE06-BBF6-89D5-2A37-05A80075CCE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1" creationId="{18ED0A5A-AE25-7A44-F8E8-3537244014F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2" creationId="{1D7E22EC-FEA1-B1D6-7435-728F0B142A37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2" creationId="{BC21AB83-0FEC-0223-18A4-B904CD4333F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3" creationId="{856CD5D3-BD8A-87A2-D2B5-4ADD9B69EE08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3" creationId="{86A68FF7-EE4D-5926-67D6-51D122E04B00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4" creationId="{6C3305C9-D1AF-A06B-656F-E51FB0C861A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4" creationId="{FE988B3B-8A40-3908-F5B3-F1315D747ED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5" creationId="{B4F699D2-9EB0-FED9-4B1B-813104504E5D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5" creationId="{CF030CE1-0236-B923-8CF7-D9778C0C9F9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6" creationId="{7E0C1917-383E-5404-6753-BD8F963F87EE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6" creationId="{E54058F5-C033-7A69-992A-6A3EA56F3674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7" creationId="{3A89D011-2887-F59E-2AF9-03BC9DB144E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7" creationId="{D836F314-A752-5E89-9F26-F69AAE58EB15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8" creationId="{1B27382B-EB4C-3222-7898-A54DC707DFF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8" creationId="{1F0043E9-1EAE-34C4-942A-09DD94FFC6BC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19" creationId="{15686274-B887-1ACA-D54C-80BD7B13702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319" creationId="{C27C7789-903A-5C05-BA16-40A76649DA3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0" creationId="{3294B8A0-B723-F2F6-04C5-863DC538EE28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1" creationId="{E7B85AD1-DF7F-0031-6249-FDC69E3AFBCA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2" creationId="{5D3B90BA-031F-07E7-37B7-825ADC5047EF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3" creationId="{11F0BCF0-6F48-8B20-C3D8-09856B4A4231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4" creationId="{49222198-988B-9DA7-D597-B9AC62576BFF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5" creationId="{4060853D-DAB5-62EE-D1FF-83573BB25B45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6" creationId="{C1D0C9CA-AF5B-5112-A152-A962E236928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7" creationId="{CA1334D8-28D8-6731-C4BA-B5095D6A3C1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8" creationId="{4A4585B5-C640-E7C3-3680-2D5199DEF6FA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29" creationId="{507ACAB1-E757-22B8-8808-71492EADD2DD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0" creationId="{F6ACF753-AFE6-A59E-264F-A0C9567BEA5F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1" creationId="{5C7147E4-DCFE-2EC7-1DCD-B858CE80AD4E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2" creationId="{269715DF-0863-E31A-12C8-4F8E30FF15E7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3" creationId="{8A1CD68B-CE2E-67A7-69B9-245AC0ABB38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4" creationId="{84F6DD9F-2CAE-1147-0527-78E038E59385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5" creationId="{4E86BA0D-95BB-577B-9207-9DC486C6A3DA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6" creationId="{6024A086-F495-0F7F-0B3C-03007D7FB39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7" creationId="{65995680-F5BC-A74F-B4BC-AAC3D218EAE8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8" creationId="{2B81A922-FBE6-2118-38ED-21C513DBEF58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39" creationId="{07098468-CA7B-A43F-6123-514DEC957089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0" creationId="{89207FCC-1E55-A2D1-B663-80787154DCE6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1" creationId="{CC713F71-6D51-B063-2F99-81752B19713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2" creationId="{F32F52A2-3DE7-2342-DB7B-A5CDD51B657D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3" creationId="{1A723DEF-4BC3-7FE7-9466-99E48E2308C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4" creationId="{38954363-9009-9C2F-B22C-2585C7E6031C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5" creationId="{0630E83A-7EDD-077F-E541-CCE37F4E274E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6" creationId="{89CE291D-013F-B27F-F11D-F555575F2FF5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7" creationId="{9DB3960F-292F-B592-DEB6-77EC375EDAA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8" creationId="{C545D237-112F-95AA-768C-FD5424FB0166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49" creationId="{CC201D15-0E8E-5CEC-A428-37CE1EAC81A0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0" creationId="{CB1246EB-25C3-BB37-1012-A2F2CE78227A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1" creationId="{97C8A6A1-CC6E-23E0-2A2A-A3695B0A1343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2" creationId="{64FCBFC7-DF3C-258D-103A-2402CCDC7F2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3" creationId="{A419EBC7-E596-A101-0C7B-123B461489E5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4" creationId="{7F3BDB1B-D623-D49F-66A9-A5D0AD034E3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5" creationId="{706011A0-5A7D-A6DA-8742-DEF6D6DC940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6" creationId="{C930688A-DC81-D2CF-E24B-337F5FCD848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7" creationId="{9A83634C-484C-1676-144E-326B7D075677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8" creationId="{CC7C8C13-98DC-003A-A870-5C4AFDB581B0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59" creationId="{8C9F3AAA-EFE4-168E-5005-DD1CFDF7B58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0" creationId="{D4A000B5-8F1B-2F45-D38B-2E8D6360F4F0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1" creationId="{B73BA15B-3062-20AA-6F9F-971EA4AC208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2" creationId="{8CE8B98E-5065-5552-42A2-9F6C9B8F63FF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3" creationId="{D9340321-67BD-CEC3-4A33-E25D0EEF76EB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4" creationId="{A8D6285E-9175-FD97-5E17-194EF4EF3606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5" creationId="{F628A330-B496-1D7F-FEE2-CF501B08E2E9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6" creationId="{5B937766-322C-0C88-E216-91C145DE15F0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7" creationId="{434287DD-EFC8-944F-E870-F84A392ADD94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8" creationId="{CE041887-6F97-EDF9-CD0C-0D36E373084C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69" creationId="{C459541C-2A36-A75D-C624-325B52B9D31D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0" creationId="{66A718EB-EAF4-86CF-A3C8-04C09FEF02C3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1" creationId="{174D3FA4-C206-4AEE-C856-A8D5FA50729C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2" creationId="{CD546BDC-EEF7-E1F7-EAF6-E9D39F6BED6C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3" creationId="{A9DD926C-0EAE-3492-9838-5DA1D7B9765C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4" creationId="{8E6E436C-C614-83FB-7265-FD350152F1E2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5" creationId="{660C17D7-50E0-4BBB-406C-A23DD414C5B7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6" creationId="{8283ACB8-F419-27F0-6AC1-0F28D056581F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7" creationId="{CB024CFB-B942-C9DA-DF7E-BB2E1EF95917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8" creationId="{FC7954DC-AE6F-CDBC-E457-78905725B02F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79" creationId="{F1D55878-406F-0043-8060-7E00FD649997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80" creationId="{35FF6606-F190-1FE0-B844-EE63408A1FC4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81" creationId="{6D6624CC-E0B1-925D-D665-A7816BCA5781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82" creationId="{FBC88A86-F8D8-2FE0-1DA1-A1AF1AFB83A4}"/>
          </ac:picMkLst>
        </pc:picChg>
        <pc:picChg chg="mod">
          <ac:chgData name="Merlin Gutter" userId="2abc6f04-74af-430b-bdc8-569c3bfa1dda" providerId="ADAL" clId="{CB1EFBC3-10F5-3048-8961-5969497C0019}" dt="2022-11-12T21:47:59.197" v="46849"/>
          <ac:picMkLst>
            <pc:docMk/>
            <pc:sldMk cId="3735846079" sldId="374"/>
            <ac:picMk id="383" creationId="{F16B9A75-552F-308A-843C-96DCD5994E1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87" creationId="{39951FF0-26E9-0676-1523-80F89A4C40B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88" creationId="{AF7A9AC4-E695-901A-4719-E227B70C84C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89" creationId="{9E24F75C-6152-44B8-80E7-E1CA06E40D4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0" creationId="{BFB907AC-4522-B785-6529-A043421526A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1" creationId="{62EBFF50-0FAB-10C1-D214-5BD4F515BC1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2" creationId="{B5A2EF28-F80C-1D50-7202-2AE5E187CEE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3" creationId="{0C4DF030-646D-9B62-631D-0E3CD9FB9F2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4" creationId="{FB7AC9EA-B2CC-3EF8-EAD0-192FB6A5329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5" creationId="{264571E1-CABC-31E7-628C-502980B29D4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6" creationId="{16FB13FE-C624-8DB6-CFB1-4A3B800730F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7" creationId="{9F9ED6F0-9294-CED8-DFE2-43AE18C8EAC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8" creationId="{B6D6453E-2D5F-4485-5015-9B5D26FE258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399" creationId="{BB260642-9B96-BA4A-B094-E040370409E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0" creationId="{C22E97DA-39C8-4E62-2E72-57088632C52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1" creationId="{7ADA2D50-89A9-75F1-8A0D-96D3C9B4746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2" creationId="{B51C7E70-0597-229F-9B42-C20B82A990B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3" creationId="{4E47E33F-7835-3BB8-9717-C9C41EF6682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4" creationId="{1A54BD0C-4A18-64FE-5F76-041A304DA92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5" creationId="{F06C1E6A-84E0-0139-DE3A-44F5AAC9F34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6" creationId="{843352C5-7100-0279-FE02-487ECE2006B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7" creationId="{E2CFC8C9-7435-E38C-33CC-7559A3FB824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8" creationId="{19DE3DF0-2FDE-36BD-5A9A-A9D9BFDA3CF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09" creationId="{60216419-A981-7133-999B-6945EF195E2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0" creationId="{816F387D-895D-8763-114F-715404A7CAC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1" creationId="{D0593F34-E686-F7E8-4E97-86BD11F9CD7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2" creationId="{6A87B725-4936-830A-E424-0ABB3C1B147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3" creationId="{DB071498-75A6-6B75-7E18-CFDFC539084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4" creationId="{5396D787-7A4E-927B-9386-0A2B15561D8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5" creationId="{574D795C-B38C-6ADA-3692-E2FF9A8133F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6" creationId="{9D7AB516-C9CD-58D3-7F9E-E5A3FC18F91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7" creationId="{9779666D-99A3-EDC4-372D-4C7BBAC3D1A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8" creationId="{E5B55DC5-527E-FDEE-0B11-D7B378178D9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19" creationId="{F815BF3C-AC49-2574-D6C9-40B60610221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0" creationId="{51121573-825A-2AEA-E709-9E8E688894F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1" creationId="{8C02840F-5093-83D3-A6C2-29F774482E4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2" creationId="{8AD14CBF-EC27-C1DF-9462-39DF97C58A1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3" creationId="{649A167F-53E1-5847-7DCA-BEFFBFAA98A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4" creationId="{BC632D27-1DCC-8FEE-3013-4A9360A7C5F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5" creationId="{4255B874-2BED-91D2-4D83-A5FED29C46C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6" creationId="{FF39F6F8-DD80-466A-27CC-6B95821E256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7" creationId="{D6DF6397-3388-7C8F-CB55-028883528C5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8" creationId="{F1BB451C-DA78-33F7-8902-A424649F4FC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29" creationId="{710D2311-EEC9-97DB-3836-CF006471DA2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30" creationId="{F89F3BE2-33A9-6651-D1B3-DF07C427A1D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31" creationId="{1385DFBD-7C95-EE49-DE73-E0617912F87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32" creationId="{DB9B2B83-F310-949C-EC17-DEDF9D60637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33" creationId="{B80B9B21-BB6B-8266-CFA3-1EDDC51B3ED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34" creationId="{B4C8DF1D-B195-CDFF-3E4A-2FA9434E016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35" creationId="{CF7CF4B8-15BA-5701-42CA-0167EFED7BC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36" creationId="{7F3454B9-F0C6-E753-1987-692903D23A1D}"/>
          </ac:picMkLst>
        </pc:picChg>
        <pc:picChg chg="mod">
          <ac:chgData name="Merlin Gutter" userId="2abc6f04-74af-430b-bdc8-569c3bfa1dda" providerId="ADAL" clId="{CB1EFBC3-10F5-3048-8961-5969497C0019}" dt="2022-11-12T21:51:08.255" v="46871" actId="207"/>
          <ac:picMkLst>
            <pc:docMk/>
            <pc:sldMk cId="3735846079" sldId="374"/>
            <ac:picMk id="437" creationId="{E5539C4E-F3BA-EF4B-ABC7-E63728B70B7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38" creationId="{6EED023B-61B1-4B2B-4FED-655FE9580FE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39" creationId="{504FA089-67CA-9581-4E18-0CD714E5A58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0" creationId="{402577BC-8FA1-ECCA-A6DA-9698B36EABD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1" creationId="{69984662-D911-3DC0-AA41-74B0E029ADC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2" creationId="{7BCDCB40-0E42-DE01-CD10-55576E2DE7A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3" creationId="{DF8F65A3-8D22-A321-09C3-EE36BB993F4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4" creationId="{7D270C65-346F-2E51-0764-DB3F7E351D6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5" creationId="{BB37ED00-2D62-81E5-ED5D-8AA52563F97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6" creationId="{5EF45732-B15C-B709-6189-1CFBE5F711D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7" creationId="{9F32A52B-7A30-495E-91CF-0781B0D7257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8" creationId="{B9E58F5D-2B35-92BD-18C3-EABE7F7DE0F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49" creationId="{8F785A28-30CF-5A2C-2525-2515342698D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0" creationId="{F87CB387-EBA0-6AFD-B743-C54A3B3917D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1" creationId="{39633A2E-4560-0E5B-3F66-E8BE4CE6688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2" creationId="{7419CC8D-4141-A1CB-EBFD-D3021C13682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3" creationId="{DCB9F429-7035-6B7C-858F-5AE65EE80AC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4" creationId="{887CDF33-9FC0-BC8D-64B3-CF74B7E9FAA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5" creationId="{5C0F7309-267B-7B30-7695-8E1ECB1A99E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6" creationId="{73933FEF-4B49-3592-6596-5A6516CE14C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7" creationId="{2CEA8CC1-9C0D-C5BF-5D1F-50C699AB8CA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8" creationId="{6FF92584-1DAC-6E46-B1F5-61503BCAFD7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59" creationId="{05ADBA7F-4513-A379-A4AE-7B4A51A4988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0" creationId="{BD8372C7-64B5-8BF6-785F-8FC429F0522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1" creationId="{B08DB80D-5C95-BBC7-9765-1B677023BE8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2" creationId="{4E8BD8D9-E983-92CA-2511-0D10593A9C2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3" creationId="{2B9792E6-39D7-874D-2ACA-0EC659E296A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4" creationId="{1A87AF1D-94CB-07BD-1E02-4D1FCA7BBCC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5" creationId="{DC37A234-F497-5BFD-1C43-2FC5A453279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6" creationId="{07BEFC05-D5B9-BE99-E567-72BFE10E95E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7" creationId="{966F1E58-A8FB-B8BC-1A90-8C4B48F1814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8" creationId="{33D6DB67-80E6-04E0-3645-3E4DDD5F14C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69" creationId="{31683E67-637D-8321-C036-4C896BA88B3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0" creationId="{4BCAC1E3-97B9-DA02-C939-D1D6CC9BBD0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1" creationId="{5D1795FD-229D-CF02-13FE-F450D6B314B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2" creationId="{0DDFCA8E-8678-B0A0-AC1E-A39EBF7451F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3" creationId="{4F902089-2872-A97D-79E1-B9768B03449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4" creationId="{23C816DC-D77D-5946-EB23-6FF56064B86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5" creationId="{A1946F58-D54F-8467-1522-DF52F5C5DB3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6" creationId="{A4CABABF-5F6F-D6A2-DECE-1C9FB94BFF5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7" creationId="{0E653009-0177-3E3F-6BE3-B7EA3E4FE13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8" creationId="{64324274-7A34-9187-F1C6-CDFF3013C8C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79" creationId="{4ECC42E4-5A9C-8EE8-F12E-1998B443D66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80" creationId="{24D3E076-7E71-BC61-3EF2-19D2A9FF0FE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81" creationId="{0EC54D4D-006C-AEE5-4F7B-10D58F78F67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82" creationId="{2952F353-637F-C5AF-FCF4-BD137387406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83" creationId="{98F0C542-41CF-BED4-4D5A-2451046B4B3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84" creationId="{EBE87D7D-D81A-6E3A-94F3-0E83BA1E17A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85" creationId="{42F8A873-1733-4FD2-CE61-7BF44738B19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86" creationId="{91652A97-E6CA-8836-DAF6-9190AC764B5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0" creationId="{5CB53444-2C03-0B27-BB75-E49AAF84AC3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1" creationId="{6640C036-C418-C4D5-4EC4-7EC5085CE0F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2" creationId="{B362D301-440B-235B-BAE7-44FAB7A19B7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3" creationId="{83BE187B-E725-0A36-A4A3-EFD6FE5F02A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4" creationId="{3A1021E4-332C-B7F8-8C12-E0F7E3B3323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5" creationId="{5534B371-3307-D867-4176-9C44E7BC598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6" creationId="{392CBEB3-7394-9EA6-C386-7059410BA15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7" creationId="{E6C5452D-0212-A34C-4277-AFAFE2B1ACF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8" creationId="{B43749AB-CF3A-D1ED-DDBF-A4032930862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499" creationId="{83E804A5-B27C-135E-0D0F-9F491F2AFFD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0" creationId="{E55D278F-2E2F-15E3-D706-B4068AF616E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1" creationId="{E028050B-A675-BE30-06CB-D9883F0BF99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2" creationId="{74E41BFD-A21C-C61D-2D9C-716D30EF1EA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3" creationId="{0EA12CFD-38D4-1DE3-7698-2CED60A41F0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4" creationId="{AD299B21-332F-0EB6-97DC-93AD0958CEB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5" creationId="{4D8C28AE-1DE5-9E71-7EA6-0020EFB98D3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6" creationId="{D2670609-2795-7106-F384-004582C9EC3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7" creationId="{056676FA-5329-8EB7-EF93-863FB272505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8" creationId="{8860E338-7D4B-8E29-559D-137D1881BAB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09" creationId="{C24FF76B-EBD9-49A9-29F1-FA46DEBC08A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0" creationId="{7A953F5F-5D4B-0028-F546-863B0995FB5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1" creationId="{1B7A67FB-98E1-D99C-5014-17503C19562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2" creationId="{F9FAE43A-4C67-DEAA-6F57-4B0287BF185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3" creationId="{0ADA5BFA-8436-5189-9F45-EC8152E51D3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4" creationId="{61E5062A-AAD6-5F48-0377-D193877E0E1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5" creationId="{3146D3B7-9AD4-E379-43C9-117AD715F81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6" creationId="{A019FE8F-0978-C7B7-EE5B-9BEADE9B863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7" creationId="{9DDB65A4-BA60-2845-2CDB-6FA40F84CAA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8" creationId="{63466885-A1AF-B785-4249-DF4927466E6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19" creationId="{30491CB5-4185-AE4A-3107-C5238A8B269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0" creationId="{7ED6D5ED-71C7-A78D-A0D7-F5167E66BBE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1" creationId="{2A771EAD-2014-4198-B33B-913E03E48C0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2" creationId="{1AF48F48-4926-35F1-CD42-D8B7B71D5B1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3" creationId="{8E2531A3-F073-6CBA-4D7E-5E80AE472E2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4" creationId="{D8DBC345-C062-BB66-8AB6-BCBB78BBB25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5" creationId="{7076C038-9C0A-48A2-D3CC-9F66A4BB5CA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6" creationId="{B083AE62-51DD-56F3-8A7B-8729F4FF269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7" creationId="{AFCD3DF6-1061-30DB-65BB-B0F87656A15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8" creationId="{77A783DA-280E-DB44-35BF-B0DB59CCC98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29" creationId="{3536C9D8-8F16-59A9-42F2-95FF24C57C2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0" creationId="{8C6ECA8B-D0D8-07FF-00DF-AD621A83BFC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1" creationId="{11C2FD07-B5EB-70AE-CBEC-39E5C38D92D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2" creationId="{AA7ED0DB-B80D-354C-766F-33847F8F23D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3" creationId="{54B18AA4-2D0C-A03F-C496-507FA1D9DCD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4" creationId="{38477D65-4877-0AD3-43B3-F2F7A2399B7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5" creationId="{B9D3103D-2252-F32F-C62B-C8EEA6B9E83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6" creationId="{6E729FA7-F5D4-872B-FC0A-028A923F771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7" creationId="{5360843B-7431-3EE9-4138-F08BE717A16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8" creationId="{F011DCED-322F-7AEF-F65A-B94487A30A1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39" creationId="{4821049A-6694-C9D1-B89F-A85E64D1CA9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0" creationId="{44ECADA9-CFBF-DA37-3830-578558D4539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1" creationId="{F4461BF7-8FB1-820D-9153-34409F665A2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2" creationId="{72C4084E-F6C7-6063-07C8-36C16C2477B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3" creationId="{3FCBDE46-D83E-D483-819F-02D7D89BC5F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4" creationId="{3CD5AC81-72D3-2292-6619-6EA9B51E293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5" creationId="{A74BDC11-6712-64B8-AFF1-05CE26456DD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6" creationId="{6B094B58-DFCE-0215-2FE1-7128129CEB7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7" creationId="{47110A99-2F55-1C81-1D79-12A97D66562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8" creationId="{D92D9412-5F9D-5926-F039-6D14285D403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49" creationId="{B6B80555-0FB1-61C6-2BD1-C78A98AFC9C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0" creationId="{4AB1356D-AEBA-ED54-C54C-9D9BF8F4035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1" creationId="{2BFF0E05-66A1-45D2-D4A9-C4BE1A1A32C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2" creationId="{DD0394BC-24D0-BEE7-40B0-D2618352782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3" creationId="{54F0B65C-25E8-063D-9C33-C75343725CB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4" creationId="{5CE82E27-3D03-56EA-EA75-5F12998B3FC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5" creationId="{415AFDF3-517B-5E79-6F84-8A9A11F0545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6" creationId="{31BD15AE-EABB-3C2A-547F-6B7FE784947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7" creationId="{BE734098-1142-74D3-E07E-00FF81A1905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8" creationId="{46CAFEEF-5523-7ED5-3B9C-9B1CB54D813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59" creationId="{41FC5091-655A-E967-B8CF-F7B6AF67731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0" creationId="{BA862DDB-50F0-6F35-FF91-4CDD6B7C40D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1" creationId="{C87DAE73-C68B-C40C-DEBD-CE46523BE64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2" creationId="{C8D4161E-92D7-CFFB-D201-51BBAED4DA7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3" creationId="{0118F7AD-4209-2324-90E3-F35A26C232E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4" creationId="{0DEE4C1C-7549-4547-B70D-FC5610D5928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5" creationId="{E5957721-5B0F-26A0-2ADE-23559337112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6" creationId="{C20BB7BD-5CE1-D5F1-DAEC-9145BEA558E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7" creationId="{E7AF601E-8A1F-F176-939D-999A2CD172D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8" creationId="{99AD22C8-B9D6-06DE-C937-49EFDBD2FF2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69" creationId="{04A5CDD2-3438-69FA-9EC8-0C774A4D086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0" creationId="{22975E35-C49A-EA93-AD18-99BD5A52AEA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1" creationId="{375E0816-08DF-8DA6-F126-0961813BB4C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2" creationId="{EAF092D7-0DD9-3678-DDD2-84D25C7E382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3" creationId="{08B4A02A-AA99-B541-C2E9-67746D698E4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4" creationId="{35C4A7C3-5600-7801-2482-55863729286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5" creationId="{6E7D712E-B452-5EC5-697D-517F5A52269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6" creationId="{CDCCF009-F826-79E8-21C4-45127841720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7" creationId="{A3AEB568-ED01-629B-58E7-7D9744EC9D7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8" creationId="{0C38B857-A805-3DF8-3F61-70AEB6DA3EA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79" creationId="{58C46212-249F-C9A1-B5C5-CFE936E2D35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0" creationId="{04B26001-8998-038E-0E81-68C54D6E94D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1" creationId="{40DD518D-B271-040C-DDBA-DFB440EE3B7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2" creationId="{184ADAEA-C037-28C3-B1FD-1EF1B1458E6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3" creationId="{713560A4-3E0C-F34C-6AC7-FA509BBBE5E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4" creationId="{6DBD9D68-68BA-F0B4-C558-C51B9D43A8D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5" creationId="{8455CD53-789D-E504-1CA1-9D8EF36534F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6" creationId="{02EF2E59-AFED-1CBB-4F9F-1EBBC7306CC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7" creationId="{35498FE6-19D6-683A-5BAF-50319FFE3CC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8" creationId="{E3707D32-4E4D-3E62-3776-81C0CD2F351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589" creationId="{E7991D62-4957-575E-4263-7079FC788EC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593" creationId="{38D0618E-1DC8-6036-D637-9295F0E8231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594" creationId="{EFA19162-16E2-ED0D-9885-CCC434BAB75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595" creationId="{72D30D95-FB8C-EA1A-D9C9-B38A4E31EBF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596" creationId="{50FD2E8D-57AC-7CC2-3416-EFB0E103E2F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597" creationId="{3669DB79-A7CA-A8E4-24AB-D190256FD41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598" creationId="{45F2A7F9-EE14-3554-085D-9FB021B9FD0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599" creationId="{40D99DCB-9C88-4A2B-E54A-13FABD5124A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0" creationId="{F9C8DD85-E92F-D5CA-97AB-0DCE38A25C9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1" creationId="{62386148-B235-CEA0-F88F-2E415AC7DE7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2" creationId="{EB165AC6-5C15-2E29-FB1C-44649D825EC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3" creationId="{55B6CA0A-EF80-EC34-636A-4E35CCC628D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4" creationId="{988E13D5-0B0A-4734-B2C8-D3EF2DCD1D9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5" creationId="{5FBCD169-3A4B-2B21-F493-8A6A4793C91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6" creationId="{F61C53C3-D43A-38DB-8B5E-3B865C0815A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7" creationId="{A4CC44C3-ABA7-495A-DC4D-963B6F13CB3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8" creationId="{A711F628-CADD-29F0-46D7-21E5AA2DC89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09" creationId="{114E6B1F-04A9-C88C-DDD8-A5732031094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0" creationId="{4DEB3F75-D51D-496C-34B9-44A872D2CD8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1" creationId="{F3289C48-41A9-A225-BC60-5AA866E01F7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2" creationId="{5F446F22-A9CB-E309-ABEE-B7786E57B72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3" creationId="{1B22EDD7-4D01-C6CA-24F5-FE0AD6A301A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4" creationId="{E84A7759-8461-7438-A362-1DAD74450BB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5" creationId="{06A79651-1244-2FBA-6B52-0A00B4FED7D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6" creationId="{ADFF4147-C573-CBFA-AAD1-FDAE6416EBD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7" creationId="{DAAA3BB6-D46C-BF8A-531B-2510AB0B7E4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8" creationId="{EB873973-0870-2EAE-8062-7488DA64D80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19" creationId="{503641FC-BFB3-E6FD-9DDB-69084DB5A8E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0" creationId="{20231B5D-2A6B-413C-A82B-58B0E0FFBF0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1" creationId="{F37C46C6-BD3E-D6B1-DA30-4C2E9598B00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2" creationId="{D643C71B-7C92-77C2-BE50-27EEC3126AE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3" creationId="{D7559AA0-9A91-BE23-10D9-07A16B5757F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4" creationId="{238E5E5C-D988-C5B5-3C5C-0633DE9F4E9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5" creationId="{35A6BAE5-BD5D-FC88-A643-8B138690107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6" creationId="{14547C61-1288-4F77-4373-F7C87DCBF4D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7" creationId="{41113C6C-11C6-AAF8-8A6E-BFDD479287B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8" creationId="{6F3DE530-6842-4264-66EE-6EC99D623F7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29" creationId="{2487462F-1C9A-22E8-2695-058B4DA25B7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0" creationId="{99316FF3-0CA7-D42A-EAEF-51281095862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1" creationId="{35278E06-5C3A-02DD-024F-23A7595D334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2" creationId="{3C352B67-917F-7CFB-207D-B3037244EAB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3" creationId="{F6C3E4DB-BAFD-E0E5-749A-1545FAE4AF7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4" creationId="{0EDDDC88-F3E6-3DD8-C210-3A5D13A8D3F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5" creationId="{8DD4CF8B-9087-5B2E-5B95-06A83876A1D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6" creationId="{55AC7E30-4BF5-B5C1-94AB-94EB7F73F3D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7" creationId="{17FFF886-F2E4-12EF-2177-CD65F7A4DD6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8" creationId="{9CB55EDC-F7F9-7C1A-823C-E025139BCDE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39" creationId="{A872F074-F1E1-F241-9054-9F3D9F6DF22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0" creationId="{5FBFD729-EA06-402A-A5D6-911B571AE04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1" creationId="{EC0E314F-738F-CC5F-FDFE-30099F35451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2" creationId="{A84102B9-74CE-4CFD-7952-21AB301D752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3" creationId="{8700891A-7534-FD2C-DBEC-FD5C26F41F9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4" creationId="{705668D8-D8B0-94A1-BCE4-C72875C95C9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5" creationId="{9F9A2C71-13F6-C975-876E-0BA74E067E4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6" creationId="{35D977D7-E570-8F7F-5C18-A2B3D0555BB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7" creationId="{5D7848C4-C571-13DD-5AEC-CFDC6B142F7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8" creationId="{E09CADC3-AF70-F7B4-DAE7-B2B537ED260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49" creationId="{CB607E72-A27A-B7EC-006F-2128A419CC1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0" creationId="{683C5424-4D2F-2DB6-799B-CF1C624F3BB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1" creationId="{46D03FAF-E930-3025-1AA5-78C177E91E2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2" creationId="{B43321F0-F100-8EE4-6584-00FD015CCB9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3" creationId="{6738335C-C571-99A1-D45C-21C4E2D1600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4" creationId="{8922BA48-1444-7D25-6055-3932B71C280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5" creationId="{E9A2DEA9-83E9-9AA6-FB8F-EF38AC86191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6" creationId="{35B3FB4A-743C-9051-652C-189DA4AFE79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7" creationId="{3BB4337F-5752-7365-3E92-BC89712E464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8" creationId="{58AA34D5-C15A-A35A-AA69-A3105405C67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59" creationId="{105222D4-9CEE-3283-C614-BAD5747AF91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0" creationId="{8929D56F-8393-C766-5AE7-CAFC824C0C7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1" creationId="{1B06BAF6-9F98-DA6C-A034-55525BB5656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2" creationId="{D59C32AF-52D3-4C5C-0344-A4F8887C82F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3" creationId="{ACD88309-F738-DA2B-8FE6-82A731B3A55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4" creationId="{6EC08C04-56D3-BB61-8A64-6BACD64B052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5" creationId="{2B0C02E1-9F0F-1F7B-BE13-4083BCD2218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6" creationId="{30BC6ED5-6FF3-5098-330B-F6167F13E90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7" creationId="{19B7F3A9-6233-F466-C894-C925BE22833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8" creationId="{FF175BC6-E192-4FA4-3640-C963812F7A2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69" creationId="{7C00CBE4-5BF1-D234-6864-077105C1A5C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0" creationId="{47B0E6ED-8204-D3C1-98DD-B52448E23D1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1" creationId="{3EDB9282-0724-2161-4ACC-60A9BA19D02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2" creationId="{0B8CC3EA-21EC-E6AB-48C8-C51C12203F8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3" creationId="{ECE217E7-CED6-2B8C-B0EC-7BC910A730B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4" creationId="{0713F0B9-7ED7-CFF1-99F2-543859F6127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5" creationId="{78778833-D256-3AA4-956E-4B0AC0AA4CE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6" creationId="{7175D4D2-E352-7352-D1F3-B76779D524B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7" creationId="{1A092769-348E-B34B-6590-1BC8135C27D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8" creationId="{9C9D6337-1046-9189-43F7-127B1FB716C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79" creationId="{0CE70686-CC88-0BBD-C5F3-FAA171E18DF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0" creationId="{915C5687-E260-763B-88AA-15365019EBA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1" creationId="{2DF6BD15-086C-D533-2786-005AC6C779F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2" creationId="{AF0B2B8B-E591-0663-7522-32B32781A2D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3" creationId="{8CF712E0-3F7D-7001-FB74-AF4FE44EC1B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4" creationId="{5BF33589-F4D5-4B7F-B8E0-5EEDFFF973E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5" creationId="{6616B316-0D71-6DCF-D3E9-89E8550AAA6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6" creationId="{F593DA47-AD2B-B874-0E18-5E7D44A2217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7" creationId="{06E88AA1-2014-9955-7BA7-31E6148CB93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8" creationId="{B326CB1E-B17A-8739-F567-C6639586B85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89" creationId="{6867AE67-E8B8-1C52-41A3-E53C97F74CE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90" creationId="{38F6C96E-6CAD-CBE2-CB5C-B648C152CCE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91" creationId="{98A527AC-7C74-1288-5FE0-C8395419113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692" creationId="{AEF79F92-F561-61ED-7401-BBCA6D2E822F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93" creationId="{68AD178D-B051-744B-E6E6-3D137C8BA0B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94" creationId="{0EE0CA26-FB0A-C0E0-1B8C-8D1F7AD24D3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95" creationId="{997B11FF-DD91-427F-FE01-BF49579C748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696" creationId="{0AF2E61B-EA7E-2BCA-7FE6-DE4FE680FEC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96" creationId="{7DB83F31-AD0B-9C03-6BA9-828BEF94EF4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697" creationId="{00F782BA-6181-4B14-3997-64E4DFD1F4C0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97" creationId="{357BEBF7-D9C2-B6E8-226D-2431F157F09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698" creationId="{023C6E94-9C89-E57F-EA3E-B30CBA83DA5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98" creationId="{2AC420C4-4B05-E5E6-FC7A-3E63941F7EF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699" creationId="{11F3F52B-69C1-2458-59CD-59791C709B1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699" creationId="{48C92C99-61AF-A3B6-F272-6B71DC03037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00" creationId="{6922BEC8-331E-54AC-CCE8-918206FD221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0" creationId="{DC4019A6-719D-E575-C282-FB56E15364B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1" creationId="{426E0A66-F8D2-7FFD-61B8-3FB04E1E4709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01" creationId="{DE721076-A5C4-74CD-7B69-C0BCD84A49B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2" creationId="{7908F555-A7ED-B27C-E038-8CCF3574AE9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02" creationId="{ABAFB958-D152-5BCD-5571-CC2E87B00CD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3" creationId="{065C6012-CDA0-B248-FD9D-BA26916576BF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03" creationId="{CEB92157-6A90-7F2D-6A3D-75B5C63E84E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4" creationId="{E598988F-CE7E-3DA4-F210-77B280AAA07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5" creationId="{CD9F007B-656B-7CE2-736D-44C418C8319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6" creationId="{EAACB6A0-FCDA-97FB-E0D5-B7436AF1080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7" creationId="{3B475483-1EAD-6E2B-1CF2-B0C9B2809ED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8" creationId="{3310AC97-2B17-5EB9-DA06-D01BB061093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09" creationId="{C7AAF08A-C9A6-FFF1-128F-BE82DA7E66F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0" creationId="{A7C75177-4EA0-DD5F-E86B-7E22AB154A3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1" creationId="{C32F890F-0180-9072-6ED7-C22116AF7E8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2" creationId="{3442574D-D8B4-1E93-DC73-C18011D20CE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3" creationId="{A0B16CC1-1F60-9CA1-6C43-8546D70BEF0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4" creationId="{9409C3F5-3AAD-A7FC-027C-C85A2DF46E3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5" creationId="{D91D1797-5627-B7D9-494F-D10581D03C3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6" creationId="{CAD9EA6B-46D1-E0FD-BDE9-D5E2F86A98D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7" creationId="{D5353E1D-E8B4-2847-A2ED-A8220AE528B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8" creationId="{63B0D056-1AFC-8900-9AEA-A07570FE44D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19" creationId="{8D06D701-4E24-8227-E01C-F39C22686D1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0" creationId="{0242A774-575F-DEDB-3983-AA93DC1276C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1" creationId="{155A11A2-4D30-27DD-1399-A0E5149B624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2" creationId="{CCF01181-AF88-BA20-65FC-9B7F89B903F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3" creationId="{59D494DE-BE02-1BD4-0DAA-0C0E822BF5C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4" creationId="{AF5048B5-B58D-2B26-6342-0F8C4D812FE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5" creationId="{8394E4A1-D94C-0048-21A5-09230797B3B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6" creationId="{0DA3BC43-4F39-277F-BDCE-C0AF358EE84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7" creationId="{4269E245-923C-4B74-3CE6-0BEF8C761A0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8" creationId="{3C4596A8-BC98-2D26-F311-03774193A82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29" creationId="{7AB050B9-BC80-EF48-7E66-99CC9501BAE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0" creationId="{33E6C64B-D2AD-DC97-A0D0-7C6FB12BC0D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1" creationId="{0314428F-FCE3-DF5F-9CBE-EB3052D962A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2" creationId="{31C1BE2B-325A-CF00-1FF6-73BC3D1C4D9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3" creationId="{6F13FC5D-E2A1-0B5D-C6C4-49B1F590960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4" creationId="{FA8B31A4-FBD2-60C8-24A2-4B60C8CA99D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5" creationId="{4E8E2362-8195-C420-50AF-7330D8E56E6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6" creationId="{948E0BC3-BD91-206C-377C-5A6B1D4900C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7" creationId="{83387556-5086-4A83-22FE-F8C3DB7DB09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8" creationId="{AD7A68BD-DDFB-71AC-8278-7C9552F7712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39" creationId="{10CCCD90-2C4F-A315-FE65-ADD93FBD5B9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0" creationId="{E585F9CF-0ECC-ACD6-7870-72E89F83613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1" creationId="{CF7AAB76-F758-A7B9-BD21-FFBA8D19040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2" creationId="{90314AB8-3D88-6943-0263-3406A435CF5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3" creationId="{10E9F9DF-37EA-5B2F-1536-04F4AFF5813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4" creationId="{95A725BC-FFEB-EB93-872C-4272D4327D6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5" creationId="{9399F3E8-E12C-524F-37EA-986D1FEFC5C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6" creationId="{0C461900-7487-C621-EF27-374637BDE3D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7" creationId="{D242946D-AE09-952B-1D5F-430117F7676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8" creationId="{0D7171CC-2756-6E3A-3C66-41127DA993D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49" creationId="{7513B2EF-0D4D-53D7-D897-6EBFF10BDA0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0" creationId="{D302020D-5E26-D8E9-3951-809B872B7CB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1" creationId="{CCB441AA-0BB3-CC15-3B99-431E5F12623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2" creationId="{94E235BD-34CB-88C4-D4D4-C1D64D57CA0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3" creationId="{6CBBF350-D2F0-4ACE-218B-BD14F44E8DE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4" creationId="{2A0959E3-E55F-CAA7-123C-B911F6416B5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5" creationId="{6D25EB14-454A-2751-2602-E3768770E9F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6" creationId="{F9123F4F-981B-A5A6-1944-68E8ADAD6B8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7" creationId="{FFD99E54-3AFE-153F-BE20-8B0C37C0235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8" creationId="{6406455B-CAEB-5F6B-9FD7-913BBF90C35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59" creationId="{CCE6E180-DEA1-AB95-E303-46ED4CD0DCE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0" creationId="{56D20E1B-BBEC-50DD-07EC-AD7C7788A23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1" creationId="{8BFC498A-4430-8B3E-0E50-8A36FB844A1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2" creationId="{A98DA1BA-9E64-765E-F1AB-BF0520C0EBBF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3" creationId="{14F14294-96E7-C03B-3F63-BE768287292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4" creationId="{01B4A445-0170-AA85-3CD1-6D4748F439E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5" creationId="{2C6AEE02-20BC-1A50-19D8-568B4883285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6" creationId="{041370AE-88C4-BD7E-B337-271AB034AC2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7" creationId="{FB9B6C59-29A1-92B4-6791-D9ADA67C9BFC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68" creationId="{0475849A-E8C2-6389-09E3-3240163CC7A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8" creationId="{14D46DBB-A81A-A341-ECD1-613913856ED2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69" creationId="{0E57FB78-0F74-91E0-1558-CB2AFB6593DE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69" creationId="{17ACA5E1-6D1E-E6DE-A7EB-42C0C768DD2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0" creationId="{E2AEEE3B-C5C8-BC8F-7A02-659F1FD987C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0" creationId="{ED61EA4E-2881-1202-708D-788D47F1A43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1" creationId="{249CB916-7939-435F-23E2-4E2460D3FDB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1" creationId="{F2B95176-E735-7951-96E6-B8F1169AF19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2" creationId="{1C0E4BC3-5B47-CEFD-975B-FEDD8857DF4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2" creationId="{B0AD87E4-6D42-C8A2-7ACA-210A6C105D1D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3" creationId="{01DB10E3-E893-EC05-C9D7-E4B9AE6D7CA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3" creationId="{BE70EA3E-4F4D-77CE-370C-E95F6145CD3E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4" creationId="{039C03D8-5DA6-968F-9856-D98AC5DCC121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4" creationId="{891421C3-EC45-D70A-8A9A-192618724F2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5" creationId="{483A6973-957E-659E-65C8-440537F51841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5" creationId="{FBAD72D5-8ED9-0D1C-C4DB-5CA59848F447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6" creationId="{50443B03-DD90-4EFE-F88D-FE53A4814706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6" creationId="{50719973-B993-3DAD-8AF4-0C0DA16A20A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7" creationId="{50D4AA8E-ACD4-4306-0434-7E0AABF40288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7" creationId="{63658A92-EA82-E2CD-B8C4-2243E107F36D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8" creationId="{88D0ECB5-3E54-D52D-5D89-F2D38B04E3F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8" creationId="{FBFFDE11-F952-2B9B-142B-6889118D874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79" creationId="{DF748A2A-4488-F6CF-63C7-758993E99C8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79" creationId="{E3026B1A-0DE7-5545-DE2F-0C925B811CD3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80" creationId="{37DE560C-58BC-8ED2-3354-1AB26B10F79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0" creationId="{955A84EE-DB5E-E5DA-3B4C-F86B5CFBA42B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1" creationId="{398E1E37-64DA-E996-B7FA-177C3CBA28CA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81" creationId="{7AC465ED-1824-2A93-4105-0311B5BDF275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82" creationId="{85F8A474-22AD-F2C8-3437-767611F643B7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2" creationId="{B65617C1-6549-E81A-A2A4-B068584571E4}"/>
          </ac:picMkLst>
        </pc:picChg>
        <pc:picChg chg="mod">
          <ac:chgData name="Merlin Gutter" userId="2abc6f04-74af-430b-bdc8-569c3bfa1dda" providerId="ADAL" clId="{CB1EFBC3-10F5-3048-8961-5969497C0019}" dt="2022-11-12T22:18:16.087" v="47523"/>
          <ac:picMkLst>
            <pc:docMk/>
            <pc:sldMk cId="3735846079" sldId="374"/>
            <ac:picMk id="783" creationId="{404E4EE9-849F-41EA-B252-E37CCD1AE54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3" creationId="{CBDF4E97-4780-C3B0-77C5-4BFC1DD8F679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4" creationId="{5BCE0FDD-65A6-3366-46A0-CB2A37F0A9F3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5" creationId="{9CC4E566-326D-0193-68EA-CE5D97AAD10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6" creationId="{DF45F8EB-EFB6-6B6C-6108-EDF6C60183A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7" creationId="{9E6838B0-A1A0-8B9B-0327-DEF2CC64E8B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787" creationId="{B2F2949D-E049-4425-0973-4445B593258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788" creationId="{3651BE97-0CE2-A744-C500-BB237A502DDA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8" creationId="{FCBE554B-3C9A-D282-8BC0-4923FEA2234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789" creationId="{088FB441-917B-1BF2-3CEB-31F1E884151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89" creationId="{5C0C754A-91EB-9659-9F72-8068BAE11CC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790" creationId="{015A1803-07CF-923F-D353-4F2E1E327ED4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90" creationId="{BB1543C3-2D8F-B099-60A6-F91ABD7E928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791" creationId="{294D6F1C-41AD-27A6-2810-FBB328E105F0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91" creationId="{C3667586-8D01-0941-045A-B16238633722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92" creationId="{3C657D61-FA01-5601-BFEE-D34B0E0FBBC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792" creationId="{D29E643B-9E0B-0ACB-F6EF-4A43006FEBA5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93" creationId="{E2954562-721E-4C44-054F-426F497C012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793" creationId="{F344C6A7-E3B7-7793-4E31-BA05B364F17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794" creationId="{7D3EC25B-BC5F-A47A-718E-EB86E8385238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94" creationId="{CC82AF73-A90A-EB6E-518D-DCF03176EFD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795" creationId="{60F32BC2-F993-6E1E-5748-526C62B3858C}"/>
          </ac:picMkLst>
        </pc:picChg>
        <pc:picChg chg="mod">
          <ac:chgData name="Merlin Gutter" userId="2abc6f04-74af-430b-bdc8-569c3bfa1dda" providerId="ADAL" clId="{CB1EFBC3-10F5-3048-8961-5969497C0019}" dt="2022-11-12T21:50:21.077" v="46868" actId="207"/>
          <ac:picMkLst>
            <pc:docMk/>
            <pc:sldMk cId="3735846079" sldId="374"/>
            <ac:picMk id="795" creationId="{CCD537F9-F2D9-5F83-EA08-D36992F6634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17" creationId="{575284C9-CA9A-D51A-49EF-11D07F8E818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18" creationId="{F8FDCE56-6998-7262-C5EA-2BAA766AD97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19" creationId="{78A53E3D-AA64-F360-9C0E-925E2885354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0" creationId="{F13161F1-F5F2-B523-562C-3EA0EFF08D0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1" creationId="{43BDEB4C-44D1-7266-6732-606A41A29B0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2" creationId="{1FE0C038-9062-02C4-A21D-7C9FC02A8B96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3" creationId="{42A1ABE5-DEA9-5491-B3F9-4C293CDB719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4" creationId="{BFF59788-5458-C90B-D7EA-7FE2302B115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5" creationId="{FC56F524-5596-17E2-2C88-C02DD549B7E0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6" creationId="{FA553D23-7D5A-1EEB-AA22-9B67BD6BF5A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7" creationId="{90F28D18-3059-7733-AC56-82B35F375316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8" creationId="{BCC1B4FA-B0FA-0B5A-ADF6-CFBBD581828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29" creationId="{0C7E1EC8-8B58-2D64-7CB0-E55858BC514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0" creationId="{C69559A8-7767-FD96-8B1A-4DB761037870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1" creationId="{85F48865-D2B6-44D6-9B8F-FC078AFA9E8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2" creationId="{2D00BBE9-B332-D3EE-3888-C746E9C92EFA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3" creationId="{8858F64F-5217-D438-2D9A-4DFF48C29E40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4" creationId="{37F0A062-C553-400B-AC50-14D5B954D4E1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5" creationId="{3F28B58E-666F-47D6-019C-93E26B94197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6" creationId="{77C38CA5-8764-2A5B-6FDE-29AD08BB5F1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7" creationId="{777DF0F6-C0E6-8208-A77B-42F7B49A38C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8" creationId="{2E0F4F6F-8091-BD12-3148-BF69188FB0B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39" creationId="{93D4AB45-0527-C15E-6D15-9F693ACF0E3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0" creationId="{B5B27288-D587-A9B6-6CF3-2E7BD1317A7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1" creationId="{4A29904B-4B76-1AFE-E75C-F73F6704562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2" creationId="{03F5D11D-034A-38A3-BCC4-C2F48360DB7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3" creationId="{DAFEB751-F9AC-B51C-B8C1-54B4EFF47A3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4" creationId="{78D955B3-CF18-E6BE-715F-A3EAC179975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5" creationId="{F3F4C3AD-BFEB-8253-614D-F651DBD263E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6" creationId="{A71E0634-06F5-3CCF-0B6A-6E9B4599D41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7" creationId="{F787958F-54CE-0B7D-1523-64E1A4C2D1D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8" creationId="{8E51D288-9327-E751-937C-CE12C73D956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49" creationId="{9BCF26B8-1A1B-9F9F-B66A-90EB6260B2B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0" creationId="{31313EE4-8582-C7E6-BC9A-EBE6343AC89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1" creationId="{3160DA43-81D6-51BB-8D59-36CCBFE652AA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2" creationId="{F1DE612A-FC16-C875-AFB0-EFEDD3C32F2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3" creationId="{43A10613-230D-B134-5A02-C305107CB7A6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4" creationId="{C9AB8453-9F6B-1FC0-B1C6-DDA1E8B07E8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5" creationId="{4A8C5C4E-CC05-2E5F-C1E0-D4E4756ABE8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6" creationId="{92933111-9C99-2B47-3143-22DCD68836A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7" creationId="{EF8777C0-62EE-EEA6-4B9C-8244AF7B81B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8" creationId="{424BBA56-95F6-71D3-6117-4554FC1391E0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59" creationId="{6C1ADBF6-B8D1-C7FF-984E-6B3DF64D468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0" creationId="{A1439A13-8ED6-1444-70AB-D1DC72C7BA2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1" creationId="{81F1C4ED-FC5F-203E-55A9-9DB891A479B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2" creationId="{A27CED19-A8BC-0024-5963-365F9AA0BFD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3" creationId="{CC6EFEA8-C842-0D5B-BE09-8FA49A3EFD5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4" creationId="{6AE3B8DB-0B00-20CE-743A-C2B9F13C2EF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5" creationId="{278F52DD-71CE-65FE-595A-A8B1B790250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6" creationId="{C8D8D7CC-F977-DDDE-1997-947A48A883D3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7" creationId="{8A8E4812-9835-90E1-2D03-FCBAF2480C83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8" creationId="{884356CF-D88A-668E-205D-5CCD28A78B91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69" creationId="{5193AAF7-E16C-891E-90AC-7A286E2771A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0" creationId="{C8CCF80B-6EF7-8E46-6389-7089128CF393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1" creationId="{824F43B0-8087-2A43-F252-3134867AD82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2" creationId="{9267DC1B-D4BF-D412-142E-DDE32D93A6A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3" creationId="{C3A4739B-B0BE-1F80-B7B6-BBFF292D48B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4" creationId="{E97869FE-2E8B-76CB-8292-FC98CA0207F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5" creationId="{BC980CB8-4A35-6988-A2CC-729EB344DC3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6" creationId="{2942CF4C-FD8F-23AE-AE47-0014F37D678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7" creationId="{1926AB72-4640-4253-D5A9-8EC4FCD7729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8" creationId="{2CD38FAD-608F-09B5-085C-9C000CEDFD40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79" creationId="{0005E988-F699-ACB4-8981-D7830725051A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0" creationId="{9563B0B8-F4FF-9D4A-0092-2FAF56B3F4E6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1" creationId="{DE5B9CE7-E67F-530B-8A12-C990A103B87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2" creationId="{1072276B-0351-BF34-5E6F-552272D2378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3" creationId="{406D493E-1D0A-8D43-5FEB-5B4F4B1E16B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4" creationId="{EF0E15AC-293E-7EDA-2A24-BB0DF766AD6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5" creationId="{108C2F1B-9D67-2967-9AA7-2604E0E243C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6" creationId="{8131A2AF-315A-9B29-5079-9E2FFE02EDB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7" creationId="{19B44199-751E-5FA3-54BF-9BBA1EBB938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8" creationId="{37D051FD-97EB-EB75-87CA-0A057D5CC1F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89" creationId="{3B474858-1790-66E9-443F-B33D49B143D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0" creationId="{609C5F54-77A8-5765-6C1F-A7AED818A58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1" creationId="{7C440DF1-1F73-E3EE-AAFA-737A76253883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2" creationId="{1BF75214-B369-FB4A-D4FB-2B37CF4863E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3" creationId="{0FB37769-888C-8385-CB94-31FB2FA96DD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4" creationId="{89BF03D9-B105-0226-42E5-BE0634A717A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5" creationId="{346A19CF-6B44-218F-7DA3-D399DBE9A0D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6" creationId="{E0F44AB1-228A-DB59-2A34-0E004A22D9D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7" creationId="{7A3C89B3-6C31-70AC-F385-3A3A0BF4122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8" creationId="{4FF8534E-9975-2A32-5009-BCA9EE5C489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899" creationId="{BD597BB2-5309-65CD-DFC5-645EB051C79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0" creationId="{BA0320E8-268A-8CCC-0A7B-EC5D45AD110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1" creationId="{93629051-6BD6-BC32-030E-3AE28F979B4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2" creationId="{92EE8EDE-09B6-1458-32B7-4AA91A4BE18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3" creationId="{F9DD4A3F-AE9B-0E84-7106-F5630E66E98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4" creationId="{0D07943D-8E7B-CAA3-317C-D18BE30AD78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5" creationId="{3AA3E101-F8C9-3FAA-B7F6-140CEBA8893A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6" creationId="{71234FDE-855C-47A0-F41D-31E01A1361D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7" creationId="{4760F385-10E7-0A27-BC25-F540C3F1C00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8" creationId="{33780D63-1542-D1BC-2ED7-A485B64E0BC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09" creationId="{2D55A0D7-9420-943B-56B0-97B6A1A45EA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0" creationId="{00CDE241-6D06-25C3-F8FC-F03358D61E3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1" creationId="{59DD0D0D-6AD5-CCC1-E298-8BE3CD203F5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2" creationId="{04D96684-51ED-31C1-5C3D-D5B49710076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3" creationId="{3EF3FFA9-22EE-C392-2FAF-EFF36545102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4" creationId="{E479E1E4-2DF3-7F0B-30C5-4B747AA5FD3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5" creationId="{7E236FC1-C92B-6FAF-668F-2809A5C32C21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6" creationId="{418007D8-5BA9-F16E-4CC6-6F48E3427FB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7" creationId="{6195CE61-B08A-DEE4-AEEE-FF134DDCD136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8" creationId="{E53E916D-5A0B-6597-5048-21AD869DFDC1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19" creationId="{B8423709-9665-6A6F-CC65-F9BE71ED055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0" creationId="{849743DF-6DD2-EC8D-3370-05B49398CE43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1" creationId="{5C93142D-AAA2-B2FA-174E-FE11B2426FFA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2" creationId="{B431CD1F-3A9F-5AD5-7634-0A694945C50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3" creationId="{274FB133-06F4-3125-AECD-40C4DBD9A0F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4" creationId="{5560CF16-29BC-6585-5D3B-5BA7D387D20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5" creationId="{9A139280-70F1-A2F3-C28F-08E66015ACF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6" creationId="{68D08FCF-C1D2-02AE-E41B-40A7F0D8342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7" creationId="{69E3A68B-95C3-4394-154B-E8E1084BE40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8" creationId="{853D2746-4B9E-29A5-7518-92D33DD5DE2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29" creationId="{75A867F2-11B2-6718-871D-9A408879E70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0" creationId="{DED46981-8F8D-02D2-1A1F-0CD3DA1A8C11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1" creationId="{DE99E666-1C9A-E60F-2286-638D2DC20FC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2" creationId="{29205098-C8E5-691B-EB3D-1EE5EB6A731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3" creationId="{6F322FF6-DA61-6717-7430-A5A3CAC6B98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4" creationId="{4412F22B-6F70-2239-152A-5E7C34CD9BF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5" creationId="{617E6B1D-7943-3B4D-A169-76B373A9EB4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6" creationId="{E24787B5-7868-8690-8BE9-686E49189131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7" creationId="{74DF8324-7AFD-51F6-D276-699D4FD2533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8" creationId="{2A4A1E63-E919-80A2-C7EC-D1443CC4840A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39" creationId="{A59EAD81-2D94-C613-CA48-B2A77DAFDA1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0" creationId="{8545947C-2F70-B164-05F3-74709B26051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1" creationId="{4FC2C43E-77D7-11C7-132D-A8A9AD540A5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2" creationId="{2662EB8E-9FC0-C9F5-6E60-329D312C1F93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3" creationId="{AFF072CF-342D-742C-E167-1A696F7AAB2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4" creationId="{3FDBFB00-57D8-D447-6249-FE4CAF145E71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5" creationId="{70B67FF4-86B4-CC99-7D5B-579A407044C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6" creationId="{C7685D92-CD75-BE8A-A90B-9B29CB22C76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7" creationId="{C7A9EDC8-546A-900D-9DFB-C1CAF9CB2776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8" creationId="{190EDD72-95B6-9A04-FB4E-E06B3422CBA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49" creationId="{E9CE6AF0-CB64-0232-2E68-BB2E3704ADC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0" creationId="{4485A0D4-1C13-CD28-EDB1-DB0662E707E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1" creationId="{EC0101E9-AF0A-CB5D-79FE-B9EB80641DE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2" creationId="{CC8BF715-7F36-104E-1747-C899C03FFA33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3" creationId="{177155CC-94C8-4E63-8597-457A0BBB329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4" creationId="{3B0B79C2-5E1E-43F6-CE61-D8969319612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5" creationId="{C5AFDC8B-38AF-7548-026A-31DDD912EBF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6" creationId="{E9DD8333-51EF-AE03-B6B7-BF121255699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7" creationId="{CB1393DF-E77C-FF83-6764-FA70F5D7B16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8" creationId="{DCC4C9F9-16ED-4A81-36C7-6F53080B2A4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59" creationId="{D2F05699-67A2-74E7-A030-B24479EDC84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0" creationId="{CF06D7E8-3A2A-26CA-B04D-986EF5EA937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1" creationId="{AD55E42A-1C23-4C8E-2A80-E68B84C485E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2" creationId="{D6F6854D-9734-EAA9-5C4B-F7E07A430B3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3" creationId="{60E1E9D0-9362-EC10-1065-63EE663F048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4" creationId="{A9AEEAB8-25E6-E9CA-D4DB-0597E32482D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5" creationId="{376B2711-A056-92E0-4B13-6DA9BE65AE86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6" creationId="{853493A0-F7CC-5A93-1A95-17324599D990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7" creationId="{27DE57AC-F85D-E3C3-B74A-E5C65C4AFFB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8" creationId="{3F697D25-B689-D09C-5043-FE6DF66D9263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69" creationId="{8B60B846-0527-9C20-7323-9BBA977082D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0" creationId="{6610CC98-2D55-E3A4-403D-5435C5C4B9B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1" creationId="{C7CD3C94-045D-F2E8-2C2C-04E318245B9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2" creationId="{0CC88885-0000-5BC3-1DC5-D15A8193A9E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3" creationId="{A7E75E6E-9B07-8EE7-9AB6-C2753A2C68E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4" creationId="{170278E9-B282-3848-38E0-958A9A7800A1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5" creationId="{0F2C33E9-8507-6AFF-3539-421E4076953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6" creationId="{8202BE57-CF81-A2A8-6A95-8A076F9DAD8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7" creationId="{ACBF23E6-38F8-FAA1-26C0-FB42E8754D9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8" creationId="{A896EDE7-7174-AF09-0E4E-13FFEDEB996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79" creationId="{D5987FC5-5A96-57F7-CEE2-30AA029368A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0" creationId="{E581B14F-690B-B42E-E00D-E8CA13AE5C9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1" creationId="{2DBD3ED0-A964-53A2-5127-7CB195E331C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2" creationId="{BD4F351B-45D3-9948-733C-F593BC0C6E20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3" creationId="{8DACC6E0-0E4E-2DC2-4711-12832E83698A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4" creationId="{C9543D11-51BB-484F-2CB3-3C7795A32D5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5" creationId="{9A63B89D-8F1C-D9FD-7B8D-829E5FCA1D2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6" creationId="{C8BC39D8-83D4-A437-3209-D2918D9AE80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7" creationId="{4BB95CFA-AA08-3DE7-0DAC-05986C0E8D6E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8" creationId="{8167078E-36E9-8E6E-4A2E-BBE2792E993D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89" creationId="{676E97DF-7760-A3A4-69E4-5AF31D5F9AB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0" creationId="{1BD06B9B-72EA-070E-D52D-3B5F0D80AFD6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1" creationId="{8A2292EB-7D64-C5B7-5B94-EE32D2ED0AA6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2" creationId="{7A7A0594-6F70-D9DE-B351-B1B45DBB4D7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3" creationId="{6F616046-24B6-E613-DB32-E221243C420C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4" creationId="{E3A8DBC7-4E6E-AFB5-AFB3-C27AF6E4C0E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5" creationId="{C3CC7C52-9251-A4F5-0B6F-DFAF156C5A8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6" creationId="{AF764EDF-D00D-7CC6-CFCE-049F9DE87249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7" creationId="{F871B4D0-AD7F-97A3-CC71-CB0F260D4F6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8" creationId="{795328F5-D459-939F-CCB3-478E0781CB8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999" creationId="{7ADEC7B2-A7DB-341C-8D45-784FAC1AF4E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0" creationId="{BDC0F8AE-257C-E5B9-AC0C-233C623F1B5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1" creationId="{F4D6229E-95EA-3F18-0FFA-9BD1BD88AF2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2" creationId="{35532F5C-FBB9-FA46-4269-ECB45E4A933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3" creationId="{F3A39006-699D-5BD6-56E4-8B3FE203ED72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4" creationId="{AFDE3ECB-6D46-7ECA-F617-E3392B76717A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5" creationId="{2A50B764-9223-6664-9580-B9ACC484FC4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6" creationId="{FB4EF98B-688E-E31F-BED8-A2DE3F9A457B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7" creationId="{EC49EC18-998E-1C5E-E0DA-E5A00EE98974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8" creationId="{5F2C79BC-DEFA-D54F-DD30-73796CFD6D05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09" creationId="{78AEE4C2-843C-092C-7F58-ED565D53164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10" creationId="{2FF10B88-CB03-6C8B-19EB-ED7F18B41FBF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11" creationId="{AE3B8D78-BB78-E491-1FFC-A6C9AD204531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12" creationId="{A5D1AA59-F85B-56A9-ABC4-2B2883B956C3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13" creationId="{7D638326-69A9-E20C-4A71-91E620690638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14" creationId="{19CA1C4B-4FDA-B18F-8D60-E291E4B256C0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15" creationId="{BB377CF9-497F-9E7F-6802-093DD1D4FEB7}"/>
          </ac:picMkLst>
        </pc:picChg>
        <pc:picChg chg="mod">
          <ac:chgData name="Merlin Gutter" userId="2abc6f04-74af-430b-bdc8-569c3bfa1dda" providerId="ADAL" clId="{CB1EFBC3-10F5-3048-8961-5969497C0019}" dt="2022-11-12T21:58:33.124" v="47016"/>
          <ac:picMkLst>
            <pc:docMk/>
            <pc:sldMk cId="3735846079" sldId="374"/>
            <ac:picMk id="1016" creationId="{66D59DF3-83A7-F721-6BD0-4C7E392AAF1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17" creationId="{7209B925-5A4F-05BB-B803-D46D91AF9C0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18" creationId="{D6E2AC83-5605-08DC-1F52-AFB37EC0B96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19" creationId="{445E4001-BBE6-0C8A-1BA6-14D4D8BE09E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0" creationId="{34AF0548-549C-0CFD-801A-C5263EA47E6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1" creationId="{04DAFDFC-C074-B9B2-A7DE-A7FEE735A68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2" creationId="{029DB4EC-DE0C-3EBB-AEDB-11A874E8220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3" creationId="{A3E4BCE4-4B85-EF54-7154-3C38E9FD5FA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4" creationId="{25CAD18F-33D6-46BA-60E7-22534F5FAC9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5" creationId="{4DFAFA47-9C3B-B701-6BDD-E214EF63DE8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6" creationId="{988AB9C5-B452-B33B-B57C-587A96B92AF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7" creationId="{C0D00D37-A636-E6AE-9849-47E7A1E5FA0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8" creationId="{F47D4A07-1F3C-546A-54E2-82973892DD9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29" creationId="{80DBAEDE-6D3B-6D82-BF0E-44DFBB8D21B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0" creationId="{F727A7E8-0D90-8913-19CC-F5A64D1F7F4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1" creationId="{6723C314-412F-476C-D364-648395FA2B7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2" creationId="{43894B56-5141-C23F-1EFB-1F472A1F60B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3" creationId="{21ADE752-6D2D-6294-E72C-4DF6EC5E595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4" creationId="{456A92F4-34E4-F1A4-1858-60FF7E73A41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5" creationId="{64646D36-3830-0BCB-3BBD-6336221BC2B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6" creationId="{95979EBF-1156-A34C-CDED-A6C06F0D437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7" creationId="{571C8B31-B464-8E83-5AF3-DC326014319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8" creationId="{5DE5BA94-D956-2B1B-8F50-03C086F68D8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39" creationId="{C46CFF15-1158-4CDD-95B9-1FDC836C976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0" creationId="{3ECE9A2A-44D4-B229-B8E8-79DFEFA3F84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1" creationId="{8DA01268-1178-8258-04A2-BBA57771650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2" creationId="{D0AC3F56-74F9-2C29-F599-E4B1D0CE068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3" creationId="{B503917C-AFC7-9BB0-09A3-3E57609C7EB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4" creationId="{2520E518-17DD-A22F-B4FC-368EEB1D5FD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5" creationId="{BCA97DD6-0004-9AB3-3AC3-572E782CD26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6" creationId="{E9243131-B9C2-6606-1D29-5A80ABFEF6B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7" creationId="{BD288DD3-1392-11B3-2574-EFC3C333889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8" creationId="{FE346B2D-51CE-9813-FF18-958EE7794FD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49" creationId="{2964A7A1-7178-3AEC-809F-861C465E00A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0" creationId="{D3E3FD46-FFB3-DECA-77FC-F40D7677BFB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1" creationId="{9018D2A3-459D-2F95-63D8-C3CAA759F3D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2" creationId="{B74FE801-C19F-8119-2BBA-3DD5B00B3DE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3" creationId="{B919C9B3-6177-D696-15D7-EFCFDA21CB9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4" creationId="{DBA4B480-B221-E973-3F33-0F97195C3BC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5" creationId="{69CBE03A-39F2-A95F-ABDE-9EB76E6BC67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6" creationId="{B2C52DC3-B721-D72D-3608-89E93120BDC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7" creationId="{D11A2B01-2DF8-79EC-D717-4FF03B7BE91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8" creationId="{FAC4EF19-4452-FD21-C931-E3EC5198DBE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59" creationId="{CFA77F88-9FA5-5C03-3097-C8F20EBF170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0" creationId="{A2448D38-2311-1ED4-9410-1810020A108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1" creationId="{ECD910B5-FC5F-F42F-C166-F51621382E2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2" creationId="{64B8EB44-1EC7-AAAE-EADF-B5D99D7DC86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3" creationId="{3FD53D41-EC51-D60B-F30A-D42B79D699B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4" creationId="{C880847D-5977-6884-2A45-CCE0220FE28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5" creationId="{12CB76BB-CB26-6DF2-A52E-D9D58D3732E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6" creationId="{C9468A24-ACAC-DF87-2E4C-4C98A7FB67C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7" creationId="{2E3D61CC-DE22-9772-9707-DA31B3D4175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8" creationId="{020F5942-8DFE-2E10-8C79-FBE40428D35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69" creationId="{25B10E40-5B4A-129A-B207-15D66215652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0" creationId="{3306A355-B229-70DD-92D9-9FF56D23FE3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1" creationId="{FCB94113-7693-800F-C637-64746122F8A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2" creationId="{CC625D92-CD16-DB1F-1D44-52C878FDDDB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3" creationId="{24E63ABA-20B5-4466-F8F3-598FB10B742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4" creationId="{C6F3F178-CE87-6300-84AE-2D2E7343F40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5" creationId="{9B90A3BA-A65D-F92C-6FBB-10F7E33E06C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6" creationId="{388B843A-FB79-63DE-716B-2D15E142E2A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7" creationId="{A381B113-617C-DD4C-C347-861406136AC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8" creationId="{ED56619B-2180-D777-5194-63D295C9B9D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79" creationId="{143FEAD7-A304-2C2F-CD28-2C0EFBDCE88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0" creationId="{74C5934E-89F5-30F1-7825-B39A0EFD42C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1" creationId="{5B3AE47A-A0D5-C5F7-8B63-D87BFA5C81D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2" creationId="{4A84297C-55A6-B858-C7FA-52C47352BC3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3" creationId="{A8CFD745-CB6F-DC24-D552-512F0FAB574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4" creationId="{FFF3EC41-51E1-902E-ECE1-5CE19F17A57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5" creationId="{77F07FA4-0668-5AD5-DF21-FBC6D5FC0B1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6" creationId="{6605E6AE-7B5F-4B77-BD44-73E2D0C3A08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7" creationId="{23A8B255-FAFF-73AE-58A7-63D77BAE8BD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8" creationId="{75194FB5-5D11-B95F-C281-C6B7CAED0DB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89" creationId="{61594FBA-12E5-3B7A-17B6-F1307505D1D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0" creationId="{E6BE35E9-0E5E-8F45-B41F-0090F942E5D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1" creationId="{FB58F2E6-6464-BFEE-E890-44613BEB430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2" creationId="{26D9E797-B017-258E-1677-BB78EA1991C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3" creationId="{EEB107B7-26C5-411C-097A-C3255710814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4" creationId="{37EE57ED-B211-1FF5-922D-F71A7A54B87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5" creationId="{605A12AB-CB04-B717-FCEF-01CC312587E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6" creationId="{35E20F6C-CADB-7F46-9D57-0453B5586AD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7" creationId="{E75F5C9E-8EAD-D8A5-3E23-EBB5C7BFD5A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8" creationId="{FD12830A-C604-0785-DF71-C2395894B28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099" creationId="{300FAF40-B1B0-D9DB-9D99-63C7E1087C2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100" creationId="{629ACB27-091E-F5C4-34F4-6D3D3C2BAB7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101" creationId="{D5526F23-2935-4AC7-AB6F-8A58A644A83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102" creationId="{25D9A0BA-F837-9B07-0478-E5F342FC844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103" creationId="{265C8802-413E-E375-2324-AE50A6B46F5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104" creationId="{E541AECA-A26D-816B-FDB2-DE18B4098A0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105" creationId="{A0C71553-420E-A4C2-AE85-BBF75D08CED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106" creationId="{4ED1EB53-30F3-0552-1948-5A1C3E6B87F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107" creationId="{53BFC2E5-68DB-80D4-BCFD-2E7E1DAA5DE2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11" creationId="{F5C01B53-1767-B138-CD5E-F139E622500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12" creationId="{73AF231D-4242-42E6-2B5D-F2C9CFD5656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13" creationId="{275310CE-1741-E32E-DBC8-0E25D18A35B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14" creationId="{D629C4C8-5811-7095-E569-5372A3EFA0E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15" creationId="{89C948F9-AC06-5FA5-9589-F7AAD410139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16" creationId="{9CED81CF-7CBB-6494-EC0E-FA26C512ADC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17" creationId="{DCD29535-E3C9-3A1C-E2A3-FC4AD394B11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18" creationId="{42EBA6B5-1A78-64E9-24E0-F5F05CDCC5B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19" creationId="{A443D717-D43D-5BED-BCA7-C69B8A8ADEF2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0" creationId="{C2D735BC-DF88-6A0E-5DA7-D9C119CAA13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1" creationId="{B6270868-A3CE-1336-B252-2E3FAAFD91B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2" creationId="{A717BBA9-E71D-86F8-7E9B-F84920A53D1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3" creationId="{BCC9F83F-A8B4-B887-098A-5E8B9030A19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4" creationId="{59FD9E3D-1552-CA21-6FD7-60B0D931180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5" creationId="{C74E8778-22CA-C0EE-72E6-53B30E16F5D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6" creationId="{DEDA5930-C1F7-E19D-3D52-617C3291EFA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7" creationId="{56AA34B8-0ECC-880E-E6C7-88FAA19931B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8" creationId="{AD34D5A7-8C41-9E1C-41D2-49EA9A8FBD8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29" creationId="{85C5F852-F75B-B24D-139A-406EB4DE4A6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0" creationId="{CF4F9B94-C0FE-41C2-13C7-5BF61247C6D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1" creationId="{7FFD7F60-2263-B98C-ECF0-8187A7B77815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2" creationId="{E8C85E24-39EC-39F0-1880-C4755EB3D4A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3" creationId="{22B8DA3E-3A5D-D07E-C3F2-BA76DE4D322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4" creationId="{CF6A5DBF-80C1-A1E8-7A1E-3F14CD8F167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5" creationId="{283FB96C-FCB5-10D7-BBB3-4DF3B841E64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6" creationId="{11BE3745-469E-7D56-0682-F670051D53E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7" creationId="{C9DA2006-ABE3-DAB0-F01B-A5644498679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8" creationId="{1A4A3165-7554-907B-B961-145E90B2596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39" creationId="{59F8622B-BB85-5433-7FCA-1E18D2A9DCE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0" creationId="{4CF5E144-36C8-A813-E941-868BD04B614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1" creationId="{047BE532-E4EE-BE47-F8F5-8D8725843BA2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2" creationId="{CA11F8CC-21CC-9A0C-15B3-E1C860A6A2A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3" creationId="{0C1894A5-FDFB-4ABB-D6E7-7D736824C9C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4" creationId="{A2B33E86-25CB-82AD-8989-1A5D2D09CCB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5" creationId="{4D9EFB56-1EC6-99C9-9EB7-D8F8F9B7A795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6" creationId="{BFC3CCDB-C09B-24BB-F651-F9021196099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7" creationId="{F150EB9B-08EE-8F21-8C8F-7EE46D9B743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8" creationId="{7AB91E04-4D63-9FB5-C666-40609CC842B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49" creationId="{C5040243-953B-B736-641B-83148E00471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0" creationId="{9FFDD4F6-8175-A6C2-DE9A-C5015F9F675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1" creationId="{EE13F7E5-B07B-FDE5-E979-F4D54254E21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2" creationId="{3F65E11B-77DF-E2A8-2B9B-90094976D20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3" creationId="{3674C58F-AEEB-AE5C-37D5-23413549DDF5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4" creationId="{F67E963E-3A71-C438-FF86-41C57EF5B7B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5" creationId="{BD99DD9A-92AE-5EF3-4253-1C7EA95D7F7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6" creationId="{9BB9A63D-F0FC-EB61-7030-E89B71DDCD4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7" creationId="{82174DB0-EA67-43CD-0CB3-69B8CC6368C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8" creationId="{2813DE4A-5C39-CFE7-CF98-7F0B990D53A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59" creationId="{8C16DC56-0EA1-5EF4-2DA8-F8C21E9D690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0" creationId="{53881573-8820-A913-63F3-EB246322F54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1" creationId="{B302CF03-8255-74EC-BBEA-4F91422D337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2" creationId="{2C46A9F4-FB64-4DED-4DBC-FE60943077A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3" creationId="{B91ABB23-8A3E-9BD6-706B-8633FAFF8F6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4" creationId="{9A2DF3F4-A029-C451-8D65-B50274BD1CE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5" creationId="{56EDB285-0510-53F5-F07D-ACFE59BE173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6" creationId="{20357A98-75B2-830C-7D6D-E2F6D38A6C0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7" creationId="{2818DE35-B7E4-7A3B-6BEB-45F42277B692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8" creationId="{F758CEAB-8605-F202-63F1-5873372AB82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69" creationId="{6FBA8B51-28A6-2CE7-7A9B-665282868FC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0" creationId="{EFFAFBCC-00E0-BBCC-B2C1-68FC268ED65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1" creationId="{428ACE91-8504-BA06-0AA1-8B16F97B35A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2" creationId="{644E8ACE-191B-F0ED-247D-4125DD8E73E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3" creationId="{3A6D7C92-E56F-75F0-E3D1-EECBC8D51B9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4" creationId="{B49EF4B0-D57D-E2C7-45CA-A69B20747D0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5" creationId="{7ABB7F20-11E5-42CE-A04B-17BD4BBCCAB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6" creationId="{81458F79-BFD4-4BC9-B434-DB616D75890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7" creationId="{E7270A16-A8ED-5283-1A01-19C02F6DD89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8" creationId="{091411FE-CA65-55F9-41E4-8F61CC45A77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79" creationId="{D9E4C1AD-F6B0-3722-3F78-2D706B8400D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0" creationId="{B27D7BB2-4323-AE56-BAA7-DDD2A60008D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1" creationId="{D9188EC5-1AC0-4E37-7558-2A63B2A0E34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2" creationId="{AC3C4A91-0B41-B920-0F22-285EE1237B0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3" creationId="{155946FD-410F-1C2B-EFAD-BB507C7191E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4" creationId="{996B30D4-C1F7-6197-5B70-5260BA2971B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5" creationId="{C8B0FF11-813E-96E8-E6A9-79724B39EC4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6" creationId="{E6A52968-7C85-25D8-C907-19A1CE79B99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7" creationId="{8C846152-DAF3-CC42-10BB-C8B9F30C8F4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8" creationId="{6C2794EE-BCBA-0FE8-9954-D8FF39AD0F0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89" creationId="{8ED2BA77-1E0A-9176-E8F5-346973A8F67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0" creationId="{32FB201E-96F4-2A46-7C4F-204E8228D2C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1" creationId="{A8D0960E-F212-0A28-6886-18A85D3F6AB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2" creationId="{85E53787-A9A4-186F-5B05-10D4FD2D6E1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3" creationId="{272B3701-FA17-D29F-2873-B9A54C07C98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4" creationId="{D1C4A2A8-BA7D-380E-DE52-6B3D4430B01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5" creationId="{9B3E0FD2-C477-41AA-2236-375ED44A039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6" creationId="{18678305-0E72-2CE0-C7A1-B3A238CADED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7" creationId="{DE838145-343A-2557-E90C-0B4180F0A00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8" creationId="{86B28310-9359-C6E5-F632-DF3AD08E2CF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199" creationId="{94CCD736-3FF0-4FA8-3472-513AB94A7E3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0" creationId="{7DEF8400-05BF-B370-1288-4E54A2B7EC7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1" creationId="{7D3465A1-368E-F81E-4323-BF3295D6B315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2" creationId="{8AE90336-779A-A2A5-8022-3132EDA0BB35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3" creationId="{AE1F6E3A-935F-7A2E-E5D4-D32DEF73C3E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4" creationId="{7A77C877-0987-B9AB-30AE-A5829832FA7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5" creationId="{71E4DF27-350C-92A5-996B-042CF1E2BED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6" creationId="{CD801DDA-9B03-67B1-058D-ED8966A89FF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7" creationId="{78EDB6E8-B92D-6575-50FC-E0F4C483460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8" creationId="{6C13C048-92E0-6061-57BA-A2B7C96DC38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09" creationId="{EDF20EE3-68ED-86CA-4183-6E8BF818113A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10" creationId="{0E980070-CB29-B79D-04BB-2702F22B516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14" creationId="{A1566197-D4FF-5F2F-7919-D822BC6AEA8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15" creationId="{A0669011-A34E-93F1-CD40-F7E3EC373BE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16" creationId="{437C8693-6EB3-82AE-8229-9A3E8F4A81E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17" creationId="{E6AD27DE-3A39-5405-1BAF-2E188BD3616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18" creationId="{256FA69C-8E07-29E7-34B0-B0D39478715A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19" creationId="{1BF421B2-31EA-5680-61B9-6F67E58FA9D2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0" creationId="{5C431408-0C32-FC02-A53F-3EDB4C0815B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1" creationId="{24F8081D-E5AF-5E37-F1DC-EEFFC319D28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2" creationId="{7FBC22FC-62EF-3C8F-4102-3EA04DA1410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3" creationId="{156BD5E1-1679-ED8A-0CC2-7F61B72EBF5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4" creationId="{DB2A027C-D56C-5F86-BD4F-6C89D1D8579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5" creationId="{C6CFCD0B-AFBB-CBD5-6D54-628B49FB8F9A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6" creationId="{B3E26805-6378-FC92-8776-BAE19F6F0E4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7" creationId="{F143A70B-70D7-B3C9-EF8E-9779AB98D06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8" creationId="{48BB2AD0-2651-5B87-2F12-DD9EE12D937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29" creationId="{09AD8B5C-D6E6-63F4-CB51-84A00AC4B08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0" creationId="{90FFBE00-E58B-D0BA-9305-21D41944BF9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1" creationId="{13086164-C13C-F427-FA39-21D4B824B0F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2" creationId="{792A028C-A354-A4B2-CE5A-C32FA6F8263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3" creationId="{B69BAE74-A2FF-6117-0F6D-9452BD21733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4" creationId="{E145F623-50F1-B983-AD1C-6BB70603AF6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5" creationId="{697D2535-49BF-4F2C-A4F5-96B5BBA1E93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6" creationId="{9C8E2990-81FF-A4C6-9738-3EC5ED64EC1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7" creationId="{4454C3CC-25B4-36FD-B089-8765BAFB620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8" creationId="{A39B062E-5777-BCC6-DC40-77D4AC5ACDD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39" creationId="{3E6F6BFA-7572-59E0-1E44-F33ED9F1736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0" creationId="{6CF26BE4-BD19-FF96-BD37-15CD58BC4FC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1" creationId="{638E84A5-95EA-D010-494C-DA467831508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2" creationId="{E8C3011E-817C-B795-49A7-344E2A629DC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3" creationId="{CA613585-133D-4D2D-3D53-6940F471253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4" creationId="{E35DCC15-1CF7-05D3-D8E8-F374B1733EA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5" creationId="{70FF8F5A-EDDB-F7F4-ECBA-C78EE8A4236A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6" creationId="{3103325E-A75B-85A2-AAE1-83EE864E0A9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7" creationId="{38B03325-6092-5A42-30A0-E471E6340A2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8" creationId="{903FC694-2A39-19F9-FFF3-E67F52FEC5B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49" creationId="{1F85D063-E674-49BE-6EDD-C8EA84EAA515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0" creationId="{D2505104-F4DD-BC99-247B-5041E8A8AE1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1" creationId="{7EB1AF4B-8124-1E5C-5B15-30ACA026B46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2" creationId="{BBE448C1-DC10-C96D-96ED-CBB79F0265D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3" creationId="{420C1EB9-F231-F7A1-E40E-5567D39D16A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4" creationId="{972657C6-CB59-F08E-C23F-10E8AFB3721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5" creationId="{1976744F-4F07-0BBE-BB87-69DCE5E3082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6" creationId="{3CFE1981-CF2E-4BA8-BE91-1E602A7E261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7" creationId="{7489E3F9-7261-4790-C00F-F7990118F6B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8" creationId="{DD228A29-A84F-4A86-334F-14F3D5C3C00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59" creationId="{8CA613CB-617F-20D6-06B2-EB6F6936A0BA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0" creationId="{EC6576C6-416A-EFBB-F5C3-21BE1C035EE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1" creationId="{7C568869-8211-9C86-2C50-854C8ABBCC1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2" creationId="{E3B2EAF4-2788-42E4-2497-A397AE18DDF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3" creationId="{D4A5361C-C4AA-6182-DBEF-C0FD8B1766B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4" creationId="{E67A2757-D9EB-D05F-BE31-E89D2A11301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5" creationId="{45F55EE6-3B6D-2FE9-7DB3-59A46BDDF6BF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6" creationId="{36FCD89A-D30A-FEC5-7124-E51A50D5F23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7" creationId="{A12D7F5F-5E21-ADB1-1EB9-9F3251721252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8" creationId="{F22E74C8-3169-BC32-ED5F-15EE3150C3C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69" creationId="{A1189568-CACD-A53B-BCEA-4B3FDE6CD11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0" creationId="{72BBAC4C-E061-381C-6F99-F52D29AC06B5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1" creationId="{A5CFBE9B-430F-2E30-2B5F-CD24671DC06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2" creationId="{30FC61FD-23F9-618A-B831-B838E717AA7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3" creationId="{4A01F55F-E7CC-7984-A305-9A59A272CA5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4" creationId="{DDCC54EC-6E8A-813F-8BF6-16F3DC1FE89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5" creationId="{2160622D-AF27-DF80-F9AC-8DCC1262790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6" creationId="{1E7B6933-265D-89FF-3758-9B8BC652F83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7" creationId="{635E550E-4DB9-944E-6286-545ABFD0314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8" creationId="{5E325102-8C64-B6D3-F286-F530F7C248CD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79" creationId="{DFDCDED9-71D3-520F-79AA-4C41DDD1E32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0" creationId="{C05BA398-0F28-D384-1FE3-0CAFF28D914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1" creationId="{41EBCD4C-C3A2-F0E5-DD91-0F0694791C9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2" creationId="{62ED3A02-7617-61B9-58F2-A321906C39B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3" creationId="{0226D94A-8B12-F1ED-9E3A-5E03468D541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4" creationId="{B1858012-C224-5DA3-CB88-7B97A13F695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5" creationId="{3756B9D7-EBBD-E541-4B1B-1364204AFC3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6" creationId="{038C0428-3619-C84B-711D-78D8714A947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7" creationId="{F25DB5FD-7B3B-CACF-0476-6F897D644B2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8" creationId="{CFB9D87A-F146-E0AA-AAFA-E20966AA71E1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89" creationId="{F3275EA2-EF1A-8D88-B442-B21A7C3C406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0" creationId="{8B83E9AC-7E77-0105-0979-0059F63B8E2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1" creationId="{A5FA8031-5124-0CBD-77BF-79C12D1FC64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2" creationId="{54B32972-7AAD-6CC1-B9A3-6EA11F753D34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3" creationId="{962D0F8C-1D67-B4B9-5D07-EE8ECE1D098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4" creationId="{3537D873-F19F-BBA0-5251-8DCA27876BE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5" creationId="{68B41492-6CD3-B2B1-5D89-10A436A4883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6" creationId="{4FB9B678-A2F9-CE78-FE3D-9E71C34E070C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7" creationId="{6FA13B00-FCB5-3025-8E9E-00DBFE57CC00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8" creationId="{4EE21929-C0A8-BF20-7732-DAABA6A2524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299" creationId="{C739E9D6-2086-A345-1EA8-1A7CC5C9A313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0" creationId="{99E6C8EC-E29F-0FC5-CF1B-8E69440798C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1" creationId="{2700D4A3-DA06-E25B-74DD-68574221774B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2" creationId="{509753D8-943C-075E-03BF-A17D9EB372E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3" creationId="{4B4A88F1-E107-8922-69C3-6B6A46ED157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4" creationId="{2A526946-D50C-6A71-B242-9AA3E44B1E4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5" creationId="{9C6F75FA-7757-EA68-7163-996B78ABAC55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6" creationId="{08ABF46A-8D7D-B8A4-7CD4-D654919EA19E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7" creationId="{65298E2A-EB46-2A59-51DE-9FC56F9F5EF7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8" creationId="{E1FE30AE-6AAE-8624-993D-13AE45C75466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09" creationId="{931B7D09-628C-63B3-5BFA-79C171BFFE99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10" creationId="{ABCF09AC-466E-4FC5-89BD-06C05D92F4C2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11" creationId="{B9C71E57-B7DE-9E53-50FE-B0009308FE62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12" creationId="{5D4273D1-153C-0958-72CF-FF7F2A67E4A8}"/>
          </ac:picMkLst>
        </pc:picChg>
        <pc:picChg chg="mod">
          <ac:chgData name="Merlin Gutter" userId="2abc6f04-74af-430b-bdc8-569c3bfa1dda" providerId="ADAL" clId="{CB1EFBC3-10F5-3048-8961-5969497C0019}" dt="2022-11-12T22:18:44.112" v="47527"/>
          <ac:picMkLst>
            <pc:docMk/>
            <pc:sldMk cId="3735846079" sldId="374"/>
            <ac:picMk id="1313" creationId="{F0F8E247-0148-89DB-788A-26CE18D99D4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0" creationId="{3539F294-2C45-228A-28CA-75EFDBEDBA8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1" creationId="{8F694C37-FC0E-5A71-01BE-B55F57F75BF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2" creationId="{604DF2B2-A01E-1781-4946-8F77A66DC12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3" creationId="{4E0AFA11-926B-95B6-2F9B-710F64F2727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4" creationId="{5BB15161-7CE4-5F1B-F45F-7647A8F43BB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5" creationId="{3A829FE0-223F-9058-1CD0-DF3B2263B5C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6" creationId="{C9C051E5-355B-0020-B7F1-0435A1FBFA9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7" creationId="{E620660E-2538-79AA-16B3-48C7F82E311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8" creationId="{FFBC911D-AA4C-2F40-5798-78E2B39C2F6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29" creationId="{46CB9311-3AEF-B546-A4E0-F7925DFA8D2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0" creationId="{5C61CC53-FE0D-C284-9115-510E0B4FECB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1" creationId="{34F4E173-0219-B239-BBE0-EBD54439F5D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2" creationId="{B67594F3-3728-5193-0C6A-DE20D322B01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3" creationId="{10D355D2-7180-F45D-3CEC-3D13B323291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4" creationId="{B7F62CAF-8BD4-B001-A9E1-88AE72123DC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5" creationId="{C1A2EB38-F02B-0BAB-01A6-1C02869CEEF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6" creationId="{4B1513A4-15E1-0BB1-D99E-870907CD996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7" creationId="{98699696-9FFF-B2EA-0EC2-27497CE5A9C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8" creationId="{6F97F09D-529A-F9B9-A884-A9F9F58E9CC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39" creationId="{5BD37216-6FDC-461E-C299-F08E6529407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0" creationId="{4393C497-C769-EC90-19EB-FFF1907ADB6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1" creationId="{FE6D1427-E062-2AF8-16B4-156E7D55EEF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2" creationId="{B1814167-8312-40DB-4246-A28FA3D8702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3" creationId="{391B5180-7149-CB8E-ACFA-FD35DC123EA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4" creationId="{2D475458-4D95-3CA7-A547-88955BC2B91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5" creationId="{6E2AA8E6-F9E8-578F-189F-C88D947F111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6" creationId="{EA0DD750-0805-2AC8-5FEF-EB2D437D5F0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7" creationId="{813DE827-4FB3-190A-4376-57F3BAF1816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8" creationId="{5B227236-43F2-9D9B-9F01-F4A4DA8C751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49" creationId="{A0E80011-1739-07AE-673C-B20D5AEBA19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0" creationId="{8F712169-A229-82B0-61E3-6FFBC02A892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1" creationId="{73B2F1D9-4F1C-D451-CED8-990A0C24E79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2" creationId="{89703D74-6780-2E75-25C2-9982230B3AE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3" creationId="{AA916CA8-0735-1DC2-2096-854E55499E9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4" creationId="{F322CD87-3AEF-C6FB-289C-7A87BB69F01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5" creationId="{67151A1D-C928-758D-5E8F-3AB53FFA4D4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6" creationId="{6BE661B2-64AA-93C7-7B92-D021A4308B1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7" creationId="{A12EBAC6-CF3A-2D70-E4A5-19C510FC936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8" creationId="{7238B2A0-16F2-A0A7-F3A3-7849E68540B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59" creationId="{8CB0193C-530B-BEB4-5A4A-1707ABB5116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0" creationId="{86A46EEC-C546-7FEB-1DB3-F98997F8A82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1" creationId="{F613C7E5-1F88-DDF8-5C30-6C8CE7B564D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2" creationId="{67330C3F-42B9-1601-CAEE-AC324B7486A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3" creationId="{01DCBED5-62DC-5F6D-157A-6CA34D1E0D3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4" creationId="{E736E447-F3BF-C9C4-DE87-0A4DE77E337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5" creationId="{866CC40D-D5B6-BD34-72F3-71A5AE15DE1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6" creationId="{4791E66F-BDEB-B584-6D41-707E22E5FE2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7" creationId="{BCF9CB82-719A-CCCB-DC28-594A145B965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8" creationId="{7C91B92F-05F2-72FB-8BB7-58B7B24B8A2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69" creationId="{69F95280-56BA-5F89-5650-BF725B68993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0" creationId="{4EB613BE-5202-87D3-3E08-C5664870BB0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1" creationId="{AD439A25-86C8-D803-FEBE-168D5C6347D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2" creationId="{CD657364-E006-9912-D588-8BA0B82650C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3" creationId="{6226CF8D-0FDA-4930-64AA-8ED4C4FB4D3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4" creationId="{35177409-60A3-613E-42CB-A47B0B38B54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5" creationId="{ED3EB42D-1246-6774-393B-8DADA5778AC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6" creationId="{9656306B-CC56-476F-E918-8D60D8AA3E8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7" creationId="{7A1EA17E-220B-A28C-6D3D-7ECA61C9A55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8" creationId="{A3BF48CC-7A4E-AA1D-32DA-EB94C639009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79" creationId="{EEC7C110-2F71-D3C2-1791-EDF8398CA24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0" creationId="{051D8CA2-7F49-90D1-B538-CD901B4DC52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1" creationId="{22CF3D5D-81E0-AC90-E764-0E7EAE0AA8A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2" creationId="{0007D4EE-5C0A-C57D-DE7C-0C7DED24044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3" creationId="{B0B524D3-673A-0A96-A40C-5F589BC00EC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4" creationId="{DDF5D977-CBC8-3B99-7569-7F2B9C54598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5" creationId="{56E345DD-6679-F773-9480-DC4443F0019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6" creationId="{527CE382-63A6-7740-6BD9-DB29F939FBE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7" creationId="{B739568A-27A0-3B2E-3B2E-4A952F3089A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8" creationId="{35421052-8407-0DE8-C088-704CB6449A4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89" creationId="{E110DE20-1E96-4955-FDF4-181081716DA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0" creationId="{B1BDC233-12D7-18C9-18C7-7D6D0C6E338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1" creationId="{69750A64-B3BD-D172-0A07-0D124973F65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2" creationId="{DF836743-F270-4747-009B-1EC508413D8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3" creationId="{E05C46E1-2DAF-B02A-A308-63B9351BA84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4" creationId="{F3F560B1-A6AA-05B8-3CBE-949FAA7138C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5" creationId="{90987C79-B8BC-098B-5846-CF67BB81153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6" creationId="{C69DA2DA-0DA1-3732-1A34-91A49067FB2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7" creationId="{8F400550-8FE7-170A-78B7-968731DE9F5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8" creationId="{D2C05AA1-1B0D-3AD2-48C2-8F64A9F7442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399" creationId="{79955403-630F-939F-112E-39302BA7395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0" creationId="{F451146F-7D5A-F0E8-616B-379A65579B7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1" creationId="{575D00A7-06F9-4CDC-D902-379CF62CC15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2" creationId="{B4335298-6C79-AB29-5F7A-8AF7999D292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3" creationId="{364D43F9-04B9-F950-D224-3C0EEBF3851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4" creationId="{F931A9E6-BAE7-031E-761C-8DAFA2E3371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5" creationId="{2C22FACC-1C12-FF4D-E50F-E850A1E3BDB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6" creationId="{557C32F5-689F-BB16-C90D-DFBC27A9CEA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7" creationId="{83A100F3-AE00-60C8-0F98-D6DE8B1B854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8" creationId="{F8BF3C52-0751-14F4-AE59-60E7E24AD87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09" creationId="{F0137512-37FD-EE54-0163-D647D47AFE6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0" creationId="{B19ED431-1485-D7E0-D22F-CD27FF897D4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1" creationId="{EC78C07C-E76C-F8BD-17AB-6C22791AEB9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2" creationId="{69008394-F5EA-A4EF-7A38-38D2496AC80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3" creationId="{D997D6CD-AB88-5B1E-376C-4B9AA1AF6CB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4" creationId="{73ABE6B2-21CF-1453-223F-6EBE8711DD5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5" creationId="{AFFA4B55-59C3-08FC-36CD-B00E2AD64D0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6" creationId="{D1E0435F-10F5-0989-553C-A09229ADB88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7" creationId="{1897B683-9A02-31D4-9BF5-8F9D4AF50BA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8" creationId="{6717D588-37F4-1438-9560-8267E46202E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419" creationId="{3A3F0D07-7A00-B017-1CA2-11B43EE1E22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22" creationId="{D6AADDF2-0459-4EEE-B30E-D8F144756EF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23" creationId="{BABD3B1A-DD9E-7D07-8681-C208D453F67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24" creationId="{A72D780B-A11A-F97C-E6C9-6811D9D8367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25" creationId="{534B575A-5563-566F-4E2A-6A5328DEE0A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26" creationId="{525467DC-BEF6-6D2A-0E3E-F5490984C69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27" creationId="{E116E7A6-4645-4D9D-05A1-C9A5F23811B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28" creationId="{A33C4CF0-1ADC-A093-236D-2A0E7CF8B0A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29" creationId="{95C94545-813D-CD49-1695-0D1C527E1EF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0" creationId="{AD33F13E-9821-3AF0-06A6-211782FA7FD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1" creationId="{7E5E726A-E436-804C-FB17-63FEE092E97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2" creationId="{F18D021B-0533-CAEB-81D5-373F3A63487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3" creationId="{08BC8111-2A41-ABDF-DCB5-688BBF9C8E3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4" creationId="{4396EE74-4E27-F0FC-6F2B-56FD59977F2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5" creationId="{EF966B7C-8B12-9EFC-5631-F68B3EFDC75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6" creationId="{5A2B51A4-CADB-5A33-6699-DE5FF0F0075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7" creationId="{9A665F44-7A43-3C42-2958-D916DC3C688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8" creationId="{4FF14AF4-CF37-2671-BEAA-C072B9001D3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39" creationId="{77651720-6078-72F4-050A-F860D998B1B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0" creationId="{845CC451-B283-3248-4A12-93B2751679C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1" creationId="{674A038F-90C1-16B3-3BFA-00DFB51F67C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2" creationId="{4EBC1216-2ED5-A849-5970-13E9803F68C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3" creationId="{DBD185A3-CC28-5911-F96D-6555C1B73A4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4" creationId="{38B107EF-8DA6-1717-F4F0-E8CD00F3DE5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5" creationId="{DDE0ED91-E889-3F96-7CF1-010308E3568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6" creationId="{1303D0F9-B667-5EF7-AAAE-9A980A64C12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7" creationId="{126CD02E-7D26-3C22-A1D4-5B11BB71FDD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8" creationId="{6580A571-7D0C-96BE-7ADB-18F16ADC3A6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49" creationId="{2F79580E-B198-32FF-4AF5-F6FB54B9DE7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0" creationId="{8EC79D67-26F3-73B8-46D0-F3BA56E6608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1" creationId="{1826FA29-7FC6-C725-F2B9-E6191EC976A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2" creationId="{E46E4D20-28A2-F79E-B4E9-389B13A00AF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3" creationId="{92C5B9EB-59DC-B7C3-30D9-BE48798F40F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4" creationId="{40B7B48C-E63C-39DF-7920-84DC497C050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5" creationId="{9262A7A8-3A25-DA50-6A28-24E49EB7BC2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6" creationId="{DB572A86-2CF7-805B-D5D0-EADCFC4D45E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7" creationId="{EC2ABBA0-3CC4-7327-69F7-9B3FDC4FABF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8" creationId="{BA54DA56-3390-E1FE-FAD0-E0F23B40971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59" creationId="{CD3D829F-5BC5-6BF3-65B3-A8E643E903E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0" creationId="{56F936F3-2E70-BF16-0A6B-7288AA0DBA6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1" creationId="{411248C5-39D6-38DE-CC9C-F4B4DF41825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2" creationId="{EADFBD52-3B93-AA4F-16F1-658FE1BDD33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3" creationId="{13D2B1A1-FE11-0842-B0BB-88EB56AAA56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4" creationId="{6B170C9D-9657-FDEE-EF5D-7FD57316BC9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5" creationId="{46B38264-22E6-C506-FE8E-A4E70447A59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6" creationId="{DA120675-D18C-E67F-F903-C96E81863B7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7" creationId="{B033E081-815B-772A-789C-F6342E53310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8" creationId="{94AB86A5-B2CD-42E7-2932-03F1463B55C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69" creationId="{ECCA81F0-285E-C845-77F2-822CBE04026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0" creationId="{5F93C69B-F02E-B7AD-CF91-443F26C6D68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1" creationId="{72F9381A-E08F-2F2D-F8BE-DBCF9E8551E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2" creationId="{6496310E-E882-5BD5-E1B1-B94095BBDE0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3" creationId="{7696AB88-63CE-02B6-D053-7D29E0E8447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4" creationId="{30444AF2-24EC-B306-8865-AFA0169E22B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5" creationId="{A5D55D30-E3C0-92BF-FAA6-0EFB2D26ACF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6" creationId="{4FE0BBE0-F7C8-9EC1-FA2B-262415CE8FA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7" creationId="{454525C8-EDC7-5C17-48B1-520EB547764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8" creationId="{E8768EE4-B97D-9E76-F43C-B5BB91D551B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79" creationId="{79FAE558-933A-859D-7493-C81FD11B257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0" creationId="{9B0EFD57-E52A-816C-3E22-496E4DB5844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1" creationId="{0DF58E7F-3425-579F-5FF8-26243E9FA15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2" creationId="{17CF0FEA-437B-5D26-3847-7BFA49600CD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3" creationId="{4056CC00-CDBC-CEC4-D1EA-45B549E333B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4" creationId="{32C0F2C4-01E0-A807-E8A3-5E94E361A16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5" creationId="{136050A4-F0A2-594D-CA47-20B04643C8F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6" creationId="{E7CD0E01-DAF3-3129-D38D-C6C12D1A79A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7" creationId="{5C29F502-6241-11FE-6265-88CA4D3226C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8" creationId="{3928371D-94E4-F536-CE62-8D4858EE0FE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89" creationId="{D2E2D0D6-4DEC-8709-14A1-23C78360AF4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0" creationId="{B2F557BD-29DE-91BC-11B5-6E9ECE62E88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1" creationId="{0A5C2D10-28C9-A6C9-B78A-14EC871F74F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2" creationId="{12C0C3E5-8448-8CA1-692C-E95F3AAF19B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3" creationId="{B3F141A5-F310-73D9-5447-4D20535C85D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4" creationId="{51966E65-0F32-0CDC-44B0-6C6F8216DF1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5" creationId="{35F4785D-A64D-F822-925B-66E0FE5AD9F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6" creationId="{3F336623-4315-7AA0-984A-1747AE6EC0D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7" creationId="{075B2479-E3CB-B4BA-44B6-71BC4C95558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8" creationId="{9452357A-BC27-6130-4FFF-0887DDA5E6D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499" creationId="{024D948C-3EC6-646D-C3DF-7E53FE33C6A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0" creationId="{6F75FB03-524D-BBEA-7A8B-B849A830E00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1" creationId="{4559E050-EB81-1A22-5408-63977DADB43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2" creationId="{F2AEEEA8-A1A0-7F3E-E703-8A18003A79C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3" creationId="{4BADCFDF-6830-9FC2-8186-110F3E1CC7D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4" creationId="{F6F880E4-1FE2-13A7-5DB8-962EBB86AB8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5" creationId="{7F35C46A-4D07-2026-819F-E04C9E6D893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6" creationId="{6B0D4307-6378-5E97-A884-064565030D4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7" creationId="{D47B536D-C7E9-43C1-3364-0AAB47E64CE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8" creationId="{C5EDAD51-9092-76B4-AE86-4256BF75396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09" creationId="{2069A7C1-6CCA-2DF6-42F4-CD8EA7BF918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0" creationId="{F3B0C5B6-4839-F0D3-D9D7-42FCD3975A9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1" creationId="{C5EF87D5-09B2-5E41-D0FA-69EE6A81906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2" creationId="{4A446D10-981F-80E6-2E0D-EBAB4CAC421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3" creationId="{AE38265B-8536-F847-73F5-27D98FBA5DF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4" creationId="{8E0ABB67-FB1D-74B9-9E67-4CAD3A16E7F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5" creationId="{ACE6D709-7739-2C89-CEF0-90BD6B217C4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6" creationId="{8F84294F-1219-B06A-99B9-289BD6A42F9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7" creationId="{FF0B4F20-9672-B516-F4E5-89E679597BC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8" creationId="{A0476D0A-997A-46EB-FC41-798A907B561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19" creationId="{27F1682D-8B82-AA81-912F-E37AAEA3A32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20" creationId="{4E578032-9EDD-BC79-A322-3094D3EF45B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521" creationId="{E59C33F5-1AFC-A323-853F-F3116FC4635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27" creationId="{6E799FFA-DF58-B66F-EBB3-F2EE5604AAD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28" creationId="{780DB1F5-3E44-60C1-3D35-D6CBD2DC4F9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29" creationId="{DACD2806-EA85-75EF-1F8F-C9BD627C517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0" creationId="{706CCACB-A98B-C39C-08B8-82E3397339D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1" creationId="{55D9BE77-300D-550C-80AE-D6CEB023BFF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2" creationId="{FE2D1888-BF1E-EE14-A584-1984873BA9C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3" creationId="{07CC64B0-3BDE-0962-3974-305B56B1BC3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4" creationId="{9CD3C81F-D061-BBFF-2D0A-EAD20848B61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5" creationId="{2A17DB7C-BC4F-3D6E-92FF-6674DF03FAB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6" creationId="{60B28F95-EF1A-A7BA-4304-01D62932004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7" creationId="{B73496EE-70D4-5818-CCF6-C709A38FF91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8" creationId="{A28711C4-C550-128E-5DC0-A269CEE1B93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39" creationId="{B4BDEF70-6B58-468E-3D7A-FA60FB817EA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0" creationId="{2B051D38-152E-28E3-6150-AE3A8B7C531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1" creationId="{7633BAF9-A378-DB40-4040-0E78769EC0F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2" creationId="{A6E75992-33BE-5E3F-6EED-D57D49FD43E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3" creationId="{0FAEAD2D-038A-884B-DDB3-6B81C472613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4" creationId="{441B02E2-A4B5-4F84-2573-9A1D0C4EBA7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5" creationId="{5A8E3634-47CD-0BD0-5490-7AD0B36C391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6" creationId="{68FE6213-1D5F-3734-6612-5BEEE1C1D70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7" creationId="{B585C45B-6B91-0EB0-E0FC-9741B46E603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8" creationId="{5D9F9B6F-2265-6C81-D696-B84E3A38850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49" creationId="{43E1C180-6ACC-AD09-53D3-EAC86681628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0" creationId="{FA9FBCDD-DD66-9D5B-B617-E336B42EE02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1" creationId="{7FDF01BA-A61F-9861-F5A3-2D624D00705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2" creationId="{ADFF9AAB-96FE-903C-0E1C-A77B2BAF97E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3" creationId="{629AC281-86CD-08EB-CC08-D62EF27B1DF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4" creationId="{F7CE0625-0E93-D7BA-BCD9-3990E6484E1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5" creationId="{4D1ACD66-3518-8950-BB17-0B9901C6DDD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6" creationId="{4E384D97-EA3A-8210-69E3-739FAE105FD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7" creationId="{575BEC6D-0500-47AE-CBB9-1DC91409F65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8" creationId="{1B902E1F-73ED-A576-7794-765373C6154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59" creationId="{3BBF7860-5985-617C-6694-1A3E8C511B8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0" creationId="{A736E1FE-F051-0FBE-4E4B-109FF5A86D1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1" creationId="{20A1A6B6-7931-794F-FEF6-47B8047C48C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2" creationId="{FEC7EF39-DA1B-626A-6DBA-D7487BE6F4E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3" creationId="{1237BE0E-D51D-CCAA-A7C4-AF50FA22407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4" creationId="{348935C3-9F10-6B3B-4436-1B664C62048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5" creationId="{0C0FDA27-3AD8-EF99-9C9C-D3357A9D5FB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6" creationId="{83F83A33-9875-C91C-BA39-C78937A9A76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7" creationId="{0A56465F-3A49-966E-B434-12A5396C770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8" creationId="{1EB6FE8E-58B9-506F-5CE0-4A31227EC73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69" creationId="{A0B1157A-5D61-6A78-E130-CD997237650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0" creationId="{061CC817-1743-BB80-2B37-193413E213F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1" creationId="{9DF14276-DF2A-ECDC-317B-1248634CC94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2" creationId="{4ABE5042-DDFE-431D-BDF3-EEA5B9B7509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3" creationId="{ABFE59DB-24A6-2B57-2EFD-33A3DDAA94B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4" creationId="{0AA5300D-6835-0BF5-F340-C71176EBB24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5" creationId="{3D416F53-B9E0-4CA5-F9EE-80AFAB46213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6" creationId="{808514FB-9672-7EAF-251C-5701F36F886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7" creationId="{2EDC02D9-CA67-6ECF-B8A3-553DCC91666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8" creationId="{CFA11F54-877A-309A-BDED-08DABE10F78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79" creationId="{26F75481-911A-F6EF-BBF2-E0F1421E3CD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0" creationId="{3063E892-1D75-1B55-295F-2AF3C42D882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1" creationId="{D4B7F7C9-8B63-272D-9581-69FA391706A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2" creationId="{CAD15174-700B-01B9-F19E-104913B42F0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3" creationId="{4A142734-C81C-1311-8039-AF73F512BA7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4" creationId="{0663B7AC-3C00-A4E2-5129-5D1A78F79CB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5" creationId="{AA7E76EA-B8D2-3E98-5D47-7D6B9BEBE84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6" creationId="{A75E6F89-37D2-8F42-CFD6-C1446EA4D23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7" creationId="{6CB1A096-8D4E-1C80-B33F-C926BDE8F73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8" creationId="{418F6A01-E942-F604-EE3C-63FB2B574F1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89" creationId="{2C912C81-5A50-A4AD-6A98-A51838CACC0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0" creationId="{02F67680-B1BF-1759-9E84-00BE5478006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1" creationId="{3B803912-FA6D-82A1-3E72-CB93AE42D88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2" creationId="{B1A0636B-AE53-60CD-8B9A-E8115F3B378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3" creationId="{56C8E9C9-4E45-48D7-692A-1E9BD8D4056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4" creationId="{1577CC41-673E-A9D3-532D-073872D6078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5" creationId="{236FC231-399A-48F0-6460-7270FC37132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6" creationId="{A401587E-629C-AB75-C56F-AE7645C3D7C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7" creationId="{959289AE-E0A5-EB3F-0EBD-3C0580C206F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8" creationId="{8340DB38-BE1A-3E38-320A-AE3F02FB0C3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599" creationId="{01A79FEC-E353-D79F-F229-8599184BBFC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0" creationId="{04AEEC14-FFE3-2DD7-BC67-21DC03E31F7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1" creationId="{817F1D6D-4BB8-7D47-E3D7-6A24AAFE394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2" creationId="{0F8938C7-85CF-9706-69D8-45EEB80C752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3" creationId="{4D4AEF9E-F9E8-6633-E731-02813A50E6E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4" creationId="{8ED8DD5F-AEEE-5E6D-B81F-9B3E8F484FE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5" creationId="{CFC9A4B5-C68F-50DC-5950-FA10578D4F3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6" creationId="{445A07BB-9D64-6106-0DDD-21C238809B6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7" creationId="{9BDAB6E2-501C-B1FB-D2F4-F996060696D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8" creationId="{8F542DAD-04A3-33FD-A544-08CB8524D7B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09" creationId="{417A9641-2FA5-A259-7988-69382E5EE80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0" creationId="{3C4F342A-81A4-9E4F-BCE6-9EA3C4DDB45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1" creationId="{2A7D51E0-278D-8735-72BD-2D2D293C42E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2" creationId="{EE9BBE25-5D16-19FD-A465-606D04C7345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3" creationId="{6B17A580-5102-2203-13A9-5AE99921143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4" creationId="{B623D562-412F-49C7-D3ED-2FA10F025FA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5" creationId="{976A27F8-024A-6625-FC41-012F817C027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6" creationId="{F26BEFD0-5043-C409-2828-CB459C48515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7" creationId="{69B279EB-5121-75FD-1805-DC0A3FD979E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8" creationId="{200C3059-022E-A2DA-FBC9-BE5F9F8C807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19" creationId="{BF90CEDF-F2B7-E00D-399E-47A015681C0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20" creationId="{AD8CC919-A333-75A6-AB35-2B53A7EF323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21" creationId="{DB023A9D-E812-C897-298B-2AA96373F79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22" creationId="{7EC3DE01-566D-8B9D-496B-1DB018D77D5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23" creationId="{74B9DBDC-8CB7-7216-B7B7-DCF374CAA2F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24" creationId="{F49DD4BB-170B-797D-43A4-1977838083A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25" creationId="{1FDBF459-E87B-2C67-EABA-0B078A44A04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626" creationId="{CA95FC12-5CFD-5A2A-2DF5-D1576E191EB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29" creationId="{1979F74F-34F3-8030-72E5-ACA79191EF9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0" creationId="{1B0BE5D8-6216-46B9-4694-37A891C0726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1" creationId="{80E14E6E-F78D-3E8B-1EFE-4F22C8E5AB7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2" creationId="{FBEBAB4F-5F21-30E3-C98E-2DE2F2C3581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3" creationId="{BD79F0D2-1764-37BA-116D-29446666BC9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4" creationId="{A7E655A1-8E76-8A34-9D27-D658AFBEFA3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5" creationId="{50AF6A79-081E-7C40-7E82-797D7514651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6" creationId="{0C344383-A2B9-FCBC-1E8B-2616C5A2F3D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7" creationId="{1B1002BE-9BCA-5AC0-60AF-2BD07717503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8" creationId="{8FF3FA3E-2DF0-04E1-86FA-86FBDED9066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39" creationId="{A2D73446-807C-EB3E-FB81-327C78CC3E2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0" creationId="{6F4A308B-F5E1-270C-B954-E51653E7DDB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1" creationId="{B330FBA4-D86D-6AB2-F80D-6FF53B5354F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2" creationId="{BA6AD6E9-2DF4-2593-DE51-17CA35E8FCB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3" creationId="{3800C836-2379-7F49-C260-6B482D9C40B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4" creationId="{D5701893-E3A3-6E47-1B6B-823CC167203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5" creationId="{F6490E12-2F8F-F807-5749-F769CB49E5E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6" creationId="{A5C4FA25-38BF-9C47-6EFA-9A9299D1761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7" creationId="{D3A0DBB3-17AF-31CA-2670-5DC6C8D89BD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8" creationId="{0512E0D3-95DB-A0AE-5FCA-4F400788AE9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49" creationId="{08DB7FC5-A4C1-8B12-7C37-51ED5FE49DA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0" creationId="{98E562FE-8F7E-A46E-3E3C-4D8664037E2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1" creationId="{9B58435D-8073-AF18-6619-C880C7A2096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2" creationId="{22A43B55-2A1D-63F1-3DAF-A6946DC12C7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3" creationId="{CF1F8403-D97C-F180-F425-1CDE557353C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4" creationId="{97A07842-E01F-CA16-B652-5E23C5FB863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5" creationId="{DA12FF5E-96C9-DB02-165C-49049A1DFC3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6" creationId="{2AAB2898-3BC7-E10A-004D-7B3FB1E304D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7" creationId="{CE5C9C07-1C00-3B53-160B-90425EF748F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8" creationId="{BEFE6129-EA7E-6CC8-1873-E6B80BFF4BA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59" creationId="{3568FEC5-6328-2439-DD27-D221C86E423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0" creationId="{D6B5BDFF-7A1F-06B9-CC59-AEF29FFA8C1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1" creationId="{B575FDE6-4461-CAE0-39C9-AFE70848512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2" creationId="{3D8D1361-8BCC-73F0-C7EE-4CF89F6FCD9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3" creationId="{74C10722-BB18-70E7-1057-E344B0F57F7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4" creationId="{64934558-B1BE-DBA3-3973-6C677E45D22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5" creationId="{7225143F-5CDE-D904-46AA-F2012BD84B2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6" creationId="{5E1ABD71-8315-11E2-02BD-C3A18471268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7" creationId="{7EABE3D5-6806-7DF5-43AB-831B665A60F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8" creationId="{0129EB63-700A-1F8F-94B9-28C3796D172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69" creationId="{0E9280A1-FB55-1DE0-0C99-6733F3B8E9D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0" creationId="{5EB5C27F-3995-016A-2EAA-5EE11C62625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1" creationId="{3DCFE413-B7FA-3252-6CA1-0B18E1B3CD9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2" creationId="{BE0EB042-3589-0E7F-3E05-3F752C3100F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3" creationId="{A133B064-0DBD-C21E-5233-A160DE4DF6A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4" creationId="{249F1991-459B-A263-306D-C9F78B7E6FA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5" creationId="{06D92487-F60A-9BA8-55D0-C85EA401C9D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6" creationId="{2527D54E-F320-D01F-F2BB-E937EB3D379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7" creationId="{FC91AC59-FE44-2EE8-619F-00E3FF073DA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8" creationId="{64646CF4-D163-5E07-0A91-22BA1A6AC6F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79" creationId="{9F1BDB33-E928-2540-16CE-0C270C1953D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0" creationId="{EB5C2A03-9DFD-F30B-D0AD-BE3ADAD159E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1" creationId="{C43D0BA9-17F3-3096-C476-F5F872D7093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2" creationId="{25CA5BD2-6BB5-0C65-A323-A90C2801A65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3" creationId="{9E698D00-0D29-0C5D-50E7-0E1D857D4C5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4" creationId="{A0CE2F2B-16EE-417F-0E60-B6EBC88787E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5" creationId="{91CEDCE8-9D71-EC06-93F2-F944F8324D6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6" creationId="{34E75861-F766-16B0-304B-F392F3CDE13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7" creationId="{A2F491C3-4B09-A1F6-CE16-0BE77AB80BA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8" creationId="{4D857BC9-6FA5-70BB-56CE-377A0C1027C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89" creationId="{0EF92791-8BC1-DB6F-60EA-2133BF960D4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0" creationId="{AA90537E-B5E2-77D4-C30F-E4724511D13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1" creationId="{D9207A14-F961-47AB-BC43-3F1D7DBB23A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2" creationId="{FBDDBAF7-FDCC-4A55-FC5E-778F05E95C6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3" creationId="{CC279689-399D-4E4F-77F8-ADE14D28F1E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4" creationId="{FEF9FA0A-603A-2A58-98DC-58AA2ADBEDB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5" creationId="{F51CBE56-CE55-DEB3-FB1B-8A9A6FD22BD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6" creationId="{0092BC9E-6FBC-CD59-AD8B-95682C8C35E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7" creationId="{D7946B80-EDBE-453D-8B9E-8E864BD7825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8" creationId="{149BC06C-4E31-8C23-30AA-71AE1BB8DB3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699" creationId="{AD44FDDA-A2A2-7302-26E2-065CC34085E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0" creationId="{F31FE754-2548-20B4-1C30-36B04BC6934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1" creationId="{F385F019-48D0-16BC-D5AC-CA64AAA6B0F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2" creationId="{99C9FEF9-32C1-073B-D215-13FF03143A5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3" creationId="{7F95F58E-9AE8-74D9-87EF-FD5AB754EC3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4" creationId="{81775342-613F-6FDE-131E-44D7B6F8FD6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5" creationId="{FC85C40E-73EF-0C1C-6C46-C0BAAB0AFE2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6" creationId="{0BD6D0F6-5264-BCBD-394A-D9DA9BCE516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7" creationId="{8627859A-00D3-AE77-372E-2D40B243CF5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8" creationId="{55FD003A-8049-2F6A-3B46-B92CE5052C6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09" creationId="{46FA5BCD-FC69-861A-EF51-BBF38765F4D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0" creationId="{E347B94E-1FDB-283F-501D-C4644DCEC57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1" creationId="{86BBD122-0226-1FFA-7649-BB7FAB51379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2" creationId="{77C76A4B-99D5-F9B0-66E5-3556970187C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3" creationId="{C080E195-3C04-09EF-95F5-07D49CCE038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4" creationId="{D6994CFC-EC07-844B-25EC-E93E037500E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5" creationId="{FE2864BD-4E95-3F99-D745-AA07DD0FA86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6" creationId="{7059A0FA-BDFA-D56D-0AF0-726BD860367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7" creationId="{0232383B-7574-AD37-65A1-A43A0666909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8" creationId="{4B8E8E54-E0A5-4B12-A4AC-C42641F837A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19" creationId="{B749B384-9F71-757C-1DAF-9FAC4CA59B9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20" creationId="{8615595D-6140-13F1-3308-783211DCD2C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21" creationId="{BB47C305-FA0B-FB6A-E8D6-9CB68E4042B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22" creationId="{31E52B03-8159-D3C1-1C41-03EEA15BD2B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23" creationId="{C06DA9A4-64F7-AF32-4EB8-5EB40BEBAB0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24" creationId="{9F437C95-ED34-3BAF-5466-A16F52F4834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25" creationId="{66694419-9D46-06A0-9181-BD7831302C9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26" creationId="{DF38FE97-089D-B4E2-8160-7815CAE29BF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27" creationId="{CD0313C3-9B6A-8C86-E72D-7F2E6800DB2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728" creationId="{0AAA3689-BF85-109F-6BB8-B1907326B0F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34" creationId="{BB3E2D62-D00D-3DAF-36D6-F0DF11A901B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35" creationId="{4AD84136-C756-3BDC-20C5-7618C6F2B38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36" creationId="{B793DBCD-FB9C-BD35-3E15-632C5D26C97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37" creationId="{574E90F2-9997-AD11-2322-001F3CCE2C6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38" creationId="{86C28F5A-CBD8-FD7C-BE42-CBFF5874D51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39" creationId="{7AC133C1-A36F-38F3-2B86-37DBE4CE3A9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0" creationId="{76A4CC00-E0EE-496F-2EF4-1731DA6EC9A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1" creationId="{2C132C08-2CDD-9D35-BA5F-FEC5CB31081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2" creationId="{705BF497-2CD0-5ACF-9E50-9AC2C7D9137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3" creationId="{72486534-EFA0-F374-C94C-182626367E4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4" creationId="{A89C4820-66B6-6E30-B6A5-9BB3B4FAEE6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5" creationId="{1752933D-B271-2BCF-553E-143897D1C0A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6" creationId="{110D931D-4C3A-3AD1-914B-893C86DDE7F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7" creationId="{EE22006A-FA5A-C23D-9094-5964CBD3DA9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8" creationId="{84059DBB-0A28-D346-60CF-B1CB8920457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49" creationId="{A3DF469D-F9D5-3245-BC51-7B7B22B0344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0" creationId="{E8F45564-1371-785F-F55A-98F9DFB6629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1" creationId="{364D36B8-5D76-5EC3-0170-E84C426E71E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2" creationId="{C40947BA-BC6F-678A-54CF-4BB866EEF74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3" creationId="{EBDC8F70-FBC9-C33D-CB50-527C3D9A131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4" creationId="{D5E14B9E-800E-52CA-73F8-48E9299D481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5" creationId="{782626B6-7AD7-B76B-B44E-68228BC2382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6" creationId="{B25E7D81-18D3-469C-0520-D3958AB72E4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7" creationId="{6E732835-6CB2-5D17-1953-E8AB9585F98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8" creationId="{C92C3288-B61B-E713-8A76-1BC71EEBF13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59" creationId="{CAE2987F-E2A5-78B9-907D-055CEA27088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0" creationId="{EA1DA629-7B68-E577-B913-9EA4B6742AB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1" creationId="{F74A3333-594E-3DA4-7667-D0B5A1783B9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2" creationId="{2B0531DC-BC4E-35F4-A970-D695474CAD3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3" creationId="{F5F3D94C-18CE-25B1-ADF1-14A2A9A8E28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4" creationId="{5516101E-7980-7F1B-69FE-2C3F8E37557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5" creationId="{2DC68058-14E2-0530-8A0B-91CEEF6B687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6" creationId="{2152CFBC-4150-CE59-4A66-08BE785D96D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7" creationId="{D059C345-6228-FCE7-92DB-891CF50A90A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8" creationId="{29CB999A-A9C2-5356-074C-6940E5C9A84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69" creationId="{1097342B-E4E6-5050-3739-35C5ACE2E45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0" creationId="{24C26140-3D80-6717-B5A8-580369BCCAA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1" creationId="{A5381F39-9E84-D048-D67A-11F87B40638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2" creationId="{2BCF0B86-ECCC-BDB6-5258-1825AE635BA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3" creationId="{7CDB6A91-C871-0003-D0F9-2E71FAB7951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4" creationId="{5021D045-3E57-5C5B-141D-9A965E734AD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5" creationId="{255C535F-E30A-C129-A820-883201751A0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6" creationId="{B2DBAD26-DED5-269A-1EE4-39815F101D5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7" creationId="{8D7A80EE-6FC9-69B7-167B-BA847DDC1FD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8" creationId="{66EA2220-6909-4FC7-A1AE-6ACD33E7F6B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79" creationId="{F317D0D0-2079-54C6-9E7F-C22FAFD0B87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0" creationId="{AB00FB4C-0215-9440-A0AC-7CECBF27B9E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1" creationId="{9B7B0170-FB97-3BFA-8E74-7383354C875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2" creationId="{85E1D7F3-D6EE-7EEE-8934-62F5BD7E997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3" creationId="{78D62D1F-D7E0-04C8-E8E7-22886EBBE83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4" creationId="{1AB9403A-5FE1-D763-0625-590B18E3119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5" creationId="{746EE96C-FF92-93CC-0472-ED540BD8D59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6" creationId="{229DAF64-2AF9-ECA3-A2F5-D6620F59375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7" creationId="{31AA9CB7-9FB6-DA9F-6CBB-DA776079108A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8" creationId="{BA8AAA44-8650-8DC2-8556-7BB1CEBF39C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89" creationId="{31217439-300F-7670-4E0B-4AB01FB2356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0" creationId="{BD4D1F2E-9DDA-7AB1-C670-76AC8807B70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1" creationId="{6496CD13-7E23-0D5B-4CF4-D5D6A15044D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2" creationId="{4252C277-C7A9-4408-F3A1-8662A03A696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3" creationId="{D5C41942-0208-9355-07F1-B5C4AC077D8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4" creationId="{69DA688B-DCE1-FA68-2F3F-F7CC7C26766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5" creationId="{A45BF322-0CEB-8C58-DC24-220F7E188AA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6" creationId="{8234F6BA-8889-663D-2121-37F2399549F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7" creationId="{FBCC8FC5-7C70-717F-AA8D-8A2F2354508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8" creationId="{8CA777DE-9D4A-E0AE-E7AC-F7A21C44F38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799" creationId="{2EBDD8D1-305B-569D-C3C5-D3B1FF9AF7F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0" creationId="{683D3305-FF52-0EAA-D828-72AA46F0BCA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1" creationId="{D77D56CE-E857-C4D0-C127-826C4C60DDA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2" creationId="{37C0DE21-9ADF-4A92-1E5F-A474BE67703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3" creationId="{EF5BF8A6-63B6-9B25-A307-89E4D1335C5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4" creationId="{25F8760F-0404-F353-1A15-955185DE47D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5" creationId="{C8878048-86CA-77FF-C1ED-ABFB0714CCB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6" creationId="{0461FA22-7E82-FBE6-EB61-668208B8C3B5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7" creationId="{EC5C75AD-75DB-7124-3324-5C8B212C800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8" creationId="{280DDC86-0AD7-7782-3B71-EC5FDF9A5EA9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09" creationId="{7B3C8F72-1768-BB45-AC20-37562465001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0" creationId="{69D59978-5B94-F624-7059-70099711E91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1" creationId="{EAE67F4A-19BD-CE43-D461-81845412DE2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2" creationId="{D8A6C381-DFD9-EA7D-107A-E89C33740E8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3" creationId="{25312876-749F-6DA4-AFDC-3D7295FE7756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4" creationId="{14050C0B-5965-ABE3-94F3-A395CD293981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5" creationId="{0BF5E623-C774-CAF6-1BDF-B37B55007C00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6" creationId="{55A7BDA2-A710-1AF8-1188-670583E9023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7" creationId="{784138E5-0D8A-2327-92D0-634E9A33962F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8" creationId="{DC6FF9EA-3995-1D5F-8340-F03024D8156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19" creationId="{716B9859-25D6-2006-0841-12D8EAB81827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0" creationId="{7292505B-D47E-A72C-82DC-E1E6EECDDF2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1" creationId="{4ACA93D2-3C4A-7C19-EB7D-FAB2C4E107D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2" creationId="{3D6A9F23-F956-98D5-6125-8529F6ADBB3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3" creationId="{A79F1656-0483-28D3-0226-0F73D1F478F4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4" creationId="{9FCB398F-F2E3-A404-5B61-28456CF154A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5" creationId="{E694738B-BAAE-082C-7F5A-59ECDD061B2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6" creationId="{AA0CEE44-C34F-4293-B696-2F708682DEEB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7" creationId="{0C9764B9-7C7B-E6E0-FB08-262AE43E954D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8" creationId="{2C30702D-E84B-35F1-ACB2-7CB4A69F5908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29" creationId="{1B2F072E-FD78-3937-47A8-779C6A31B44C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30" creationId="{0F9BEBB2-4938-B342-7928-E6CEA01D8732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31" creationId="{C1D13C82-A8F7-EFB2-8AD3-C920E7F6244E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32" creationId="{3B8E58E0-EC3D-6E0B-A682-83E232506313}"/>
          </ac:picMkLst>
        </pc:picChg>
        <pc:picChg chg="mod">
          <ac:chgData name="Merlin Gutter" userId="2abc6f04-74af-430b-bdc8-569c3bfa1dda" providerId="ADAL" clId="{CB1EFBC3-10F5-3048-8961-5969497C0019}" dt="2022-11-13T00:20:09.440" v="47577" actId="165"/>
          <ac:picMkLst>
            <pc:docMk/>
            <pc:sldMk cId="3735846079" sldId="374"/>
            <ac:picMk id="1833" creationId="{91AB758E-8B3B-93BC-85E7-BB710E5DEC7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36" creationId="{E62D9B0B-8924-C289-0C39-448BD6BD00E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37" creationId="{C4C5F963-076F-C9D3-F94A-33915AC626D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38" creationId="{3DF04295-D8B3-9511-D2A4-79271356E94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39" creationId="{18911B17-E2A0-236B-5B32-2AB0555F191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0" creationId="{7C505D2E-FF1B-A5F6-03CD-4C38831C1F2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1" creationId="{42E03E4A-48E7-6D71-B5F4-ACBA93745BA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2" creationId="{D5AA37C8-47B4-FEEE-83B7-0FE804338C5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3" creationId="{95D44E0D-DA00-CB93-FF4A-DB83B847212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4" creationId="{737D1E53-EE04-B2F0-F2D3-F276A6A13BD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5" creationId="{3D962753-076D-FC7B-B991-9826546AEA6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6" creationId="{89E8D9CC-E66A-88EB-8B3E-5D2D15610B6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7" creationId="{D00BC94C-D2B3-FBE8-46B5-B560BD75AD0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8" creationId="{91C50341-6268-9F92-D4CF-744B8C85A7D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49" creationId="{29432C18-7AA4-C8BE-7037-E01675D2800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0" creationId="{E72F6DEA-98F6-C3DC-8A10-17383A76BC6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1" creationId="{36A2A561-D3BF-AFB2-9B21-468243165EF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2" creationId="{802108AF-FA07-EA0C-D59F-FC47315FF5E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3" creationId="{AA087E44-FF0D-ACF1-6CDD-4DEAB3BEB9A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4" creationId="{E0571EE0-FEE8-EC6C-F262-6F8F71D0637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5" creationId="{0DDB0D46-2814-0106-B96B-955F5AC7022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6" creationId="{71638817-3D75-3B43-C5EC-BEE5E1B1FD0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7" creationId="{82AFB483-C39A-2BF7-1D5F-1062E9DC93D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8" creationId="{B6C0EF50-9CF8-05F0-9ACF-50C54D338F3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59" creationId="{BAB14E98-3E7E-DB4E-18CF-8E3A698DFB4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0" creationId="{18785FCE-729E-9B3C-44F9-3BE7D7F58D1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1" creationId="{87E042F1-2AC2-7EBD-5D84-95048BBBD2A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2" creationId="{09E5510E-1C23-CFB4-7B03-664252C47A7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3" creationId="{66C7CD7A-4569-9E3C-855B-D0582557D08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4" creationId="{4F48F342-E067-3DBF-89B5-78A94827F63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5" creationId="{FCB3F95D-5366-5BA5-7893-C2E60A9A6F0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6" creationId="{6C4F788B-932F-8B43-76C4-705D7D8C9C9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7" creationId="{31DD4101-5E89-E7FD-63F2-5C61D38386F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8" creationId="{8D0142F7-31A3-0854-809A-A26BFAC4B63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69" creationId="{72C49941-3A9C-9B03-B0BA-45924570FC0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0" creationId="{FAEFAD45-0E79-64FE-21BE-5A05D813A9A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1" creationId="{39E290D5-BC5D-D536-DE40-E4C9150D08A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2" creationId="{BA7B3F03-E151-6574-A135-DB6F710563A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3" creationId="{25AD3834-6DF1-B435-C710-63B4392C061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4" creationId="{4576E6B9-F8A7-23EF-2401-7F1131AA92B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5" creationId="{5D9376F3-D7C9-F8CB-494B-C7DF9CDA666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6" creationId="{CB3CCE25-0BD1-591B-0E73-767B6A6AA75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7" creationId="{EEC7A63C-10CD-4B48-5B4A-ED31A108D73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8" creationId="{6FD7410C-A175-6F94-4A56-884545C06C1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79" creationId="{CD16732B-ECD4-DCCC-6330-935093C1A0C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0" creationId="{07A8A489-8CD9-B5B7-F7E1-1134626C533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1" creationId="{C768367E-CDFD-A118-FB05-24637C7D095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2" creationId="{B1A703E0-BA00-56B5-A8BF-04DADF1169F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3" creationId="{68048A06-6AE1-746F-B407-CC3D6B5402B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4" creationId="{8BE9F100-6CC5-F4D7-1D53-82F89445F5D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5" creationId="{87256D63-8CAC-7239-F6B0-3E5A9222AAC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6" creationId="{D7502EE6-208E-51A4-3F08-B6ABE99B498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7" creationId="{DF53853E-29EC-84D4-6EE8-EE016213B47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8" creationId="{08CCCEDE-7167-233A-EEDD-A1ED83A1A23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89" creationId="{260A863A-BAD6-01A7-F31B-10C3D2BE548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0" creationId="{6A526088-D48C-CA6F-522E-C5FCF29572B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1" creationId="{C0E45768-E5F2-687B-8471-3BC3B27AE19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2" creationId="{01372DC7-A9DE-C1BF-4853-413DE5FD07D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3" creationId="{47FA5ABB-93EF-D901-83ED-AAC7E9D8211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4" creationId="{33F3F2D1-E029-CEAA-FDDC-1250F984C37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5" creationId="{5DCE7583-3126-8CD6-F4AA-4D73A69734F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6" creationId="{ACB24DEE-4991-1407-468A-D5C777B366B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7" creationId="{541FAD46-B4D7-3282-7B71-EA09CA8DBCD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8" creationId="{87CC3E96-64CA-0C81-A662-CD0410FDFF0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899" creationId="{3DAF0BFE-5E3A-9078-182A-AD7A773CDDC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0" creationId="{2C4B1053-4237-3C83-83A9-50150D82F52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1" creationId="{14F12B95-6B74-C43B-2242-13CF1BB15F0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2" creationId="{5A7EB032-1120-9144-9CB4-009561EC7FB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3" creationId="{9F4C73AA-4B5B-BDF7-A11B-F39E69F8EE4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4" creationId="{2FD39EC1-2827-9A7C-FF02-9D3EE2CBB28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5" creationId="{DCEF83BC-DC0C-B570-82AA-8837963E07F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6" creationId="{84ECC61B-6CC6-4CEF-457D-FFEB4973E16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7" creationId="{42DD847B-CD8C-BC46-2BD9-6E9BAFC93F3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8" creationId="{93201B9F-A866-B3FD-8876-1F410DFCD47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09" creationId="{E644DD89-67BE-AEA6-AE54-66035FE49D6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0" creationId="{9BD6D477-919C-70D6-E925-78AD6C77CC6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1" creationId="{92818F79-D88B-DE86-564D-002259D1514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2" creationId="{6F15D07B-EB65-640F-6332-0F15DF1AB96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3" creationId="{CD25A365-E6E2-CD82-0FEE-CD672E43234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4" creationId="{E287DC18-9971-DE9E-8D06-0E2AF6F17A0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5" creationId="{060FEDDF-47CE-85BA-68F0-7AC332CCF1F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6" creationId="{F69DE9F4-66A4-69CF-4603-6C5E620E9A3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7" creationId="{9666D9B3-FDAB-3EFB-BE82-317AAE56755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8" creationId="{A3149D0C-FFA8-2C2B-18A1-F8A952712E1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19" creationId="{8BF80042-6E28-04EF-4687-B105B8EEB58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0" creationId="{AFB00D40-65DC-40EC-1501-9E21BDC62DF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1" creationId="{5E463A28-35C4-2058-DCE1-B2CBA6F77BA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2" creationId="{3E3EA346-3E9E-B73B-798E-3E7576164F8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3" creationId="{03DB9C3C-80CE-1047-B60F-340E4587F2D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4" creationId="{98470256-456E-E272-E8AE-CFC8DC39476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5" creationId="{9A314698-4659-05BC-74AD-D53D2871AA1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6" creationId="{F98958A1-0FFB-61D7-F43A-179C6872002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7" creationId="{715E1403-86C5-6F5B-B3DC-5A84B1142D4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8" creationId="{2F5827D1-314F-8BB6-06E0-95287E901CE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29" creationId="{B2AE9CE7-D4B3-E7DF-A9B8-C0524CB0CC5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30" creationId="{3CD85E74-45A3-A2D2-B6E3-3F22746600D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31" creationId="{8A4D255C-12A0-2B88-B985-906294A3C79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32" creationId="{BD185073-5EF9-571E-A159-E96AB71BCAE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33" creationId="{83F96464-5435-D6A0-7B88-81CBF024A8C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34" creationId="{70C81C7D-4725-A305-1FA2-B93E5C292B8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1935" creationId="{A9B203AF-46C3-412A-5F2F-08D4D4E9360F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41" creationId="{6B934452-90F4-81F6-776B-3AE0D633D14C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42" creationId="{C55AA113-7621-9296-7C6A-AF4911A8CFD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43" creationId="{CA8AF4BC-1D32-6D33-CD63-DCCC04B9B812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44" creationId="{5A148980-6821-F876-288A-8E4B74D3AF46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45" creationId="{BCB257F4-E0D0-B9C9-B05D-3117A1862DC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46" creationId="{2926ACC6-E055-97CF-38A6-7E057F964F16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47" creationId="{A7D214F9-FBAE-D5ED-2A46-FC780C6B832E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48" creationId="{11DF2460-8278-A196-0036-A104FEACEB7B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49" creationId="{1EA90C2F-CCA4-A9AD-9FA5-5BEDB9E6626C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0" creationId="{1A658D98-F18F-A995-7AA8-7864138F2DF6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1" creationId="{6C3DA159-18B1-C39E-7F5F-5FB926A3C66F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2" creationId="{14389FCD-0A55-B4C5-4C7D-C18C10C74DB9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3" creationId="{D82C9A3C-3880-017C-68D0-4DB023E5E143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4" creationId="{1BB7F566-9876-F9B3-9755-C23A2BF594C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5" creationId="{43D66194-85CE-8F82-921B-0CDD97F5D88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6" creationId="{5D3755C4-99F0-0487-8C38-E8C23184F618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7" creationId="{E5A7927D-00A9-E35F-E9C6-8E56908D1A86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8" creationId="{E561726B-97C2-79DA-302C-E0FD86F8E9EB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59" creationId="{84A466B9-B54D-541A-08DF-699FA7E29F1D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0" creationId="{B7BD2CDE-9307-76ED-F69B-75351E6DFD53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1" creationId="{B90E502D-5E55-3BF8-AFE3-6C49A22AD9CA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2" creationId="{FB7D8717-0FAA-1801-9D26-6B175C5A6A4D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3" creationId="{7583483B-13B0-E08A-1CB7-CD72FC8CA69B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4" creationId="{B5A142D9-62C1-7422-1B32-CD14A97044F7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5" creationId="{4C2A961C-EE00-78D6-72F8-0F55703CADBE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6" creationId="{1E686482-EDCD-DD75-F03A-59B4B9C6CBBC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7" creationId="{3072514C-A3B6-45CC-6811-D947AFDFAEF6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8" creationId="{0EDBB415-7AEB-3700-FFA4-57CEC06BCAA4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69" creationId="{FED25CA3-D9D5-6667-FA86-A3C55B0DCF7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0" creationId="{95EED67E-B58C-13AC-9E25-2160FF83B5BF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1" creationId="{B1AB6748-F91B-8D01-29AD-0B9953B6A5AD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2" creationId="{E9D20EE8-EDAD-EC61-D8E2-9439D2967A9E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3" creationId="{0020C6A3-6C29-AAAB-23DE-A24BDD1B5725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4" creationId="{29FAED8D-8681-9F7F-0615-A186DD3863AD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5" creationId="{2AB24AE4-23B4-6144-0C0F-2101F779105D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6" creationId="{A8380E68-DCF4-0182-67F0-E1FC17477AB8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7" creationId="{37C24536-6DB5-B4AC-98E9-D29212F5D7F5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8" creationId="{9C01E77E-B445-B340-4C86-FAF46B8E5907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79" creationId="{1E84C770-C5D3-7C3F-84AB-A72C03D18210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0" creationId="{21A3ED85-AB27-22A8-FEA2-938FE87D7BA5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1" creationId="{BAF58E0D-4B5F-D64F-0A26-02CDB282EF8C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2" creationId="{5C5946FA-1615-4436-C5B8-B6F96F5A6CB2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3" creationId="{31594055-D794-C587-48E2-392D1E92474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4" creationId="{8603E45C-D6D9-63A0-6246-FF77EABDB125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5" creationId="{9C73A589-BB29-C257-EEB8-59E40A45E0CE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6" creationId="{C6ADB8F8-6550-0A52-2CD0-6EF0808B4106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7" creationId="{F114F734-7324-60BC-23CC-A12323D1C780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8" creationId="{A502B482-5DD5-E54F-DCBB-E7970D4FC70E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89" creationId="{F45C4978-D00B-9E84-9587-FDD5A3A08E05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0" creationId="{00112C27-ECFE-5661-F8B9-8C934089E2C7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1" creationId="{B0B9A6C6-64A8-389E-7E02-0A02C7D27433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2" creationId="{6B4D54FE-5539-ECD3-12EA-2D6B5DC4D518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3" creationId="{34E7DFD6-8C53-647D-68E5-6477B22D0A4A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4" creationId="{E882DCE1-231E-DAB5-E545-9A2AE7A69FAC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5" creationId="{ADE0B552-636C-0653-29F2-1B5923C5A679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6" creationId="{59E2D297-3A45-A3E3-A7B7-49E08AD341F8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7" creationId="{F1001C06-9E46-76E0-7C57-4603572E044F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8" creationId="{FAC65876-B628-1AD6-926D-D53579E1905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1999" creationId="{B18139BC-A211-A9F5-6AF8-F55E0D9CB1DB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0" creationId="{F283E98C-A899-B80E-6F11-DCCE5DD925BD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1" creationId="{E9303F4D-3589-1B9C-3083-CF090659A62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2" creationId="{E575676C-B54C-4C57-5555-994DEC257173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3" creationId="{82EA71CB-99D3-B685-8BA4-A9674D9CEFC0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4" creationId="{A00D9513-C62B-A01B-8FA4-350C9C2C5EF2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5" creationId="{ABEF5B3C-BCB6-DAC6-ABF4-605A953A9A8B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6" creationId="{9AFCE72B-24FA-CFDC-46DF-8138D9F4D7D3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7" creationId="{32E7B9AC-4ABC-A46E-8313-D7BB343015E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8" creationId="{7F666657-8E64-CFF1-FAF9-888A5AF9CCE9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09" creationId="{743313D8-56ED-675C-EDCD-F2B828F5B1D8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0" creationId="{AA69BCD7-FAA0-A393-F0F3-D70E6ADE7BC2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1" creationId="{24CC8337-BCA1-B377-B272-56465C3F75AE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2" creationId="{1BBF111A-49A0-2FAD-8DE1-53247DB9B627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3" creationId="{A3E29B3F-7CA1-C84E-7469-AF1B407CBC17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4" creationId="{85B6BE1B-095D-40E9-79B0-BE37DCD27E85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5" creationId="{354CBCA0-CF01-E709-F21A-A613C7504D46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6" creationId="{05469A38-33C0-976A-2CBB-715B0F1A33B5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7" creationId="{D9B611AD-1F69-3357-1E83-F677468AC66A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8" creationId="{FF4F1C4C-FAE0-C481-A9C5-E602C1791343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19" creationId="{5A52C04A-01E1-C7FC-7517-F8124F50E69B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0" creationId="{2C303CD4-C187-4C06-5F44-BDD77E499982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1" creationId="{B6A1E5D9-DB1A-065A-BD72-37B83E29F69D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2" creationId="{185087CD-C538-3D40-FD86-611EFD2526A7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3" creationId="{BEBC37B2-16B7-E970-0DD4-888F7E148AE8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4" creationId="{24C4985D-B8A1-1C95-5C9C-A6813D26372E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5" creationId="{5B97AE03-C750-285D-B9F8-F90C7A8D1027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6" creationId="{181289D7-CF2D-A54C-66A3-836408B68446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7" creationId="{6C2179D3-B3BB-9B8A-E042-612ABBD1FAFA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8" creationId="{A435CA23-8BB7-F0D2-8CC4-8EFEE99F0E0C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29" creationId="{ED3E17A6-0D42-E5E5-002E-657F25DE9BB7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0" creationId="{0DF40042-EF8B-6063-4CCF-628264EF4EA2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1" creationId="{0171A5E2-D67B-4B96-3350-70344E279C6B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2" creationId="{0F4A29D2-4DD0-4F9C-7A41-144F830E0AF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3" creationId="{BC2C0D63-0E43-37B8-8B04-8C1EB7D21500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4" creationId="{03135550-36A4-1744-E32C-C05E40C56E8D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5" creationId="{B24BD311-D78D-3F55-C70B-7ECA40F6D492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6" creationId="{B415ABF8-8E10-48CA-FF18-48F12CABA8E6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7" creationId="{CDDF3A16-3F30-BBC7-E8F2-088D4DEECFD4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8" creationId="{932219F1-1194-1B6C-133A-694A428398B1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39" creationId="{AC92ADA5-F178-FA53-F0C2-510451DECD7F}"/>
          </ac:picMkLst>
        </pc:picChg>
        <pc:picChg chg="mod">
          <ac:chgData name="Merlin Gutter" userId="2abc6f04-74af-430b-bdc8-569c3bfa1dda" providerId="ADAL" clId="{CB1EFBC3-10F5-3048-8961-5969497C0019}" dt="2022-11-13T00:19:59.210" v="47575" actId="165"/>
          <ac:picMkLst>
            <pc:docMk/>
            <pc:sldMk cId="3735846079" sldId="374"/>
            <ac:picMk id="2040" creationId="{7008304B-65FA-DE47-666B-4F9E4AB0FE3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43" creationId="{61A85950-89E3-842C-2FAE-47DDB044545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44" creationId="{CCA3282C-0C5B-B468-8500-515AE2B3F40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45" creationId="{CF45BFA6-C78D-A27F-6873-058F15555AF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46" creationId="{C1577E95-FE0E-4EEE-EBC7-07130E6E7C1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47" creationId="{82E331E6-1021-919D-DD1C-4D409E20D90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48" creationId="{884F6836-447D-DB87-3A3D-3B2FD739F3C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49" creationId="{A34FB838-921C-88EF-F26F-C453B5AFA19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0" creationId="{82E4E3C2-76EA-5B2A-CF92-5733D1C42A8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1" creationId="{9121F9CC-9FBB-E78F-BCAE-F754B55E7BE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2" creationId="{57A6F78C-C821-F9FF-38C0-FE42EA04251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3" creationId="{D22BB6E0-FD0B-3A55-2274-4B8BA26EB5E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4" creationId="{D0339128-FEF1-53F6-EDA5-83DDF1BDD2C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5" creationId="{6F59AE35-8263-45FF-4CE4-2D862A2D99E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6" creationId="{6F5673B4-9C82-5BB1-2591-CFF51672FE1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7" creationId="{101981D0-98E0-E509-24D4-3F63EFAF7F0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8" creationId="{4B61FD9D-E8C6-58F5-5553-3B7C6C89916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59" creationId="{1A24C5BD-1B51-B7EF-F1E0-5EA1B74B8A6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0" creationId="{070880D2-BEF5-F093-76B7-2515264E95B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1" creationId="{FE019593-3A81-D2D6-EB41-257CBD8ED19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2" creationId="{A1F535C9-4EAB-020A-8846-9FEA40104FD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3" creationId="{B0780037-40FA-76A0-2ED7-1BD6B8D74CC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4" creationId="{EC63811C-8F88-0711-5EB4-AC22CDAF317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5" creationId="{C0A9D9D1-AA01-A1AD-D877-E30DAB3A313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6" creationId="{F50D9559-3DC0-BDE1-9E3B-83F0B533298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7" creationId="{320F477E-719D-CC26-4EC9-B5440789FC6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8" creationId="{AFFC71FA-0A08-3C68-1F2C-3AFDA6825BF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69" creationId="{584A0D6B-D49F-2AF9-8C1C-4FB869CE2AE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0" creationId="{4BC6D917-9AE1-A24A-225A-A0BC280CC1D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1" creationId="{99D13AC4-F38D-D31E-9CD9-997075C783C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2" creationId="{C8AB3FB9-9239-DFF2-2349-084D161761B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3" creationId="{B051394F-71EA-8E57-F4B8-34340D3845B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4" creationId="{37247DA3-9CA3-9B16-8F79-AFD54AE9960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5" creationId="{CF587005-FCF4-B0DC-C23F-380F46C801F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6" creationId="{B9929E59-A45A-C71A-3C93-D98A53CE91E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7" creationId="{CB684789-9E61-3C06-7939-2FBB9EA1911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8" creationId="{7838F2D0-8AC9-6662-36B4-42CF0156EF2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79" creationId="{86305B8B-B9C7-CB3E-CF10-3D7490DB7E7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0" creationId="{A6C4ED43-E84F-B629-0143-2A89A2E6CA3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1" creationId="{18D86E8A-B39E-9D1F-C5B5-B5B9F7A417C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2" creationId="{FFB61E5F-D772-556E-5E52-9ED04D9FD9F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3" creationId="{8738FAD3-9D44-2A6E-76FC-124EC8AF60D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4" creationId="{95FC8273-EF77-1273-1C68-6F1D5DD0015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5" creationId="{23702096-CD3D-67D6-7303-BAD5DC884A2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6" creationId="{0EB18897-DA9C-7B36-0028-DB886A519B9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7" creationId="{81730280-331C-BCA2-EEE5-A157B597E5C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8" creationId="{1F0D1503-796B-59D1-C481-275B59BD4FC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89" creationId="{AA245041-828C-7C91-247D-20C3A56C990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0" creationId="{06D59C1E-11CB-6A68-9470-62C1F933C29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1" creationId="{C6615C18-A411-51A4-6EF1-136CAD331D5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2" creationId="{C9CEA685-F452-B400-71CA-4968508B17F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3" creationId="{1FCAE9F0-EC32-55C0-C4A9-CCB7A53C868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4" creationId="{63BA4B66-295C-073A-FAEF-7BE2905A397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5" creationId="{09803E8E-BFA2-45F2-E9B8-D80685105DB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6" creationId="{546F20F9-8CE8-E4A2-40C3-CBCE01503A6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7" creationId="{2595335F-237F-E50E-281A-FB39C48593E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8" creationId="{37D8F1AA-2EA7-5574-2E54-60D98D06FB9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099" creationId="{3DA1C828-4CAF-7752-9F09-030A391F1F2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0" creationId="{D287AF91-A387-241D-3B3C-E21D79618D7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1" creationId="{F63C087E-0A42-1ABD-4B72-1737AC1E547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2" creationId="{CDE68A08-D029-354A-FAFF-E5CA729315A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3" creationId="{366F37A5-9A2E-BF71-19F4-C512E7AB789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4" creationId="{61193A58-14AB-12DE-1293-018496B3D2ED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5" creationId="{5D48F53B-6486-5420-9B11-18674A33A95C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6" creationId="{593B0E05-EF35-188F-A449-C393DF36D8A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7" creationId="{5D9EA475-FEED-3086-1C2A-44502C77F57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8" creationId="{51ECCA1B-83F4-0D29-E8EF-396F458CEF8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09" creationId="{01116D3B-38F6-8391-634A-9A6B923E930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0" creationId="{55369754-75BC-43BD-A681-B05FDA3A1A66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1" creationId="{3B25757C-2CA2-DAA7-5B75-172080EEEA0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2" creationId="{36675B28-BD81-5DF9-4A29-CED975D12FD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3" creationId="{7BC5BF70-F646-C3F0-9213-C09B9BC952E8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4" creationId="{B73638EB-E071-A31C-98C5-A48F1F3C8CE0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5" creationId="{87A1A238-2FF9-C639-8C58-1A669377FC6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6" creationId="{18328880-0EFF-60DA-853B-6E126DF8EF1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7" creationId="{BE9B0396-CC74-F448-CEB8-6B80DAACEF2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8" creationId="{F983C7CC-F7A9-A3CB-4F0B-866EA374A199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19" creationId="{BE1710DD-890A-564C-9DB2-162F30D8A94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0" creationId="{355E6EAC-0B4F-CF7B-277A-9DE2A9B2411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1" creationId="{A23FBF92-BB5C-86E3-EBA7-6AD2FD25F36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2" creationId="{17EB5738-2952-1824-5A3F-A412553265D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3" creationId="{0E03E49E-6041-2657-4457-3BBBC953CDA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4" creationId="{AF0F6D89-70A6-80A2-109D-C9B0A0B113A5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5" creationId="{97E3E013-F109-7AF2-3D07-3FAF02ABEE6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6" creationId="{ED0F9B1C-F737-74E4-F0F3-DD1F3102445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7" creationId="{3BDE2804-17BE-534D-775D-E3884B3A5E6F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8" creationId="{97A1CC0F-EBA0-071F-31B7-21914293EDD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29" creationId="{BD1318CD-9790-3DDD-CCB3-01DBEF8E5FE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0" creationId="{A1917250-6E93-CE98-8D1B-A2F66843E04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1" creationId="{C4ADB2F6-DFD2-320B-EAC8-4A4E4FFCFADE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2" creationId="{492A9A64-9E11-25A3-2346-3A66F095A832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3" creationId="{70FA280C-48BF-7143-56F1-2BD81693D64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4" creationId="{AF5DFB73-B4AB-6D9A-9149-D733DCA1750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5" creationId="{EC08092E-8267-DE38-2DF9-56C6711F8793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6" creationId="{ABE68189-12B5-E479-70B8-9F464D4846A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7" creationId="{C028F6CC-4785-473B-BAD5-4C2BB4D266F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8" creationId="{911B69F4-CB9E-AD46-BA51-ACDFF5F378AB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39" creationId="{001D932B-5D26-1F30-C7ED-7E38344CB32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40" creationId="{04CD5967-A75D-59BF-CC67-A5B15C84628A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41" creationId="{4DD51F94-655D-426A-368E-2CC0EA27DC24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42" creationId="{054CDC11-CBC9-834F-2ACC-09218BD68907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44" creationId="{4CA6AC7C-BD4B-C895-796D-D2862BA3F941}"/>
          </ac:picMkLst>
        </pc:picChg>
        <pc:picChg chg="mod">
          <ac:chgData name="Merlin Gutter" userId="2abc6f04-74af-430b-bdc8-569c3bfa1dda" providerId="ADAL" clId="{CB1EFBC3-10F5-3048-8961-5969497C0019}" dt="2022-11-13T00:38:43.708" v="47889" actId="165"/>
          <ac:picMkLst>
            <pc:docMk/>
            <pc:sldMk cId="3735846079" sldId="374"/>
            <ac:picMk id="2145" creationId="{63E5188C-10F7-18AA-2309-A5979AA194EB}"/>
          </ac:picMkLst>
        </pc:picChg>
        <pc:picChg chg="add mod topLvl">
          <ac:chgData name="Merlin Gutter" userId="2abc6f04-74af-430b-bdc8-569c3bfa1dda" providerId="ADAL" clId="{CB1EFBC3-10F5-3048-8961-5969497C0019}" dt="2022-11-23T18:48:46.996" v="117892" actId="164"/>
          <ac:picMkLst>
            <pc:docMk/>
            <pc:sldMk cId="3735846079" sldId="374"/>
            <ac:picMk id="2161" creationId="{7304FC3C-DFC5-C4B8-7F6C-B04C61BD6E1A}"/>
          </ac:picMkLst>
        </pc:picChg>
        <pc:cxnChg chg="mod">
          <ac:chgData name="Merlin Gutter" userId="2abc6f04-74af-430b-bdc8-569c3bfa1dda" providerId="ADAL" clId="{CB1EFBC3-10F5-3048-8961-5969497C0019}" dt="2022-11-13T00:38:43.708" v="47889" actId="165"/>
          <ac:cxnSpMkLst>
            <pc:docMk/>
            <pc:sldMk cId="3735846079" sldId="374"/>
            <ac:cxnSpMk id="24" creationId="{D2001C1E-6FB9-1164-F26F-203F8FEF4C15}"/>
          </ac:cxnSpMkLst>
        </pc:cxnChg>
        <pc:cxnChg chg="mod">
          <ac:chgData name="Merlin Gutter" userId="2abc6f04-74af-430b-bdc8-569c3bfa1dda" providerId="ADAL" clId="{CB1EFBC3-10F5-3048-8961-5969497C0019}" dt="2022-11-13T00:38:43.708" v="47889" actId="165"/>
          <ac:cxnSpMkLst>
            <pc:docMk/>
            <pc:sldMk cId="3735846079" sldId="374"/>
            <ac:cxnSpMk id="25" creationId="{C80C1645-50A5-4ECE-C5E7-DB7321243439}"/>
          </ac:cxnSpMkLst>
        </pc:cxnChg>
        <pc:cxnChg chg="add del mod replST">
          <ac:chgData name="Merlin Gutter" userId="2abc6f04-74af-430b-bdc8-569c3bfa1dda" providerId="ADAL" clId="{CB1EFBC3-10F5-3048-8961-5969497C0019}" dt="2022-11-23T22:49:35.237" v="125345"/>
          <ac:cxnSpMkLst>
            <pc:docMk/>
            <pc:sldMk cId="3735846079" sldId="374"/>
            <ac:cxnSpMk id="1942" creationId="{58B9471F-0146-3A6F-9D6F-3DA37F6EBA01}"/>
          </ac:cxnSpMkLst>
        </pc:cxnChg>
        <pc:cxnChg chg="add del mod replST">
          <ac:chgData name="Merlin Gutter" userId="2abc6f04-74af-430b-bdc8-569c3bfa1dda" providerId="ADAL" clId="{CB1EFBC3-10F5-3048-8961-5969497C0019}" dt="2022-11-23T22:49:35.236" v="125343"/>
          <ac:cxnSpMkLst>
            <pc:docMk/>
            <pc:sldMk cId="3735846079" sldId="374"/>
            <ac:cxnSpMk id="1943" creationId="{B51E35C9-7086-F104-7148-96E95FC60BC9}"/>
          </ac:cxnSpMkLst>
        </pc:cxnChg>
        <pc:cxnChg chg="add del mod replST">
          <ac:chgData name="Merlin Gutter" userId="2abc6f04-74af-430b-bdc8-569c3bfa1dda" providerId="ADAL" clId="{CB1EFBC3-10F5-3048-8961-5969497C0019}" dt="2022-11-23T22:50:04.175" v="125833"/>
          <ac:cxnSpMkLst>
            <pc:docMk/>
            <pc:sldMk cId="3735846079" sldId="374"/>
            <ac:cxnSpMk id="1948" creationId="{732A6531-2739-1B19-B959-DCC637953A90}"/>
          </ac:cxnSpMkLst>
        </pc:cxnChg>
        <pc:cxnChg chg="add del mod replST">
          <ac:chgData name="Merlin Gutter" userId="2abc6f04-74af-430b-bdc8-569c3bfa1dda" providerId="ADAL" clId="{CB1EFBC3-10F5-3048-8961-5969497C0019}" dt="2022-11-23T22:50:04.181" v="125853"/>
          <ac:cxnSpMkLst>
            <pc:docMk/>
            <pc:sldMk cId="3735846079" sldId="374"/>
            <ac:cxnSpMk id="1953" creationId="{7825ADBD-9051-23A4-EC35-750A0D3E9E35}"/>
          </ac:cxnSpMkLst>
        </pc:cxnChg>
        <pc:cxnChg chg="add del mod replST">
          <ac:chgData name="Merlin Gutter" userId="2abc6f04-74af-430b-bdc8-569c3bfa1dda" providerId="ADAL" clId="{CB1EFBC3-10F5-3048-8961-5969497C0019}" dt="2022-11-23T22:51:32.938" v="127088"/>
          <ac:cxnSpMkLst>
            <pc:docMk/>
            <pc:sldMk cId="3735846079" sldId="374"/>
            <ac:cxnSpMk id="1976" creationId="{87361D8C-75A7-F1EA-83FA-8FDEBF9888B6}"/>
          </ac:cxnSpMkLst>
        </pc:cxnChg>
        <pc:cxnChg chg="add del mod replST">
          <ac:chgData name="Merlin Gutter" userId="2abc6f04-74af-430b-bdc8-569c3bfa1dda" providerId="ADAL" clId="{CB1EFBC3-10F5-3048-8961-5969497C0019}" dt="2022-11-23T22:51:32.943" v="127108"/>
          <ac:cxnSpMkLst>
            <pc:docMk/>
            <pc:sldMk cId="3735846079" sldId="374"/>
            <ac:cxnSpMk id="1977" creationId="{95DE75BA-652D-5BC3-C98E-204B4B82D6EF}"/>
          </ac:cxnSpMkLst>
        </pc:cxnChg>
        <pc:cxnChg chg="add mod">
          <ac:chgData name="Merlin Gutter" userId="2abc6f04-74af-430b-bdc8-569c3bfa1dda" providerId="ADAL" clId="{CB1EFBC3-10F5-3048-8961-5969497C0019}" dt="2022-11-23T22:57:01.021" v="130341"/>
          <ac:cxnSpMkLst>
            <pc:docMk/>
            <pc:sldMk cId="3735846079" sldId="374"/>
            <ac:cxnSpMk id="2163" creationId="{D2E3680C-EE73-FA16-D1C8-9E284486153E}"/>
          </ac:cxnSpMkLst>
        </pc:cxnChg>
        <pc:cxnChg chg="add mod">
          <ac:chgData name="Merlin Gutter" userId="2abc6f04-74af-430b-bdc8-569c3bfa1dda" providerId="ADAL" clId="{CB1EFBC3-10F5-3048-8961-5969497C0019}" dt="2022-11-23T22:57:01.021" v="130342"/>
          <ac:cxnSpMkLst>
            <pc:docMk/>
            <pc:sldMk cId="3735846079" sldId="374"/>
            <ac:cxnSpMk id="2164" creationId="{F46FF639-6C44-4124-9E58-15ACC22A28B4}"/>
          </ac:cxnSpMkLst>
        </pc:cxnChg>
      </pc:sldChg>
      <pc:sldChg chg="addSp delSp modSp new add del mod modClrScheme chgLayout">
        <pc:chgData name="Merlin Gutter" userId="2abc6f04-74af-430b-bdc8-569c3bfa1dda" providerId="ADAL" clId="{CB1EFBC3-10F5-3048-8961-5969497C0019}" dt="2022-11-13T00:34:40.428" v="47830" actId="2696"/>
        <pc:sldMkLst>
          <pc:docMk/>
          <pc:sldMk cId="1593947597" sldId="375"/>
        </pc:sldMkLst>
        <pc:spChg chg="del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2" creationId="{88363D79-6ECA-DBF4-F872-D108DBDA2F06}"/>
          </ac:spMkLst>
        </pc:spChg>
        <pc:spChg chg="del mod ord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3" creationId="{43DD882C-1274-6B13-090A-E2915AEBA63B}"/>
          </ac:spMkLst>
        </pc:spChg>
        <pc:spChg chg="del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4" creationId="{C6B3A6FE-CEC0-258B-0973-6318F9EE37E4}"/>
          </ac:spMkLst>
        </pc:spChg>
        <pc:spChg chg="del mod ord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5" creationId="{57E8E691-F74F-16A0-1753-D54DFD245B92}"/>
          </ac:spMkLst>
        </pc:spChg>
        <pc:spChg chg="del mod ord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6" creationId="{83B92ACA-49F8-1C12-01A7-FAACE3477223}"/>
          </ac:spMkLst>
        </pc:spChg>
        <pc:spChg chg="mod ord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7" creationId="{B89FC809-29C9-266C-38A4-D9FFCFA496DC}"/>
          </ac:spMkLst>
        </pc:spChg>
        <pc:spChg chg="mod ord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8" creationId="{025C12AC-0C2A-5B14-3C01-870CE8C85265}"/>
          </ac:spMkLst>
        </pc:spChg>
        <pc:spChg chg="add mod ord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9" creationId="{F0E4548E-51C3-1D25-BA7F-B60165143229}"/>
          </ac:spMkLst>
        </pc:spChg>
        <pc:spChg chg="add mod ord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10" creationId="{7A533ED4-2210-6763-84A6-231BEE6C7500}"/>
          </ac:spMkLst>
        </pc:spChg>
        <pc:spChg chg="add mod ord">
          <ac:chgData name="Merlin Gutter" userId="2abc6f04-74af-430b-bdc8-569c3bfa1dda" providerId="ADAL" clId="{CB1EFBC3-10F5-3048-8961-5969497C0019}" dt="2022-11-12T21:42:13.584" v="46760"/>
          <ac:spMkLst>
            <pc:docMk/>
            <pc:sldMk cId="1593947597" sldId="375"/>
            <ac:spMk id="11" creationId="{18F27E0F-4467-44AA-34B9-B923EE05414B}"/>
          </ac:spMkLst>
        </pc:spChg>
        <pc:spChg chg="add del mod">
          <ac:chgData name="Merlin Gutter" userId="2abc6f04-74af-430b-bdc8-569c3bfa1dda" providerId="ADAL" clId="{CB1EFBC3-10F5-3048-8961-5969497C0019}" dt="2022-11-12T21:43:00.766" v="46784"/>
          <ac:spMkLst>
            <pc:docMk/>
            <pc:sldMk cId="1593947597" sldId="375"/>
            <ac:spMk id="33" creationId="{76987C9F-0DEC-68AF-BE85-CF8376D61A89}"/>
          </ac:spMkLst>
        </pc:spChg>
        <pc:spChg chg="add del mod">
          <ac:chgData name="Merlin Gutter" userId="2abc6f04-74af-430b-bdc8-569c3bfa1dda" providerId="ADAL" clId="{CB1EFBC3-10F5-3048-8961-5969497C0019}" dt="2022-11-12T22:15:09.827" v="47331"/>
          <ac:spMkLst>
            <pc:docMk/>
            <pc:sldMk cId="1593947597" sldId="375"/>
            <ac:spMk id="699" creationId="{0000BB16-3C1F-A2E4-08B5-2D5E76EA6A31}"/>
          </ac:spMkLst>
        </pc:spChg>
        <pc:spChg chg="add del mod">
          <ac:chgData name="Merlin Gutter" userId="2abc6f04-74af-430b-bdc8-569c3bfa1dda" providerId="ADAL" clId="{CB1EFBC3-10F5-3048-8961-5969497C0019}" dt="2022-11-13T00:22:51.878" v="47596"/>
          <ac:spMkLst>
            <pc:docMk/>
            <pc:sldMk cId="1593947597" sldId="375"/>
            <ac:spMk id="707" creationId="{3F392B11-820C-1DCC-3F7A-6FE0EE8A950B}"/>
          </ac:spMkLst>
        </pc:spChg>
        <pc:spChg chg="add del mod">
          <ac:chgData name="Merlin Gutter" userId="2abc6f04-74af-430b-bdc8-569c3bfa1dda" providerId="ADAL" clId="{CB1EFBC3-10F5-3048-8961-5969497C0019}" dt="2022-11-13T00:23:00.126" v="47597"/>
          <ac:spMkLst>
            <pc:docMk/>
            <pc:sldMk cId="1593947597" sldId="375"/>
            <ac:spMk id="710" creationId="{58E1CA02-EA0B-E8C2-7F73-EFD2B9E2773F}"/>
          </ac:spMkLst>
        </pc:spChg>
        <pc:grpChg chg="add del mod">
          <ac:chgData name="Merlin Gutter" userId="2abc6f04-74af-430b-bdc8-569c3bfa1dda" providerId="ADAL" clId="{CB1EFBC3-10F5-3048-8961-5969497C0019}" dt="2022-11-12T22:11:25.807" v="47073" actId="165"/>
          <ac:grpSpMkLst>
            <pc:docMk/>
            <pc:sldMk cId="1593947597" sldId="375"/>
            <ac:grpSpMk id="2" creationId="{A8C54B51-DACE-5E67-0B0E-C0D343FC8476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3" creationId="{BBF5A776-6884-7448-D2F4-C10C3816FFDA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4" creationId="{14D09660-AD5C-B148-E182-F8CEE6C0656E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5" creationId="{F0BBF06C-6697-925E-A618-346A9E43B096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6" creationId="{89D0C240-03C9-F57E-78BA-A0B3D481BEFB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12" creationId="{94387FD3-E531-5010-A057-58DC048E3E54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13" creationId="{51B16BCC-B2A6-F880-1A14-F0322860A396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14" creationId="{D5872424-84AC-9C5F-FBA6-045BA12EEB6B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15" creationId="{38966F61-037B-E6D0-467B-9FD8E50ECFCC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16" creationId="{4ECF7DDA-EBD5-55D9-2201-98DEDF017B3A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17" creationId="{F3739D4A-47B7-00CE-0600-2648A4708314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18" creationId="{F5EE4837-4E81-4FE9-9E75-E9D21196CCD1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19" creationId="{77CF4F14-7A4C-4CBF-3038-0C2749A05BC0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20" creationId="{FD8754B5-89D9-FCB6-0D56-BD66E0933619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21" creationId="{74037203-FD36-2EA6-AA76-D93C8FB5EBB0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22" creationId="{B902799D-A604-F5DD-C2B9-24685E339BA9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23" creationId="{6A8CC157-C446-C845-5293-A2746E386067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24" creationId="{B1CEE414-38E0-B79F-EEC8-04BA7FA672E5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25" creationId="{7EE06F7A-D6A2-35BD-B3AD-A1F57E771690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26" creationId="{06DDACD6-05CB-F494-F15B-A7B20229480A}"/>
          </ac:grpSpMkLst>
        </pc:grpChg>
        <pc:grpChg chg="del mod topLvl">
          <ac:chgData name="Merlin Gutter" userId="2abc6f04-74af-430b-bdc8-569c3bfa1dda" providerId="ADAL" clId="{CB1EFBC3-10F5-3048-8961-5969497C0019}" dt="2022-11-12T22:11:27.408" v="47074" actId="165"/>
          <ac:grpSpMkLst>
            <pc:docMk/>
            <pc:sldMk cId="1593947597" sldId="375"/>
            <ac:grpSpMk id="27" creationId="{E1006143-43E8-B11D-B4F4-E0AFE0A8CDA7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32" creationId="{23EDDB7F-6C06-B8D0-5E89-CEDD32A95BDF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34" creationId="{CD1B6DF1-0CD7-C705-2EBF-C41F9398E228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35" creationId="{D9624C6B-836F-2784-4A02-DE6ED6FFB451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46" creationId="{6D3AFE95-9844-3593-A94C-1E3013E98118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57" creationId="{EB0E6878-5954-7779-00E7-7C53F3DA3004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68" creationId="{CE33B054-9C7B-4431-278B-CDA1257E2AF7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79" creationId="{9EBBBDAF-529B-8E0A-29AB-AB77D6BB7D5D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90" creationId="{1443F53A-228F-84FA-BFF4-3937D14A354D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101" creationId="{3569BD92-17AC-C980-152D-47C38C9D6A8B}"/>
          </ac:grpSpMkLst>
        </pc:grpChg>
        <pc:grpChg chg="add mod">
          <ac:chgData name="Merlin Gutter" userId="2abc6f04-74af-430b-bdc8-569c3bfa1dda" providerId="ADAL" clId="{CB1EFBC3-10F5-3048-8961-5969497C0019}" dt="2022-11-12T21:43:44.330" v="46797" actId="164"/>
          <ac:grpSpMkLst>
            <pc:docMk/>
            <pc:sldMk cId="1593947597" sldId="375"/>
            <ac:grpSpMk id="112" creationId="{634655E7-A48C-334A-3B8E-F31E4CD8EFA2}"/>
          </ac:grpSpMkLst>
        </pc:grpChg>
        <pc:grpChg chg="add del mod">
          <ac:chgData name="Merlin Gutter" userId="2abc6f04-74af-430b-bdc8-569c3bfa1dda" providerId="ADAL" clId="{CB1EFBC3-10F5-3048-8961-5969497C0019}" dt="2022-11-12T21:44:42.710" v="46806" actId="478"/>
          <ac:grpSpMkLst>
            <pc:docMk/>
            <pc:sldMk cId="1593947597" sldId="375"/>
            <ac:grpSpMk id="123" creationId="{C4089AE4-D11B-6C75-A0C8-9E885AEAE641}"/>
          </ac:grpSpMkLst>
        </pc:grpChg>
        <pc:grpChg chg="add del mod">
          <ac:chgData name="Merlin Gutter" userId="2abc6f04-74af-430b-bdc8-569c3bfa1dda" providerId="ADAL" clId="{CB1EFBC3-10F5-3048-8961-5969497C0019}" dt="2022-11-12T21:44:48.776" v="46808" actId="165"/>
          <ac:grpSpMkLst>
            <pc:docMk/>
            <pc:sldMk cId="1593947597" sldId="375"/>
            <ac:grpSpMk id="124" creationId="{D86FE23A-E35D-86A7-03DB-2CD64B08C1F1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25" creationId="{C5A3D2AF-4AE1-EA6E-1297-72371B1044FB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26" creationId="{7A95976A-CEE7-2C80-1D91-905FCBB5339F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27" creationId="{CCC4C190-D1E2-4ED9-6F35-ECED9691A34D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28" creationId="{A9B87848-A972-4E62-48F0-DE761ED961DF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29" creationId="{D6F98F90-344D-D889-1B0C-F2DBBCB6BB26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30" creationId="{A49AC52A-617F-7A02-1E27-26CC07DAD763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31" creationId="{33EDDD95-0B2C-0AE9-865F-485235710422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32" creationId="{8BDDE104-A0BB-BC5C-BD2B-B37BD86EAF48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33" creationId="{10278380-57D3-BBDF-06EA-82A67F316BCF}"/>
          </ac:grpSpMkLst>
        </pc:grpChg>
        <pc:grpChg chg="del mod topLvl">
          <ac:chgData name="Merlin Gutter" userId="2abc6f04-74af-430b-bdc8-569c3bfa1dda" providerId="ADAL" clId="{CB1EFBC3-10F5-3048-8961-5969497C0019}" dt="2022-11-12T21:44:50.434" v="46809" actId="165"/>
          <ac:grpSpMkLst>
            <pc:docMk/>
            <pc:sldMk cId="1593947597" sldId="375"/>
            <ac:grpSpMk id="134" creationId="{CD6F9108-2094-B27D-2855-EF8E21507DF9}"/>
          </ac:grpSpMkLst>
        </pc:grpChg>
        <pc:grpChg chg="add mod">
          <ac:chgData name="Merlin Gutter" userId="2abc6f04-74af-430b-bdc8-569c3bfa1dda" providerId="ADAL" clId="{CB1EFBC3-10F5-3048-8961-5969497C0019}" dt="2022-11-12T21:51:44.529" v="46872" actId="164"/>
          <ac:grpSpMkLst>
            <pc:docMk/>
            <pc:sldMk cId="1593947597" sldId="375"/>
            <ac:grpSpMk id="235" creationId="{4379F739-D3E9-700D-2AE9-27396DE5F224}"/>
          </ac:grpSpMkLst>
        </pc:grpChg>
        <pc:grpChg chg="add mod">
          <ac:chgData name="Merlin Gutter" userId="2abc6f04-74af-430b-bdc8-569c3bfa1dda" providerId="ADAL" clId="{CB1EFBC3-10F5-3048-8961-5969497C0019}" dt="2022-11-12T21:51:44.529" v="46872" actId="164"/>
          <ac:grpSpMkLst>
            <pc:docMk/>
            <pc:sldMk cId="1593947597" sldId="375"/>
            <ac:grpSpMk id="236" creationId="{3D22C9B6-175B-6721-6061-BA2FA308286C}"/>
          </ac:grpSpMkLst>
        </pc:grpChg>
        <pc:grpChg chg="add del mod">
          <ac:chgData name="Merlin Gutter" userId="2abc6f04-74af-430b-bdc8-569c3bfa1dda" providerId="ADAL" clId="{CB1EFBC3-10F5-3048-8961-5969497C0019}" dt="2022-11-12T22:11:14.482" v="47070" actId="478"/>
          <ac:grpSpMkLst>
            <pc:docMk/>
            <pc:sldMk cId="1593947597" sldId="375"/>
            <ac:grpSpMk id="237" creationId="{CFBFAE39-EF0C-A227-6C4B-5EA1AE725E44}"/>
          </ac:grpSpMkLst>
        </pc:grpChg>
        <pc:grpChg chg="add del mod">
          <ac:chgData name="Merlin Gutter" userId="2abc6f04-74af-430b-bdc8-569c3bfa1dda" providerId="ADAL" clId="{CB1EFBC3-10F5-3048-8961-5969497C0019}" dt="2022-11-12T21:52:34.940" v="46876" actId="165"/>
          <ac:grpSpMkLst>
            <pc:docMk/>
            <pc:sldMk cId="1593947597" sldId="375"/>
            <ac:grpSpMk id="238" creationId="{3B48BB38-80DC-8CC9-6CBC-F7471F20B042}"/>
          </ac:grpSpMkLst>
        </pc:grpChg>
        <pc:grpChg chg="del mod topLvl">
          <ac:chgData name="Merlin Gutter" userId="2abc6f04-74af-430b-bdc8-569c3bfa1dda" providerId="ADAL" clId="{CB1EFBC3-10F5-3048-8961-5969497C0019}" dt="2022-11-12T21:52:47.099" v="46878" actId="165"/>
          <ac:grpSpMkLst>
            <pc:docMk/>
            <pc:sldMk cId="1593947597" sldId="375"/>
            <ac:grpSpMk id="239" creationId="{B5D6DB3C-371D-4BD7-2C92-593109B7B2A7}"/>
          </ac:grpSpMkLst>
        </pc:grpChg>
        <pc:grpChg chg="del mod topLvl">
          <ac:chgData name="Merlin Gutter" userId="2abc6f04-74af-430b-bdc8-569c3bfa1dda" providerId="ADAL" clId="{CB1EFBC3-10F5-3048-8961-5969497C0019}" dt="2022-11-12T22:11:14.482" v="47070" actId="478"/>
          <ac:grpSpMkLst>
            <pc:docMk/>
            <pc:sldMk cId="1593947597" sldId="375"/>
            <ac:grpSpMk id="240" creationId="{8872AF6C-C95F-C27D-0B34-F03DBB4D4ADC}"/>
          </ac:grpSpMkLst>
        </pc:grpChg>
        <pc:grpChg chg="add del mod">
          <ac:chgData name="Merlin Gutter" userId="2abc6f04-74af-430b-bdc8-569c3bfa1dda" providerId="ADAL" clId="{CB1EFBC3-10F5-3048-8961-5969497C0019}" dt="2022-11-12T22:11:14.482" v="47070" actId="478"/>
          <ac:grpSpMkLst>
            <pc:docMk/>
            <pc:sldMk cId="1593947597" sldId="375"/>
            <ac:grpSpMk id="341" creationId="{64CDB438-9CC8-7D28-C06F-21994BB74DE1}"/>
          </ac:grpSpMkLst>
        </pc:grpChg>
        <pc:grpChg chg="add del mod">
          <ac:chgData name="Merlin Gutter" userId="2abc6f04-74af-430b-bdc8-569c3bfa1dda" providerId="ADAL" clId="{CB1EFBC3-10F5-3048-8961-5969497C0019}" dt="2022-11-12T22:11:14.482" v="47070" actId="478"/>
          <ac:grpSpMkLst>
            <pc:docMk/>
            <pc:sldMk cId="1593947597" sldId="375"/>
            <ac:grpSpMk id="342" creationId="{42DF6284-B273-5764-4D94-95F5DC7BD513}"/>
          </ac:grpSpMkLst>
        </pc:grpChg>
        <pc:grpChg chg="add del mod">
          <ac:chgData name="Merlin Gutter" userId="2abc6f04-74af-430b-bdc8-569c3bfa1dda" providerId="ADAL" clId="{CB1EFBC3-10F5-3048-8961-5969497C0019}" dt="2022-11-12T22:11:14.482" v="47070" actId="478"/>
          <ac:grpSpMkLst>
            <pc:docMk/>
            <pc:sldMk cId="1593947597" sldId="375"/>
            <ac:grpSpMk id="353" creationId="{3C8C0758-83B1-FC92-7F3C-A8FBA02D1645}"/>
          </ac:grpSpMkLst>
        </pc:grpChg>
        <pc:grpChg chg="add del mod">
          <ac:chgData name="Merlin Gutter" userId="2abc6f04-74af-430b-bdc8-569c3bfa1dda" providerId="ADAL" clId="{CB1EFBC3-10F5-3048-8961-5969497C0019}" dt="2022-11-12T22:11:14.482" v="47070" actId="478"/>
          <ac:grpSpMkLst>
            <pc:docMk/>
            <pc:sldMk cId="1593947597" sldId="375"/>
            <ac:grpSpMk id="364" creationId="{0EF520B3-76F5-F348-3872-5BE990D895AF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375" creationId="{58E29E97-5B92-287D-E89F-040104BE15E2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386" creationId="{25C360B4-19C8-B800-B2BF-3E761C5B3439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397" creationId="{5D41F6F9-3A1F-B106-FF47-81D7413B0246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408" creationId="{AD23C83C-8B73-B9CA-8DBD-8C1359AAADDE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419" creationId="{A8D75F96-6A2F-2500-F5CE-92CAC68CE982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430" creationId="{2F0B9EA8-A168-FE50-F322-A31FD7611BE7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441" creationId="{FB7BDEE4-BE6F-570A-442B-28D9257565D0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452" creationId="{4CDBFD60-8CCE-69EB-0DC5-ECC64390F9EB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463" creationId="{C3884731-0309-F0A7-B874-54350A5196A1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474" creationId="{DBF284FB-B43D-865C-2A89-7412467033EF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485" creationId="{5CBC576C-A57B-0919-E34C-36A297EB118F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496" creationId="{A983203A-FCBA-BED3-BC83-07D0B8E25E6F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507" creationId="{D1FE753A-7F7C-AA0C-B27A-83B5515A6B48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518" creationId="{3F28D389-01D2-908D-984B-6007C2C9D6E2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529" creationId="{17DA49BD-C4E6-4C29-147F-647093188A24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540" creationId="{F23999BC-D960-3C89-FD2A-6FE8E3499431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551" creationId="{B5D06039-E659-C31D-E4A4-DA8A19B10A4F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562" creationId="{393C91EF-79B0-98EA-1BE4-9B3D1F8D4B0A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573" creationId="{A555DFD9-13F1-E34E-FDC0-3EE677716118}"/>
          </ac:grpSpMkLst>
        </pc:grpChg>
        <pc:grpChg chg="add del mod topLvl">
          <ac:chgData name="Merlin Gutter" userId="2abc6f04-74af-430b-bdc8-569c3bfa1dda" providerId="ADAL" clId="{CB1EFBC3-10F5-3048-8961-5969497C0019}" dt="2022-11-12T21:59:24.214" v="47019" actId="165"/>
          <ac:grpSpMkLst>
            <pc:docMk/>
            <pc:sldMk cId="1593947597" sldId="375"/>
            <ac:grpSpMk id="584" creationId="{1B1A70DF-041C-ACD4-8991-52D3BBB70EDC}"/>
          </ac:grpSpMkLst>
        </pc:grpChg>
        <pc:grpChg chg="add del mod">
          <ac:chgData name="Merlin Gutter" userId="2abc6f04-74af-430b-bdc8-569c3bfa1dda" providerId="ADAL" clId="{CB1EFBC3-10F5-3048-8961-5969497C0019}" dt="2022-11-12T21:59:23.629" v="47018" actId="165"/>
          <ac:grpSpMkLst>
            <pc:docMk/>
            <pc:sldMk cId="1593947597" sldId="375"/>
            <ac:grpSpMk id="595" creationId="{3C27532F-AAEC-FFB7-B220-128F2ADD2452}"/>
          </ac:grpSpMkLst>
        </pc:grpChg>
        <pc:grpChg chg="add del mod">
          <ac:chgData name="Merlin Gutter" userId="2abc6f04-74af-430b-bdc8-569c3bfa1dda" providerId="ADAL" clId="{CB1EFBC3-10F5-3048-8961-5969497C0019}" dt="2022-11-12T22:02:21.623" v="47069" actId="165"/>
          <ac:grpSpMkLst>
            <pc:docMk/>
            <pc:sldMk cId="1593947597" sldId="375"/>
            <ac:grpSpMk id="596" creationId="{18053DE4-7858-4567-DEF3-18D1859FE135}"/>
          </ac:grpSpMkLst>
        </pc:grpChg>
        <pc:grpChg chg="add del mod">
          <ac:chgData name="Merlin Gutter" userId="2abc6f04-74af-430b-bdc8-569c3bfa1dda" providerId="ADAL" clId="{CB1EFBC3-10F5-3048-8961-5969497C0019}" dt="2022-11-12T22:02:21.623" v="47069" actId="165"/>
          <ac:grpSpMkLst>
            <pc:docMk/>
            <pc:sldMk cId="1593947597" sldId="375"/>
            <ac:grpSpMk id="597" creationId="{9F2BCD8D-7387-A2ED-033C-FD5FF1C5D242}"/>
          </ac:grpSpMkLst>
        </pc:grpChg>
        <pc:grpChg chg="add del mod">
          <ac:chgData name="Merlin Gutter" userId="2abc6f04-74af-430b-bdc8-569c3bfa1dda" providerId="ADAL" clId="{CB1EFBC3-10F5-3048-8961-5969497C0019}" dt="2022-11-12T22:02:21.623" v="47069" actId="165"/>
          <ac:grpSpMkLst>
            <pc:docMk/>
            <pc:sldMk cId="1593947597" sldId="375"/>
            <ac:grpSpMk id="598" creationId="{D994B27D-7514-0AC3-0970-D308A44EDB01}"/>
          </ac:grpSpMkLst>
        </pc:grpChg>
        <pc:grpChg chg="add del mod">
          <ac:chgData name="Merlin Gutter" userId="2abc6f04-74af-430b-bdc8-569c3bfa1dda" providerId="ADAL" clId="{CB1EFBC3-10F5-3048-8961-5969497C0019}" dt="2022-11-12T22:02:21.623" v="47069" actId="165"/>
          <ac:grpSpMkLst>
            <pc:docMk/>
            <pc:sldMk cId="1593947597" sldId="375"/>
            <ac:grpSpMk id="599" creationId="{8F51DB8E-9ADC-D8E7-AAA0-A385B5B123A5}"/>
          </ac:grpSpMkLst>
        </pc:grpChg>
        <pc:grpChg chg="add del mod">
          <ac:chgData name="Merlin Gutter" userId="2abc6f04-74af-430b-bdc8-569c3bfa1dda" providerId="ADAL" clId="{CB1EFBC3-10F5-3048-8961-5969497C0019}" dt="2022-11-12T22:02:21.623" v="47069" actId="165"/>
          <ac:grpSpMkLst>
            <pc:docMk/>
            <pc:sldMk cId="1593947597" sldId="375"/>
            <ac:grpSpMk id="600" creationId="{2AA410A2-BB87-AF8F-B780-34F7DBEE2F94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690" creationId="{4CE0E866-D384-97C7-CD9A-6ED5EDB5FF13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691" creationId="{265B8018-F4AC-A35E-1F36-56FFEEF0808B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692" creationId="{0076F960-02D4-3E19-1B9D-93E9F634F684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693" creationId="{B3195A10-226D-B349-2AD8-3C05DC6F8383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694" creationId="{51264FA3-41C7-BF03-5DF3-7DF1B06086DB}"/>
          </ac:grpSpMkLst>
        </pc:grpChg>
        <pc:grpChg chg="add del mod">
          <ac:chgData name="Merlin Gutter" userId="2abc6f04-74af-430b-bdc8-569c3bfa1dda" providerId="ADAL" clId="{CB1EFBC3-10F5-3048-8961-5969497C0019}" dt="2022-11-12T22:15:32.260" v="47358" actId="165"/>
          <ac:grpSpMkLst>
            <pc:docMk/>
            <pc:sldMk cId="1593947597" sldId="375"/>
            <ac:grpSpMk id="695" creationId="{C07429A9-3E03-FC1F-0EB4-250B16E75301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696" creationId="{6095F46D-B1B4-D363-19F6-9CA32D352B87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697" creationId="{B42C17EB-28DA-5770-3391-52FFBA853A32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698" creationId="{DBDA74E5-7184-3E76-7600-DFAD1A1B7BBD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700" creationId="{E34226FC-34B6-5E53-C1B7-5857568045B5}"/>
          </ac:grpSpMkLst>
        </pc:grpChg>
        <pc:grpChg chg="add del mod">
          <ac:chgData name="Merlin Gutter" userId="2abc6f04-74af-430b-bdc8-569c3bfa1dda" providerId="ADAL" clId="{CB1EFBC3-10F5-3048-8961-5969497C0019}" dt="2022-11-12T22:17:26.156" v="47479" actId="165"/>
          <ac:grpSpMkLst>
            <pc:docMk/>
            <pc:sldMk cId="1593947597" sldId="375"/>
            <ac:grpSpMk id="701" creationId="{87379F64-2946-F10E-9D17-F8770CC5384E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702" creationId="{4A33C905-F4E5-45DE-19E2-10A63CA7506F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703" creationId="{5C31D5D3-7B54-A4C9-D9A0-DC3202D423DA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704" creationId="{3D07BC56-5907-C1B5-28FA-458C329E36F9}"/>
          </ac:grpSpMkLst>
        </pc:grpChg>
        <pc:grpChg chg="add del mod">
          <ac:chgData name="Merlin Gutter" userId="2abc6f04-74af-430b-bdc8-569c3bfa1dda" providerId="ADAL" clId="{CB1EFBC3-10F5-3048-8961-5969497C0019}" dt="2022-11-12T22:17:51.964" v="47514" actId="165"/>
          <ac:grpSpMkLst>
            <pc:docMk/>
            <pc:sldMk cId="1593947597" sldId="375"/>
            <ac:grpSpMk id="705" creationId="{BF142699-11B5-57D7-CD08-50851C8EF845}"/>
          </ac:grpSpMkLst>
        </pc:grpChg>
        <pc:grpChg chg="add del mod">
          <ac:chgData name="Merlin Gutter" userId="2abc6f04-74af-430b-bdc8-569c3bfa1dda" providerId="ADAL" clId="{CB1EFBC3-10F5-3048-8961-5969497C0019}" dt="2022-11-13T00:22:00.343" v="47581" actId="165"/>
          <ac:grpSpMkLst>
            <pc:docMk/>
            <pc:sldMk cId="1593947597" sldId="375"/>
            <ac:grpSpMk id="706" creationId="{3447C51C-0DD2-637C-613D-C931B1F3FA8B}"/>
          </ac:grpSpMkLst>
        </pc:grpChg>
        <pc:grpChg chg="add mod">
          <ac:chgData name="Merlin Gutter" userId="2abc6f04-74af-430b-bdc8-569c3bfa1dda" providerId="ADAL" clId="{CB1EFBC3-10F5-3048-8961-5969497C0019}" dt="2022-11-13T00:24:42.277" v="47608" actId="14100"/>
          <ac:grpSpMkLst>
            <pc:docMk/>
            <pc:sldMk cId="1593947597" sldId="375"/>
            <ac:grpSpMk id="715" creationId="{7E853DC6-2D35-F914-F561-6B04CDEBAC5C}"/>
          </ac:grpSpMkLst>
        </pc:grp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12" creationId="{EE463903-D319-CDE8-D17E-D5B906B47484}"/>
          </ac:picMkLst>
        </pc:pic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13" creationId="{2D288A0E-6C9C-B28A-4D93-08BD22D5CDB5}"/>
          </ac:picMkLst>
        </pc:pic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14" creationId="{CC435083-FB2C-C7DB-79BD-2E06D66786F2}"/>
          </ac:picMkLst>
        </pc:pic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15" creationId="{FB585B4F-2378-9D82-4936-FC5DEA681C82}"/>
          </ac:picMkLst>
        </pc:pic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16" creationId="{A772B52C-9FB6-B437-57BB-83D4A7B1B21A}"/>
          </ac:picMkLst>
        </pc:pic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17" creationId="{51AF066D-6AFA-F3A9-057B-C2ACC70380AF}"/>
          </ac:picMkLst>
        </pc:pic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18" creationId="{DF468627-0746-A345-E3AF-C8EE29362B2D}"/>
          </ac:picMkLst>
        </pc:pic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19" creationId="{C0A3CA5A-F3F7-51DF-60ED-DC1A3ACD0D24}"/>
          </ac:picMkLst>
        </pc:pic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20" creationId="{B4882DB1-4F49-B5B1-8710-7696629EFF6F}"/>
          </ac:picMkLst>
        </pc:picChg>
        <pc:picChg chg="add mod">
          <ac:chgData name="Merlin Gutter" userId="2abc6f04-74af-430b-bdc8-569c3bfa1dda" providerId="ADAL" clId="{CB1EFBC3-10F5-3048-8961-5969497C0019}" dt="2022-11-12T21:43:04.613" v="46785" actId="164"/>
          <ac:picMkLst>
            <pc:docMk/>
            <pc:sldMk cId="1593947597" sldId="375"/>
            <ac:picMk id="21" creationId="{2AF1C4CA-DA9A-D98B-DF13-D4BD08E555E1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22" creationId="{5FAFB7C6-082F-D120-DD88-D5D58E003EC5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23" creationId="{4FCF9FF2-2ECC-07E7-5E78-107C1D354F0C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24" creationId="{D955D2A0-4BAC-E9E7-BEEB-CE8274F26E5A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25" creationId="{F22C60AC-BEF9-3917-273E-CA46DDF65D14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26" creationId="{F2810349-17AC-E0DE-B21C-79CFAA5DF1F4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27" creationId="{317F5EC8-9FED-1BCE-3FF3-38894B687EA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28" creationId="{BA178AE4-784C-C4EB-CB14-4019BE29862C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28" creationId="{F08CA68D-D73F-DDEE-4130-6B9991A591C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29" creationId="{4B8F1E96-E41C-E986-0393-1CB109AA01AF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29" creationId="{9590852C-BD66-C621-0A8A-0223D4B59EE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" creationId="{005A92D3-7832-E693-D79F-FE973E2871DA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30" creationId="{FDA882F2-08BE-DBFD-25CD-4BE9E894898A}"/>
          </ac:picMkLst>
        </pc:picChg>
        <pc:picChg chg="add mod">
          <ac:chgData name="Merlin Gutter" userId="2abc6f04-74af-430b-bdc8-569c3bfa1dda" providerId="ADAL" clId="{CB1EFBC3-10F5-3048-8961-5969497C0019}" dt="2022-11-12T21:43:10.807" v="46787"/>
          <ac:picMkLst>
            <pc:docMk/>
            <pc:sldMk cId="1593947597" sldId="375"/>
            <ac:picMk id="31" creationId="{6B581B66-9875-3830-DF73-1B3F50CB7A2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" creationId="{A1D042ED-E925-6D8B-F397-B6098BD4A37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2" creationId="{F8EF7DF6-5989-8EBD-0A63-00D65459526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" creationId="{78DE9FB4-235C-DCAF-C17B-956FEA26F7B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4" creationId="{6E0A4A06-70EA-2D6E-6840-DEAD6130F73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5" creationId="{0F0DE47E-09F8-8264-5D82-7CBCA05CA39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6" creationId="{8317F5B5-7A66-071F-0252-27E2C951CD16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36" creationId="{CD8F5648-3330-36A2-4F79-6D110831E385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37" creationId="{8880DABE-C337-4568-46E0-EAA53DC8A89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7" creationId="{F9C230F5-B7BA-20F6-1367-17F40D9BBAD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8" creationId="{06A8A035-B04C-7C81-2D42-2BC3F5351DD5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38" creationId="{83640FE8-3849-58F5-C7C8-25578206F1A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9" creationId="{3CB15E89-6E40-387B-4509-AEA1CAB85F5F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39" creationId="{E13CC489-9F53-A963-6987-9DC8434C883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0" creationId="{293729B9-2A76-17C1-BE97-C9BB3FA07047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40" creationId="{B57C74CF-3F15-1B78-F8CC-2AC8FD38792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1" creationId="{4414850B-DF59-207F-4FA2-6CD372794EC2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41" creationId="{C169976B-142F-80D8-C557-1360706C9A42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42" creationId="{286A4742-5CFB-C6A7-373A-158DFFA5832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2" creationId="{F7A3AA6C-0EE7-8EA4-51A8-5ED7F1ED2E6C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43" creationId="{385B2D53-F19C-990C-4903-7ACD77DF84E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3" creationId="{F8BB4ECA-1753-7968-9823-981494F97221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44" creationId="{B5CFEE52-43C0-C91E-8485-7D98A82038C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4" creationId="{E27DC372-6B41-B2BB-2690-6FF9D72441BA}"/>
          </ac:picMkLst>
        </pc:picChg>
        <pc:picChg chg="mod">
          <ac:chgData name="Merlin Gutter" userId="2abc6f04-74af-430b-bdc8-569c3bfa1dda" providerId="ADAL" clId="{CB1EFBC3-10F5-3048-8961-5969497C0019}" dt="2022-11-12T21:43:14.042" v="46788"/>
          <ac:picMkLst>
            <pc:docMk/>
            <pc:sldMk cId="1593947597" sldId="375"/>
            <ac:picMk id="45" creationId="{3A0611B0-C98E-2318-ACFC-E871EB07C1B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5" creationId="{F89357B5-76BC-C3F5-C67A-787A70C314A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6" creationId="{47A5AC42-E162-B348-528A-5CDF664A7ED4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47" creationId="{63F00504-3813-EAEF-43C2-E955915F8A0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7" creationId="{E0345C00-64EF-93BE-D385-EE764C0584E6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48" creationId="{7114728B-9717-5794-0BAC-90EA7EA0D82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8" creationId="{C34DD0EB-8C9D-39AE-52FB-3CDB3E8F9E81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49" creationId="{23571BBA-251C-81E2-369C-5007FFBCF42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9" creationId="{E82F7A62-E93A-EBF6-52BD-6143FCFFAFF9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0" creationId="{0C72D4CC-9E7A-6B85-621A-8EACFCA75DBF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50" creationId="{165B910D-2772-3639-C14B-71B44B4F500C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51" creationId="{0394793C-5647-E033-87AD-F3C91E33AA2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1" creationId="{0CE3AF8C-2B04-E63A-B5DD-D542163C5AE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2" creationId="{81038A0D-5DA6-5498-4E47-B87C7A3D0CD5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52" creationId="{B47E157F-840F-C01F-566C-3528B84AD498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53" creationId="{A6E6BD68-B1AF-89E1-2BA6-AD9904D42359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3" creationId="{EBD26F6C-5D2B-7CF3-1A53-65823CFE636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4" creationId="{E82350FC-12D4-6AF4-5653-B53FE0370A45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54" creationId="{ECE65531-3C1C-9BA7-7F2D-24F34E2DACD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5" creationId="{33ADAEA4-8499-E839-ED11-F714B6D90283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55" creationId="{B29F5B8B-6773-0BBB-85EA-FCD9D863DD43}"/>
          </ac:picMkLst>
        </pc:picChg>
        <pc:picChg chg="mod">
          <ac:chgData name="Merlin Gutter" userId="2abc6f04-74af-430b-bdc8-569c3bfa1dda" providerId="ADAL" clId="{CB1EFBC3-10F5-3048-8961-5969497C0019}" dt="2022-11-12T21:43:19.719" v="46790"/>
          <ac:picMkLst>
            <pc:docMk/>
            <pc:sldMk cId="1593947597" sldId="375"/>
            <ac:picMk id="56" creationId="{439B479C-E7F5-627D-48A1-ACAA4172E4B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6" creationId="{D984DFAF-6E85-8971-CB78-62133BEF4EF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7" creationId="{3253384F-6A6D-AEDB-D031-13207AC1244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8" creationId="{02D50B2D-2CDF-48F1-BC2D-C28CBC6265FF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58" creationId="{1A26A96C-8F4D-13BD-3448-133A0904E4AC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59" creationId="{2B313771-C11E-266E-B729-58F06D9FD346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9" creationId="{A3AEF093-2C99-E184-DBA2-43BE399D7BA1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60" creationId="{50BD00DE-5EE5-5AA5-86F2-6B5B4B671C69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" creationId="{5AE0B604-F0B2-9FB9-9E6D-AB0A4F7F7AEB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61" creationId="{9C2935F2-630B-A27B-CE61-62797893D97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" creationId="{D18E6297-66A7-2294-334D-64F025DE057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" creationId="{32BBF05C-E3FD-D54E-D09E-52CC20587A66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62" creationId="{DE0AF7F2-3981-13B4-DE5D-C2A6A500911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" creationId="{3F7C9EF5-A181-3A83-81E8-E745532D9504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63" creationId="{46681956-C246-4EC9-350F-3536F2717DB3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64" creationId="{5FAB3F22-F498-769B-8532-0654AC816C43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65" creationId="{2E00E861-1F05-8073-221F-4CB74B9FD850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66" creationId="{4F15F142-582F-9138-9EF1-E23E7989ADB8}"/>
          </ac:picMkLst>
        </pc:picChg>
        <pc:picChg chg="mod">
          <ac:chgData name="Merlin Gutter" userId="2abc6f04-74af-430b-bdc8-569c3bfa1dda" providerId="ADAL" clId="{CB1EFBC3-10F5-3048-8961-5969497C0019}" dt="2022-11-12T21:43:20.160" v="46791"/>
          <ac:picMkLst>
            <pc:docMk/>
            <pc:sldMk cId="1593947597" sldId="375"/>
            <ac:picMk id="67" creationId="{AA822550-59C2-6C7D-8E04-B7E7AB09564B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69" creationId="{48F438CE-B00C-C011-ED2B-264E8995C0EA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70" creationId="{FB31594D-E4AA-F17C-5B72-BE0903ABFAA8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71" creationId="{9332DB53-991F-461C-BBCB-9917F1ADD238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72" creationId="{782C62A2-5AB9-1ECF-48D9-6E9C18D1D830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73" creationId="{11689328-6B03-2903-A16C-9FFD9B31AC96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74" creationId="{F9DC7776-61D9-B7BD-9826-EA1AAB7D561C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75" creationId="{35CAF24E-8D57-1477-DD5C-877ACE0340BA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76" creationId="{326F0468-D647-DE84-1394-ABCBEA4840FF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77" creationId="{F5E1F482-5518-3EE6-13AD-41579E4E0F27}"/>
          </ac:picMkLst>
        </pc:picChg>
        <pc:picChg chg="mod">
          <ac:chgData name="Merlin Gutter" userId="2abc6f04-74af-430b-bdc8-569c3bfa1dda" providerId="ADAL" clId="{CB1EFBC3-10F5-3048-8961-5969497C0019}" dt="2022-11-12T21:43:20.694" v="46792"/>
          <ac:picMkLst>
            <pc:docMk/>
            <pc:sldMk cId="1593947597" sldId="375"/>
            <ac:picMk id="78" creationId="{E5C9B454-AA54-AB70-0D27-4796F22C6472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0" creationId="{6365522F-3305-3710-276B-20C588F395D5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1" creationId="{26A0F90D-ECE9-5320-B950-3FCDB84287A9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2" creationId="{6E984589-406A-A4E5-2019-4D8ECBDD5898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3" creationId="{47D9452C-2AA8-C998-A4D5-E1307C66ACC4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4" creationId="{3D182BB4-0533-2BDC-F07F-FEE30FB63635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5" creationId="{4CA7A1CF-CD54-ADFA-2AA7-BBDCEDDE39B1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6" creationId="{64E87287-B7F4-730E-BACF-6249D3D80FDC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7" creationId="{E797CAB2-D434-9D04-DB75-4A9A992F3DAB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8" creationId="{7891DAF1-DD64-0DBA-09D3-7B378C32D51E}"/>
          </ac:picMkLst>
        </pc:picChg>
        <pc:picChg chg="mod">
          <ac:chgData name="Merlin Gutter" userId="2abc6f04-74af-430b-bdc8-569c3bfa1dda" providerId="ADAL" clId="{CB1EFBC3-10F5-3048-8961-5969497C0019}" dt="2022-11-12T21:43:21.169" v="46793"/>
          <ac:picMkLst>
            <pc:docMk/>
            <pc:sldMk cId="1593947597" sldId="375"/>
            <ac:picMk id="89" creationId="{15480E2C-E26D-155B-7B45-793D85A0BFE1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91" creationId="{C1D24919-238A-3CB3-221A-B62D41B401CE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92" creationId="{C315CFCA-B24C-DB24-5705-46DC0B32EC4F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93" creationId="{36627904-258C-704A-088A-B44C3986D182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94" creationId="{2F74D28E-556E-3654-318C-537E55B00E36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95" creationId="{A81B8322-7BA6-74F2-5390-510A9AD4FC21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96" creationId="{DE1A438E-1EE6-6E19-284D-B25F829B7C1F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97" creationId="{213CF266-8B53-24C5-27FA-262E52CEE263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98" creationId="{662CC1BE-5084-8B53-5302-91CAE2555AA6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99" creationId="{CD63CB6D-55D0-D9C5-B57C-EA509645B831}"/>
          </ac:picMkLst>
        </pc:picChg>
        <pc:picChg chg="mod">
          <ac:chgData name="Merlin Gutter" userId="2abc6f04-74af-430b-bdc8-569c3bfa1dda" providerId="ADAL" clId="{CB1EFBC3-10F5-3048-8961-5969497C0019}" dt="2022-11-12T21:43:21.746" v="46794"/>
          <ac:picMkLst>
            <pc:docMk/>
            <pc:sldMk cId="1593947597" sldId="375"/>
            <ac:picMk id="100" creationId="{F296DA65-6547-DEBB-5D5D-502D52C73150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02" creationId="{F3F84054-8FA1-4769-97BF-5B59CEF9D442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03" creationId="{67AFBAFE-78D5-426D-3233-4F2F2E317B2B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04" creationId="{ED470362-D4BB-831C-8BBE-CE3BB6AA7F4B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05" creationId="{34C0B313-2854-C0D6-113A-0A1FD296F9FB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06" creationId="{4D3EAAD3-8934-4685-6E6A-7A80A9C4778F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07" creationId="{431D0BB5-FEFC-88B1-5FC2-E7E2160059AB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08" creationId="{EB578BBE-B0C1-D1FC-9343-22482DE12EB4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09" creationId="{03A30B23-144C-3638-6544-2A845BB5CF68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10" creationId="{B63D92DF-1EEB-2D36-57D8-F6347ACEDB70}"/>
          </ac:picMkLst>
        </pc:picChg>
        <pc:picChg chg="mod">
          <ac:chgData name="Merlin Gutter" userId="2abc6f04-74af-430b-bdc8-569c3bfa1dda" providerId="ADAL" clId="{CB1EFBC3-10F5-3048-8961-5969497C0019}" dt="2022-11-12T21:43:22.111" v="46795"/>
          <ac:picMkLst>
            <pc:docMk/>
            <pc:sldMk cId="1593947597" sldId="375"/>
            <ac:picMk id="111" creationId="{AECA9B26-B7BB-6E4B-04B6-E356DAED4637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13" creationId="{54BE4F84-9F95-613F-300E-C13DBA0617E6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14" creationId="{153DE377-ED21-01DD-EC1F-E57B9C5710D7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15" creationId="{28CF7F6B-0A5F-F612-2C92-5FDBD01B97B1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16" creationId="{F613124C-1DDE-B6E6-9685-5B92FB8373B0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17" creationId="{BCE70D8A-7D6B-19D4-5783-A2F3E1FA8543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18" creationId="{7798B547-C50A-2024-F4AF-4F73DBA41C39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19" creationId="{94BBD117-FCA0-D170-9B83-EAD44B43C227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20" creationId="{0E585C77-2C00-D869-186C-E00A931DB265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21" creationId="{ABB04326-D02D-B718-B72F-BABEEEC91570}"/>
          </ac:picMkLst>
        </pc:picChg>
        <pc:picChg chg="mod">
          <ac:chgData name="Merlin Gutter" userId="2abc6f04-74af-430b-bdc8-569c3bfa1dda" providerId="ADAL" clId="{CB1EFBC3-10F5-3048-8961-5969497C0019}" dt="2022-11-12T21:43:22.459" v="46796"/>
          <ac:picMkLst>
            <pc:docMk/>
            <pc:sldMk cId="1593947597" sldId="375"/>
            <ac:picMk id="122" creationId="{97981C63-2253-A3DD-C54D-3FA6D61745C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128" creationId="{FA9D2F0A-B4A1-7B56-61B7-E2C9BA7EDD0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129" creationId="{3E8B498F-75B8-2450-90C9-B537C922F6B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130" creationId="{82CDC1A1-7BB3-CBEA-2B6D-20C7265E9EC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131" creationId="{036D9F85-9DFC-D1E0-806F-7600FE1223F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132" creationId="{EF3DA4B9-66D7-4396-0F38-6926FE1CE30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133" creationId="{530F88CE-9A5B-2228-B388-B5107E5DA6A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134" creationId="{D009C237-5401-1D64-9219-89ED39155BE7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35" creationId="{46E9F532-0DA0-17F9-E40B-7D9703D1BC1E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36" creationId="{B2844452-0A6D-C51A-8A0B-DFAF0EC84BA3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37" creationId="{F33924E5-6550-3778-5131-DE65E600DD60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38" creationId="{B27D1F88-4D57-B9F7-3068-2CF7D2357698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39" creationId="{4842E79E-3F55-4938-169A-C7EB4349D131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0" creationId="{D34C3B96-268F-569E-993D-C86B8C5C04E2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1" creationId="{F9ED3386-10CC-881B-75AB-37D5AE1E736C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2" creationId="{8D65153E-457D-AED2-3DC1-A0B011B5F7E5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3" creationId="{4553D218-3A44-23D0-7E2C-BD2DF6A77E55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4" creationId="{66FAA4E1-34EE-7406-F090-595829486D44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5" creationId="{99B2296D-D889-4909-01D7-75BB27740967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6" creationId="{4FDA59E9-C266-1AAF-3750-B47EFAD52BFC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7" creationId="{27FCB3AC-10FF-65E8-54FE-7AD1955F3F40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8" creationId="{21C9BCA7-7E10-9AFD-105A-0A4122B24151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49" creationId="{6331F688-4CAE-7642-7E16-04BFE7294C31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0" creationId="{53B3493F-DA29-93BE-B46D-5342D9FA27C2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1" creationId="{082383CE-1003-D12A-F154-ADDD13A40D80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2" creationId="{C2C6D702-DCA0-5680-035F-8371CD7EC5C7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3" creationId="{E35B81E8-7CD2-5EF1-503C-3E8B68650385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4" creationId="{9FA21088-3948-FB3E-E924-739B2A2B3A1B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5" creationId="{9F31EC6E-275C-1C48-DA14-BEC4A2B12F2A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6" creationId="{E7228972-A5B9-B0A2-8000-45EFC8EF5F9F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7" creationId="{D289D958-922A-71C3-A900-77C6985E90A7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8" creationId="{7ECA8468-AA1A-86D1-D720-A0E473552C20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59" creationId="{A6422B28-BEFC-F514-FF76-99FB952909ED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0" creationId="{91F88FE7-5DB5-008E-D107-A6D019CC38D6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1" creationId="{FAE67115-D46A-EE59-173E-C2941114B457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2" creationId="{85304544-16B7-F9DB-560A-99B3FEF091DD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3" creationId="{E00C95C5-BD0D-0C2B-D229-A31B73960932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4" creationId="{8FEA6AA1-E4EF-F122-C1E7-73363AFEF026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5" creationId="{FC820F29-5F78-DB29-E410-0279FEB3B9C5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6" creationId="{8E4185CB-BCCC-63DE-912C-18AB0890B195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7" creationId="{1CF3A0F1-762F-EBA4-BF71-730FF209A7C5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8" creationId="{FE82792A-97EE-5415-3881-C87F0E3636A2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69" creationId="{761FAD8D-3A9B-2279-547C-42707BBA3A2E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0" creationId="{DBC24735-78F9-2CBF-C12D-AC9AC6478971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1" creationId="{94EFB667-0EB3-0635-D4AE-935D2A2A9320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2" creationId="{FB7D9D5C-C19D-FA24-59C8-2243ACED212B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3" creationId="{4A4467D5-6979-DD5D-03C9-5482BF4F539A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4" creationId="{B66CEC0F-2832-A5E5-0E4D-1BEE3153E278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5" creationId="{89059CF5-4703-CBCB-6321-2DCEE9592924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6" creationId="{6EBC69FA-13AD-4366-F7A5-D1EE1CCAD6AC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7" creationId="{EEEFBFE5-9EEF-EBE0-CF52-231106D2E708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8" creationId="{C6A68F18-96B9-8424-9372-FB5D1E6282BC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79" creationId="{EE0E5245-AA1F-F79E-16EC-18EB56FA0CC0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80" creationId="{2B8DED03-5524-C5CE-8D85-E0480044756B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81" creationId="{0699C234-FBF3-A0F7-0458-66B14CE33C92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82" creationId="{F9F23E32-8F78-61AB-909C-FADAA7A7A6D2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83" creationId="{F3863BAF-EBDB-DE8D-3E2E-4DAAC69E2AC6}"/>
          </ac:picMkLst>
        </pc:picChg>
        <pc:picChg chg="mod topLvl">
          <ac:chgData name="Merlin Gutter" userId="2abc6f04-74af-430b-bdc8-569c3bfa1dda" providerId="ADAL" clId="{CB1EFBC3-10F5-3048-8961-5969497C0019}" dt="2022-11-12T21:46:33.236" v="46830"/>
          <ac:picMkLst>
            <pc:docMk/>
            <pc:sldMk cId="1593947597" sldId="375"/>
            <ac:picMk id="184" creationId="{BB9FD245-25A2-3B1B-6708-5BFDB568B59F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85" creationId="{B0F22595-6040-F724-37DB-7B38CD0B6C66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86" creationId="{C58E5207-9188-429C-1F3A-8DE81A5670C3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87" creationId="{8834D193-2C3F-2469-DD27-DC96BD2BAAF4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88" creationId="{A8D08E5A-8677-4BDD-42AE-C01C81C242D8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89" creationId="{0B8E5590-3296-B8C1-AF31-42C13106F725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0" creationId="{3B139467-A63A-1F08-23BB-5A5E9FDE57F9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1" creationId="{4DF692FB-8BA4-94C7-3AF8-C4E1A527DA58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2" creationId="{D9D98029-DDA2-0062-1193-2810F7DB76CC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3" creationId="{632FE5A9-3988-1A94-AACD-7C6577E6FB07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4" creationId="{E6968278-123E-04CE-55E8-141CB20F2C83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5" creationId="{1CADC38D-AC57-9D0D-F4D3-11182B3C6654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6" creationId="{EBB568B2-CAA4-E378-FD1E-25EAE54ED451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7" creationId="{34087173-57DE-D533-0CED-EACCA507262D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8" creationId="{2FB4BF58-BFDA-1612-E9A7-AB2F037EDA72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199" creationId="{0FB5B8E1-2B3D-B2BF-B486-2E6CBF664AA2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0" creationId="{67408C2B-1BF6-DA5F-5C2B-201B61C2A04A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1" creationId="{734B68CC-A498-13C4-6551-E93E3FBB1725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2" creationId="{0637DEF2-B79B-F474-8442-F70695D53166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3" creationId="{AF148113-5334-C06C-AF5E-4F821376E4D5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4" creationId="{18DEF0D7-5F57-B8D1-5790-CDF3501A2889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5" creationId="{CC7113E6-0377-0461-BCC4-643EA628AD0E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6" creationId="{F5F0E4A3-7D65-0FD6-3F91-E33F9BD118F3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7" creationId="{7307DDDD-2248-05D2-8C93-3ED954CC12E8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8" creationId="{81B6A2EF-AC42-4866-8DEB-C30E6F35858A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09" creationId="{520067E9-09D7-FCC3-9EC2-E8EEA23FC4C0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0" creationId="{3C14A1DF-E14B-982B-D086-6618CB3D1443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1" creationId="{DEE9A0E7-A8C0-3E71-BDEB-B434E3E15BC3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2" creationId="{EB24409B-C27B-7F35-0AB2-9FB317168E24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3" creationId="{5776579F-64C4-FDB5-4990-404742598751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4" creationId="{527A22EC-91F4-4A4D-7AC4-5EC939E74E30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5" creationId="{105CE24E-2810-A1A6-2B80-46AF9C530402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6" creationId="{8B5D058E-00D8-3240-5BB7-2715C06E8DCD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7" creationId="{96B06F7F-5113-936A-E5FD-E79A61996AA6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8" creationId="{CDD4442A-70E5-9B93-151D-CDCC5DBFA355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19" creationId="{6E56AC2B-F66F-DAB4-5CA4-8A7D4B720A88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0" creationId="{CFD46ADE-5FE6-7AB0-F0F2-51D727C704FB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1" creationId="{7CF4EC29-3B87-EA3F-800B-9DA4B0A69AD3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2" creationId="{DB38F0D7-D263-C211-3FDB-57AF62A02C7B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3" creationId="{9466799B-2BDA-F4A9-ED93-7FF3D72DDE03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4" creationId="{704DBE08-1B4D-5086-5108-28CFE82A221B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5" creationId="{7E2394F9-7DA1-B544-45EB-7B65E1352251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6" creationId="{A166F160-A66B-E081-A766-B55EAF9774F1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7" creationId="{F5E1B38B-9ECA-DB88-10B8-86D291E0EF7F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8" creationId="{721ACA74-B81F-9E0C-96EE-55761C3D4080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29" creationId="{38714A01-67BC-BC82-F1D5-5E95A8DF2013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30" creationId="{288A539C-9C4E-47ED-9315-CE68607AA55B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31" creationId="{8C45EE61-9EE0-0B69-F14D-B4D3823A3474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32" creationId="{91C72439-ED8D-AF3C-1E89-5B17F0671F07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33" creationId="{CC9D859A-7D44-13A2-2A14-1702098C2A30}"/>
          </ac:picMkLst>
        </pc:picChg>
        <pc:picChg chg="mod topLvl">
          <ac:chgData name="Merlin Gutter" userId="2abc6f04-74af-430b-bdc8-569c3bfa1dda" providerId="ADAL" clId="{CB1EFBC3-10F5-3048-8961-5969497C0019}" dt="2022-11-12T21:46:09.693" v="46815" actId="164"/>
          <ac:picMkLst>
            <pc:docMk/>
            <pc:sldMk cId="1593947597" sldId="375"/>
            <ac:picMk id="234" creationId="{BAF66A46-550A-3A3A-6A3B-9753DAE3CA2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238" creationId="{4A3C0A2D-B776-105A-942E-261040A6767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239" creationId="{103F0F3D-866E-9FAE-5124-67C2881D62AB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41" creationId="{F70F4797-2739-9AF2-C6F3-7A072957DF47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42" creationId="{A67F5A2E-B676-69C8-F9D8-53D20038A927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43" creationId="{A4C492E0-6E2A-6EA9-4E39-06E68393D0EC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44" creationId="{4F3A3309-C8A5-F5E5-D10D-AF5BFAF976AE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45" creationId="{A2036456-8D61-B8B7-CCC2-498F5B804FD5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46" creationId="{25A88B36-4377-1054-F74D-46FB53D7D472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47" creationId="{27137880-6CB1-7227-6437-A78C870A13DC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48" creationId="{9FDD056D-262F-471D-1DAC-18C4D1247A7A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49" creationId="{05B08D93-7248-2036-46FF-C9AE6EF86B28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0" creationId="{C685BA16-15B3-FD63-E7EA-F6267C9A0908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1" creationId="{C9CE3498-FA40-AA56-0912-05F5B4DEC4ED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2" creationId="{2E218325-1277-6B52-C200-0BDD505398D3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3" creationId="{B934C818-B524-648C-3B4A-5134A4C9E80B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4" creationId="{E857B551-A587-D3D1-3320-5FCF6DE6021E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5" creationId="{781E0741-19D8-2877-FD90-354DEA6C7317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6" creationId="{8C1F3892-6373-7C3D-46EE-2D7EF202A234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7" creationId="{3325B05D-0437-5EE7-32E1-F2508F40755D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8" creationId="{22540F01-1B3B-BC67-9D6A-A8877EA849B0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59" creationId="{CDACF6DB-5DFA-0F1F-3992-388865A3D792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0" creationId="{176643E6-394D-CB2E-50C2-B1E8A2D9C9B9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1" creationId="{A277DC99-7B1E-7E76-5C15-DF13389B49AB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2" creationId="{70D311E4-B5E0-CD1C-AF5D-8442E0607E3B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3" creationId="{42E2BE11-E6F3-B41F-C628-3A1F43F11BB8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4" creationId="{51BB3B46-D454-E284-6558-3EA2C5A7FB6F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5" creationId="{1F89C7B7-9CA4-F78A-CECE-A0029A462474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6" creationId="{7ACDCC8B-AB0D-483F-9990-D4B60BBC30FD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7" creationId="{BA041F74-DDDE-D58B-479E-11966FF099B3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8" creationId="{AB9B46E4-7B8B-A53A-AA1F-53FAE1EFDA7A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69" creationId="{871D86C9-9E92-7086-4266-63C08CCC4357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0" creationId="{B1C25302-C039-FC23-BDF0-0DBAB2BEFD53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1" creationId="{A80C7EE3-1E2A-D546-33E0-49C51A996B6F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2" creationId="{5DC837C4-AED9-F9F7-4551-CB62746181FE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3" creationId="{18CE7D4F-B90D-18A1-52C0-17254A7CA439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4" creationId="{529BD009-4913-0C2C-34DB-724357A402F8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5" creationId="{38AEC1CB-E674-489D-A8B3-12AA641EA7CE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6" creationId="{AD1764DF-FEFD-716B-80B4-81DC64A91278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7" creationId="{5DBB93BB-35A2-3A55-D466-817CA393AB38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8" creationId="{4B5E97E9-9249-808C-0432-339AAB01820E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79" creationId="{92CC933D-710E-D4FD-63B9-C1A51AAF8444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0" creationId="{57A22969-93BA-8713-DA53-01F77E1B0F86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1" creationId="{0345B665-2269-A8BA-B7EC-F45E766A438F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2" creationId="{643900DC-F7F9-5B60-898E-F883E379C278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3" creationId="{858D5F30-CE2A-2842-682A-A5AFC7345752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4" creationId="{6D7DB0ED-C081-4AF9-7635-5C8EBB39B2A0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5" creationId="{A795F7E4-32AA-2076-AD80-1126104D5574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6" creationId="{7440DBB9-BC81-292B-86F2-640D1F2557A6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7" creationId="{D0DCD78B-16BF-14DE-F6EE-4DD5428E10FE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8" creationId="{DBC79EC5-37FA-8A24-B5EA-75405C7A0AEA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89" creationId="{A80E91CA-CDB7-4B71-2CF0-77DC1F35ECC1}"/>
          </ac:picMkLst>
        </pc:picChg>
        <pc:picChg chg="mod">
          <ac:chgData name="Merlin Gutter" userId="2abc6f04-74af-430b-bdc8-569c3bfa1dda" providerId="ADAL" clId="{CB1EFBC3-10F5-3048-8961-5969497C0019}" dt="2022-11-12T21:52:34.940" v="46876" actId="165"/>
          <ac:picMkLst>
            <pc:docMk/>
            <pc:sldMk cId="1593947597" sldId="375"/>
            <ac:picMk id="290" creationId="{34F4EB65-A40D-07D9-72C4-18416332A792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291" creationId="{D1E1B1F7-BC48-1436-1182-CE08CC807210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292" creationId="{1B2E2E54-F9EF-F89D-9E8F-91F302394D93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293" creationId="{53FBBE82-E7B0-BAA0-9E85-25BEC7274437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294" creationId="{69CCD289-549F-02F0-5CAF-1EC96B969785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295" creationId="{1873D310-DF98-2BF6-6C9A-086D2B9F4EBB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296" creationId="{01172B9A-DF5C-3FC3-B9AE-323DA991C7D3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297" creationId="{26287BAD-0001-F0B4-2707-5CA585F3DEA0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298" creationId="{CA08D203-DE87-642A-6A1C-05642DBAAD30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299" creationId="{FF2F03F9-5546-83CD-3F1B-43F045FC1480}"/>
          </ac:picMkLst>
        </pc:picChg>
        <pc:picChg chg="mod topLvl">
          <ac:chgData name="Merlin Gutter" userId="2abc6f04-74af-430b-bdc8-569c3bfa1dda" providerId="ADAL" clId="{CB1EFBC3-10F5-3048-8961-5969497C0019}" dt="2022-11-12T21:53:56.762" v="46900"/>
          <ac:picMkLst>
            <pc:docMk/>
            <pc:sldMk cId="1593947597" sldId="375"/>
            <ac:picMk id="300" creationId="{27FDB78E-FD92-2886-E41D-11F551A1A54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1" creationId="{7AE1C908-806C-D8BC-01D6-7AC79E5BB0A2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01" creationId="{D878C477-8E61-730F-EFDC-CF2455EF9B9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2" creationId="{1E6D432F-1A0E-37A7-FD84-FE7B9371F4B6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02" creationId="{C4984DBF-576C-28D0-9329-0FCA99E967D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3" creationId="{24B5A2C6-785B-73A3-DD66-878C8AFD721D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03" creationId="{D566D996-2AAE-5997-0AA1-C975435A649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4" creationId="{5D2F8052-6652-6DC2-1F10-465B438947EC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04" creationId="{F41F713E-5B18-3786-C372-3307396AC34F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05" creationId="{87683CC9-B83F-D6D0-79A9-ED4B6CB1CF0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5" creationId="{A614039C-35C3-3B6D-FB56-4F13EEA4A49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6" creationId="{5EEF7A5D-E079-975D-0694-6C1DC1AC8A71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06" creationId="{EA6065FE-E9F1-43BA-6DCD-E1D44771D29A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07" creationId="{E54BF148-D900-19D3-F85F-FA1EC6621C6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7" creationId="{EC33A871-477D-C17B-D56C-78E1F88741B9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08" creationId="{B3D7F6EA-DEC5-26B9-8E15-498D2403C1B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8" creationId="{DEF9B90C-C7B0-F0EC-6C1A-A8CAC11686B5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09" creationId="{185B18CF-AD02-E8D7-61E4-3C512C82312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09" creationId="{61393C03-8AB5-91E6-8EE7-83AC17BD7C4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0" creationId="{79ED2107-AE87-B17B-4715-77A2F5B5C680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0" creationId="{A08A8FCB-3E1B-8726-6A10-FFEE0E75A5A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1" creationId="{43DD3841-C627-57A1-F276-CA7F82F5FC55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1" creationId="{50F05D20-3747-B815-F9E5-D0E0E3B0B3D1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2" creationId="{62F3DD1C-056B-5013-E84C-5A8330C9109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2" creationId="{C3EA87EB-C168-2396-3F4E-81590F2EEE7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3" creationId="{41E49787-3835-EFD5-F760-EF5493BB934E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3" creationId="{F29DFDBB-0538-E429-A706-74D0367D710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4" creationId="{9F2AAD5C-C6C9-196F-A75D-08CC166F803C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4" creationId="{CC502362-C22A-C03A-BF34-A0DC96236B16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5" creationId="{08C91636-A779-0A4E-2CA3-FA132B3F0201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5" creationId="{57477311-0592-D328-E773-6D518F7D5BFA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6" creationId="{95B3C38B-51BD-11BC-2247-F55C3C3F3C6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6" creationId="{D720C675-6F85-191F-8C51-D511692D6DA9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7" creationId="{13B3E4F2-8812-2B58-AF9F-B66FEFFA57C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7" creationId="{DA0E7EA1-F340-5310-7B25-1CB4AAAA984B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8" creationId="{92060922-A5A2-17A3-9923-06B0453308F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8" creationId="{AE0C8945-3215-9E1A-B158-2BFE0C7FEEC6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19" creationId="{DA69FBD6-AD39-894F-5FA0-9565E06B3A04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19" creationId="{F82323D5-C133-CF4E-08D4-85893DF6CA49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0" creationId="{68695400-7910-E48F-9DF6-CBC8C8B704B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20" creationId="{75BE5F07-195C-3766-E958-453F8156A725}"/>
          </ac:picMkLst>
        </pc:picChg>
        <pc:picChg chg="del mod topLvl">
          <ac:chgData name="Merlin Gutter" userId="2abc6f04-74af-430b-bdc8-569c3bfa1dda" providerId="ADAL" clId="{CB1EFBC3-10F5-3048-8961-5969497C0019}" dt="2022-11-13T00:22:05.690" v="47583" actId="478"/>
          <ac:picMkLst>
            <pc:docMk/>
            <pc:sldMk cId="1593947597" sldId="375"/>
            <ac:picMk id="321" creationId="{5DD9C40E-CDD1-51A9-B1B2-8BDDE989458D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1" creationId="{9B0E6804-1E32-88BD-687D-B7FA31DFC46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22" creationId="{70A1F4D5-8128-E37A-ABC8-6CE020C75FF8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2" creationId="{C7872AED-B56C-1D8F-0414-0D835C68CD7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23" creationId="{11B86446-FDB1-7F9C-215B-CABC29025388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3" creationId="{C8C53A3F-7127-05EF-8BD9-9BF953FF3479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4" creationId="{875E805B-BB55-18A7-568E-06F9E1024CA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24" creationId="{87F41DA9-058B-EB23-3FE6-CB01DF649F4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25" creationId="{5B8456F6-8CEC-23A2-4D20-B590397DED36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5" creationId="{68E5FBBA-3D3C-68B3-36C6-38E093C3036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26" creationId="{17976994-1E99-5216-EFA1-2371809EA98B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6" creationId="{2DCBA5AB-D6F1-1B48-E8F8-104431D99310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7" creationId="{DFC019B7-183C-FC83-297B-EC91ED16DBB8}"/>
          </ac:picMkLst>
        </pc:picChg>
        <pc:picChg chg="del mod topLvl">
          <ac:chgData name="Merlin Gutter" userId="2abc6f04-74af-430b-bdc8-569c3bfa1dda" providerId="ADAL" clId="{CB1EFBC3-10F5-3048-8961-5969497C0019}" dt="2022-11-13T00:22:05.690" v="47583" actId="478"/>
          <ac:picMkLst>
            <pc:docMk/>
            <pc:sldMk cId="1593947597" sldId="375"/>
            <ac:picMk id="327" creationId="{FBA55E17-3EE5-5CE9-1689-FF8030D0676A}"/>
          </ac:picMkLst>
        </pc:picChg>
        <pc:picChg chg="del mod topLvl">
          <ac:chgData name="Merlin Gutter" userId="2abc6f04-74af-430b-bdc8-569c3bfa1dda" providerId="ADAL" clId="{CB1EFBC3-10F5-3048-8961-5969497C0019}" dt="2022-11-13T00:22:05.690" v="47583" actId="478"/>
          <ac:picMkLst>
            <pc:docMk/>
            <pc:sldMk cId="1593947597" sldId="375"/>
            <ac:picMk id="328" creationId="{1A5805DF-4112-23B2-FCF8-66287E829C10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8" creationId="{9FE82BE4-3F58-4588-DD92-A8EE29F844A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29" creationId="{03E32B46-CD29-69F0-FBEF-8A5869F2CEF7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29" creationId="{B74D4E00-A827-4885-2D86-6F42127BF14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0" creationId="{39200C64-E041-2ABC-655F-179BDCBFF9AB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0" creationId="{F2A436DC-2FCD-EDDF-0A6C-311157DE2C22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1" creationId="{402E99CB-C375-0F55-7F16-A2B35261F3A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1" creationId="{B2A171C7-6C8D-5A07-6061-1060318D935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2" creationId="{AF8504A1-586C-A9F8-F041-8198ED49E5DE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2" creationId="{F35A9E65-C33A-407F-A45D-9C3CAD23028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3" creationId="{65823258-D46A-A6BC-C220-5B5FFB9301F3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3" creationId="{CB5E3E5A-0BD7-5AB9-016C-147545663FA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4" creationId="{0883D682-C0AA-8826-4BBB-B2FFC66C674A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4" creationId="{469D4FDB-B3DE-3E28-98F9-05AC8260D4EF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5" creationId="{48DF4DED-4BBD-6E14-72BC-234A7B8BC12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5" creationId="{7383FDA7-9421-7555-0673-5DBE49B3300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6" creationId="{23A8FA37-B4D5-8927-8F4A-AFAAC65B39BC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6" creationId="{2616C7E1-5349-0ED7-2988-6E9531F9FE59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7" creationId="{D1C65580-E199-496D-95E0-4161F12CB63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7" creationId="{E421FA60-5C6E-A01C-82FD-DAD49046F09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8" creationId="{52A80139-0C0E-5125-E711-A2906ED6964E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8" creationId="{ED4BC46F-7C4B-2978-0846-C64DEDC6547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39" creationId="{7B3BB393-BC25-53D8-B3D5-6EB7ADAA99A7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39" creationId="{CE30F577-62EF-99D2-80D8-AFC99E339769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40" creationId="{191B8E22-921D-4DDD-4491-830A3E7282AA}"/>
          </ac:picMkLst>
        </pc:picChg>
        <pc:picChg chg="del mod topLvl">
          <ac:chgData name="Merlin Gutter" userId="2abc6f04-74af-430b-bdc8-569c3bfa1dda" providerId="ADAL" clId="{CB1EFBC3-10F5-3048-8961-5969497C0019}" dt="2022-11-12T21:53:18.264" v="46881" actId="478"/>
          <ac:picMkLst>
            <pc:docMk/>
            <pc:sldMk cId="1593947597" sldId="375"/>
            <ac:picMk id="340" creationId="{59F2B194-D0A5-4153-7C3D-C758DB4B3693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43" creationId="{2ACF35F6-1242-7385-3FDC-4B20B6C43DA8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44" creationId="{22289C49-4223-144E-C1D0-234C322E454E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45" creationId="{7DB2B2F4-E515-C2CA-1EBE-356B313DA79E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46" creationId="{EE2E1217-EF0D-383F-CFF0-816FB63D69F6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47" creationId="{26BBDD11-2E8D-4D4D-A9DA-4AB5C771998E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48" creationId="{520801A8-A5D9-15E7-DC39-B62AEB8EABEC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49" creationId="{7AC13AE2-BF73-A15E-7BE6-203DDBBB857B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50" creationId="{247670F7-569E-D508-DDDA-716AB8ABF663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51" creationId="{1FE4A7C0-3B8B-E2F9-7A32-DBA1706449BF}"/>
          </ac:picMkLst>
        </pc:picChg>
        <pc:picChg chg="mod">
          <ac:chgData name="Merlin Gutter" userId="2abc6f04-74af-430b-bdc8-569c3bfa1dda" providerId="ADAL" clId="{CB1EFBC3-10F5-3048-8961-5969497C0019}" dt="2022-11-12T21:54:11.630" v="46904"/>
          <ac:picMkLst>
            <pc:docMk/>
            <pc:sldMk cId="1593947597" sldId="375"/>
            <ac:picMk id="352" creationId="{926ADF3E-4E05-0B83-81F3-2FD925CAE949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54" creationId="{A7441B92-8AED-3F8E-B66D-BF0A0D726E41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55" creationId="{1DD53A45-9EDE-2AD1-CE8F-CF6029A1C5FB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56" creationId="{3C776822-EFE0-958E-BBD8-034B1107CB10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57" creationId="{25ABDECF-9F7B-FF6E-092C-6A724CDFEA65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58" creationId="{936DF5E9-5DCF-7473-057A-EEDF029208F8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59" creationId="{0D6F62CB-B9C3-D011-B16A-51585B987064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60" creationId="{B76F1B0A-A374-BF32-474E-733F8D4B3EED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61" creationId="{438B8C0A-ECA8-037A-004D-AE5AE6B8B58E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62" creationId="{BC2DD578-9A80-E7CE-DCA1-B65D9AA80911}"/>
          </ac:picMkLst>
        </pc:picChg>
        <pc:picChg chg="mod">
          <ac:chgData name="Merlin Gutter" userId="2abc6f04-74af-430b-bdc8-569c3bfa1dda" providerId="ADAL" clId="{CB1EFBC3-10F5-3048-8961-5969497C0019}" dt="2022-11-12T21:54:22.319" v="46908"/>
          <ac:picMkLst>
            <pc:docMk/>
            <pc:sldMk cId="1593947597" sldId="375"/>
            <ac:picMk id="363" creationId="{A7FFCD5A-C127-4293-B8ED-8F2E1ADBF94F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65" creationId="{D5F0507C-F286-5BAC-442F-FC4DC1F8EDB8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66" creationId="{B2E4D7D6-1763-0F1B-9804-6A70CF5411C1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67" creationId="{B081B60A-191D-0C44-56F6-35B0D86CB696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68" creationId="{95085B63-CA0C-2E05-4AAF-68F4A431A615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69" creationId="{8F00C2CF-9049-34D4-E31E-86A67C24BCD5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70" creationId="{53E50C4B-11E3-D922-ADED-C06B1FCC8629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71" creationId="{9E022DAC-2060-1B32-F851-B29CF484ADB3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72" creationId="{EADEB03C-2CBB-D23B-A979-CFCDBD778D2A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73" creationId="{6380CCAC-2E05-582D-7637-AD7BEE2B4A29}"/>
          </ac:picMkLst>
        </pc:picChg>
        <pc:picChg chg="mod">
          <ac:chgData name="Merlin Gutter" userId="2abc6f04-74af-430b-bdc8-569c3bfa1dda" providerId="ADAL" clId="{CB1EFBC3-10F5-3048-8961-5969497C0019}" dt="2022-11-12T21:53:35" v="46888"/>
          <ac:picMkLst>
            <pc:docMk/>
            <pc:sldMk cId="1593947597" sldId="375"/>
            <ac:picMk id="374" creationId="{E3CF75B4-FA1A-FEC5-62C7-0D30E8E691F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75" creationId="{961FDD36-FB5B-709E-0249-03B459AD7A6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76" creationId="{B8F79887-3C7A-4E15-0793-4A1B5E9AF79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77" creationId="{9E235766-E5FF-E1CF-234A-278DE1714CF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78" creationId="{2DF616E9-8CBA-531C-C1C2-D931EDBBEFF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79" creationId="{710C4122-6318-8141-A996-53B1158DF0B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80" creationId="{E5CFD5BB-EDA1-405B-0FFF-22DE61B74EB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81" creationId="{1E883DC5-835F-EC7F-B63E-97E20C9F55D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82" creationId="{AC345BF4-958F-DA2C-2327-08D0BF1768BD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83" creationId="{13CA8E47-FC58-036A-529D-1A9875D52AD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84" creationId="{45CAAEDD-055F-9360-024E-677452963E8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85" creationId="{33917309-4E83-D912-92AD-C04FECF7109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86" creationId="{064AA405-B633-1E5E-A325-B84769CBE86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87" creationId="{06E38F2C-3BD9-960F-C0AA-42F6FED2866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88" creationId="{CF7041A9-6D40-0B85-F2AA-23272968D82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89" creationId="{588A4C20-09DD-70FA-9BB3-6EAD8D383B9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90" creationId="{00086699-89F0-7D41-8792-0AAA2E80946F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91" creationId="{5DE3F967-9AEE-ADD2-60D9-4A36901F189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92" creationId="{3A821B40-C70A-5510-BD3A-467BCBF5886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93" creationId="{55CD5803-730B-A832-DBEC-C34AA7C10B2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94" creationId="{A3923970-AA9C-7647-16D6-B1A92BB7DD8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95" creationId="{C7727353-8E1F-87D0-E0DE-3FDE84361DC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96" creationId="{68836074-61BE-376D-B4AE-34210D38043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397" creationId="{700DC276-2342-2762-F0AA-EE3C3F38168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98" creationId="{44ABF349-1C35-AEE2-8285-6CCFF28D7D3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399" creationId="{E91B919D-0BF8-DF13-EC1E-EB42DD7B416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00" creationId="{589A4B14-91C4-B0AF-A7F5-E8A2BFCF625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01" creationId="{625074FC-A583-A1B7-FDB5-E2510256591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02" creationId="{B3415BC7-7499-9DD1-6958-7C8730CF165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03" creationId="{3AA8ABA5-4557-7DDE-6B66-A540B83B083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04" creationId="{D492443F-9A0D-DB52-B7A8-FCDCB4D865D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05" creationId="{C7A7203E-D7EC-41CE-6486-D527A8596C3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06" creationId="{4EEEB04C-B960-3B29-ABE0-9AF9077EF7E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07" creationId="{3B9F2D19-F430-B225-833F-7289D348A746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08" creationId="{DEB94808-A550-5F63-A611-C006FF98D23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09" creationId="{1124732E-B857-3E7E-7C93-99D8448A28D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10" creationId="{88F7D755-D94A-2C81-C715-EFC89075853D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11" creationId="{7AEF0FCB-5697-1DDB-3D1F-34F86145ADCD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12" creationId="{C69BF916-5001-C97E-9B05-AC950C96EFEF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13" creationId="{4A43A6EE-5D93-6788-52BF-42CD38FC21F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14" creationId="{EECE1247-C0DB-80E4-ED42-E4AA368075D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15" creationId="{13A990CF-17BC-738A-149C-66DCC271FDC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16" creationId="{9C340E32-F308-49FD-D44F-6AA1979816F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17" creationId="{406931F5-79D6-AF51-5DA2-EA7BBF7CA87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18" creationId="{0E8CE6F6-3065-C066-E4EE-7918BBC34D3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19" creationId="{A03A1737-BC91-6DA0-4163-D609C86C2C8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0" creationId="{881D5178-7FE3-2071-4CC8-1D5E86B8AA8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1" creationId="{DB56E2DB-368B-82AA-8DDE-27007AF4B42F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2" creationId="{76D41490-1C6A-D055-DD18-08A3D996F3F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3" creationId="{B92623CD-397A-935A-D938-2BAEED0ED29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4" creationId="{857DE03F-8033-0B4B-47A4-E9C5E96B25F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5" creationId="{C4633832-345B-E955-45B7-CA4A24F07AE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6" creationId="{D0556F6D-2954-8F7E-E510-97D1A0B8D75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7" creationId="{55905E3B-5FA0-6632-0B97-F2485BF4C80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8" creationId="{3FE5BA26-C091-965A-FBCE-0FCA04F13C2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29" creationId="{846A0A13-628A-76BD-B486-30959937080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30" creationId="{A4AC7220-4D36-7873-DD45-CBB5F44F206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31" creationId="{113DFFCD-3B9E-0C3A-10FB-FCD45892E52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32" creationId="{F0E18F9B-06AD-261F-BBB4-865D1698B11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33" creationId="{016B664B-20C6-807A-F7EA-1B55057A58A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34" creationId="{8BD26A85-1CE8-2BED-8E2A-F28A279D57C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35" creationId="{618FB464-1395-0052-A27B-143849CD4A9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36" creationId="{222299A1-5DEB-D0FB-76ED-C439C5C8E55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37" creationId="{554F70B6-A37A-E03D-EC21-106F9F2F8A12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38" creationId="{1F0D511D-7AA1-B3A4-3F11-A16315E9499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39" creationId="{B5C42E1F-3C1A-3243-FAA5-E42E8826DC3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40" creationId="{90189B80-1F49-3F07-92D3-5FCCE9D9097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41" creationId="{70AC50FA-7897-A39A-076F-1391493B13D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42" creationId="{1E40C73F-7F97-C72C-9930-EAC40A97D65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43" creationId="{23D2C9E0-70E5-6358-2BB4-0EBB3652704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44" creationId="{44E96F2B-8150-CDF3-A00F-75F132C418E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45" creationId="{72D3812C-656E-1548-894F-479A93290CB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46" creationId="{BE6A9A36-BB98-B686-E3D1-51722FC43CF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47" creationId="{B43B2C7A-C10C-8923-2368-3AC0C2E65F3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48" creationId="{6CB3AC1F-3D5D-3D2C-66CA-B9007398E1B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49" creationId="{00D48F46-690A-EAC0-3AC1-57D18315678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50" creationId="{DC261BE2-E44F-D31F-8B34-2FD48D18C8E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51" creationId="{9F3A798E-5455-2425-DF2A-9152AEEB767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52" creationId="{7A6CEEF0-17B5-87E2-21D9-DE67024131B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53" creationId="{AEBB4A02-AAC3-C3EA-C766-2E1F1BED84A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54" creationId="{C1524AEA-A202-818F-4DD2-B587247176D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55" creationId="{FF6A7454-B623-2B8D-A30B-432C4495546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56" creationId="{0DD2312D-C170-3793-F762-173EAFBA0E1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57" creationId="{00098A1C-7B18-A33E-D8CA-3C2302BC5BB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58" creationId="{78161CC1-AE8F-BC25-6AF2-387D93759ADF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59" creationId="{B7768110-D911-D388-821E-4689A7A4896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60" creationId="{700546DD-821C-207E-11E7-E6E5AFBF8D2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61" creationId="{5F7DCCFD-8D50-F6FD-EE52-90F5AAE31D8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62" creationId="{EED9FE9D-DB59-8BCF-FC81-C2F9D9E46EF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63" creationId="{86ECA6FD-20AE-73DF-CE7D-1838774BE73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64" creationId="{D35BC1F9-6E83-5D30-2B50-94A08468426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65" creationId="{76564983-1C3A-F11A-AA85-FF094BACE5B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66" creationId="{5E91F342-492C-A13E-0FBD-DA615B80A9F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67" creationId="{F935CA6C-AB79-5917-E076-F4F11A32813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68" creationId="{1482BF13-6517-5CF3-713C-8AC99A860C2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69" creationId="{C4030E61-9F49-9FCA-7253-519FDDA3CE6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70" creationId="{132C995E-F9D7-3C0F-B65D-7DCECF1AC5B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71" creationId="{4753299F-4093-58ED-6EA9-342D6593834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72" creationId="{F38C4BDA-189F-1584-3097-B86808C2864D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73" creationId="{816CEE3F-688C-0923-84DF-7FB5638D44C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74" creationId="{B1ACB243-C9E9-B210-1306-EE2DE39E25B2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75" creationId="{C07626F2-FD00-32C9-B35C-E248E944F5E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76" creationId="{83775044-4874-473C-1B08-4C176F7880A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77" creationId="{20C8FFDF-D03C-8A4E-6F78-08C40CC6D62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78" creationId="{70994483-6D41-2D45-8C89-5FE78FEDC71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79" creationId="{B702A3EE-F732-2FD5-4110-627826DC2DA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80" creationId="{F94563C6-F20C-4C38-C8D1-0CDBAA19CB6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81" creationId="{4CD2B76E-06CF-FEAF-D3AC-8E871C0B998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82" creationId="{A7F30799-A843-6269-BB13-0B4043A7EA5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83" creationId="{63B8A23B-BB0E-A770-B83A-8E0462C1D61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84" creationId="{921EEF5C-5AD9-BDDD-5D36-63C22AAA979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85" creationId="{ED389376-1DA7-13E6-9741-617CD2921E9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86" creationId="{8425466F-06B7-B816-1FE0-BBA4EBE4FB9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87" creationId="{467D27D2-8710-C12A-D5C0-86BB3CB6D19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88" creationId="{468EA25F-B65C-1973-5703-0F4AAD07FCB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89" creationId="{FA8AC8FE-B799-7C89-46AD-9497BF14498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90" creationId="{F2711F71-4E49-F695-876F-75A4DF91C052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91" creationId="{58565BB7-EA09-7F41-CA9D-EC40B3E44B6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92" creationId="{002E3480-ED58-D2A9-EB36-5F4A4F0C62D2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93" creationId="{A7C1C48C-8C13-BE89-68B3-7EA9F0DC8A2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94" creationId="{F2DD01E2-0892-069A-8A98-78C2DE6649F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95" creationId="{E83F7E8F-5E38-8DCF-0186-61C38C80AF7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496" creationId="{5D120CA3-332B-CE2A-168B-65681FA4C20F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97" creationId="{9668E9AB-B9B9-7F72-F335-6CA1D266441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98" creationId="{38A5560A-449E-73FC-E5FF-4B90DFE9572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499" creationId="{25DDA283-807C-FEC5-C15E-F695F47EDD5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00" creationId="{8682CC5C-4788-2D02-2C42-518B4AF283D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01" creationId="{FDAB9C45-BD99-923E-537D-4F13D798890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02" creationId="{6C4CDDAE-0F42-1522-E857-86D83A81319D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03" creationId="{DC1FB005-85AD-51C9-A547-58C09E00138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04" creationId="{11A1A172-219C-0115-507C-D6CFCBF7B5F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05" creationId="{11AA8B12-1883-A910-860B-F076557DB8A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06" creationId="{A56EAB3D-9D56-DBD6-2E7D-509F7853B90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07" creationId="{C6EDD239-52F0-A297-CF94-784DA5A2DAF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08" creationId="{690EF97D-FE89-3AC5-CDBE-007D762F528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09" creationId="{6C84AEE7-3917-9B2E-9406-B0D1E96C108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10" creationId="{389FBCCD-B19E-9B78-E8E4-1B8A804B1E9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11" creationId="{BE8A2FC6-7828-62B1-7A5E-3653E94399A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12" creationId="{FA75A78A-57C2-AA94-3C2A-3BB820B06A02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13" creationId="{C24FD481-88AB-551E-E8F4-7DF057AA06B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14" creationId="{1C7E7FE9-FE91-7EC5-F0F8-C171535D639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15" creationId="{6FA387D2-3878-1594-121B-F27E763CE32F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16" creationId="{DB19B504-919F-7550-5C01-467C9A788A6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17" creationId="{BC90A8D8-7556-0B69-461F-F1B5789CCA4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18" creationId="{92F28D06-CDEF-6AB3-61AF-4019CAF104E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19" creationId="{428A778A-6A13-C2D9-8351-90D222603EFD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20" creationId="{56A4FA01-9EE8-E648-B71A-BB7FBB5B695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21" creationId="{9299BF4E-DBD8-31A3-4982-18B8C5B99E8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22" creationId="{31DF5772-266E-A371-355D-25F2DFD8995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23" creationId="{3E9C111B-1CBF-FBCD-1188-44CE9C571B8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24" creationId="{4CC00396-606C-A4F5-2823-D8F1876F552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25" creationId="{16AFD6E6-6C51-E961-DACF-2B9612047D5D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26" creationId="{3B9B06DA-2D3A-08F0-864D-35015DD26A8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27" creationId="{9D9BB390-1826-1383-B50A-36EE186A13E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28" creationId="{31A027D0-1647-F6A1-E3F3-C71CC9CCAE7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29" creationId="{1233209C-EDAB-FDE6-9BC9-1A2D66DDC54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0" creationId="{F7401AE7-AD35-66F5-9A4B-F6B814AFBA5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1" creationId="{14F1DE1C-15AD-63DF-C2BB-7AF3E3E41E3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2" creationId="{09EEC897-5C73-35DE-4788-307E13B1DF6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3" creationId="{450520F4-0C84-BF2C-597E-C8D7E7BFE7E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4" creationId="{24862176-A975-639E-D802-F459E7CA692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5" creationId="{E7985CC5-EB63-BCE1-38E2-CFF48E592E9D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6" creationId="{699D40FB-2932-24F8-AE74-21DC7B7F559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7" creationId="{A22C51EB-47E1-A2EB-16DD-507AF2018E5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8" creationId="{2FD417A2-9AC2-AF24-22FE-27186E6B92A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39" creationId="{67F93D2C-5B83-2B77-243E-018E62AAFD9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40" creationId="{A4754888-F31F-F3AE-A3F0-85F501640D9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41" creationId="{A0777C66-7FBA-7256-1F72-B27324C2D80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42" creationId="{34A7502E-CADD-4729-C4B4-235EE10965A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43" creationId="{59F6CAC3-7D83-8F7B-772B-C8F8E2E0527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44" creationId="{6C96AE9F-EB45-A4F2-FAC9-43A46D96430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45" creationId="{E7AD8403-309C-3950-0D22-ECFCAA915E0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46" creationId="{A51598F1-C801-0D51-1F33-58A8F16116A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47" creationId="{899FC14C-5199-01F5-EFA5-F8373A51C83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48" creationId="{0DA54F0E-5D1A-4126-6185-482B5A00E45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49" creationId="{5E637FD9-64DC-3616-2615-7DF616CE347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50" creationId="{EB9DE492-8618-9211-5B9E-4DE10B565E46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51" creationId="{D931E45B-5F6F-E501-E363-A8D352F5CA57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52" creationId="{5865C664-4CD6-F3E1-26BB-43DCE8DEFDD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53" creationId="{C95827BE-9FD7-6EEF-4305-41181EF25EC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54" creationId="{681DC224-9023-A8F8-FA83-757171686AC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55" creationId="{6B0030F8-5A43-0E61-06A6-2F0B8C1B7040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56" creationId="{0B74FC09-E192-3584-4983-A627670CE3F2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57" creationId="{3D4BB7CE-B871-8FCB-D786-C3A38F73481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58" creationId="{686CA7E5-8811-E369-EB35-DB745560E3A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59" creationId="{BA02F446-2EE3-EE1A-8257-C509C8E68659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60" creationId="{2E4B1B8A-24D5-3BB8-E258-34514E6ACBDD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61" creationId="{D9A3AB9A-27B2-B7BF-6D52-57CB20F6932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62" creationId="{1405CC95-9CA0-6ACE-6DE5-5F28F45F076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63" creationId="{E2441AA1-EFE5-42F3-7851-909FFC0A269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64" creationId="{F9A06BE4-4A97-8C92-E5D7-622F2EAB5E0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65" creationId="{6DC01D8B-6611-88CD-A3EC-B9A9A12AAB6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66" creationId="{7C05A4C2-F84F-6E72-10CC-4DAF836B10AC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67" creationId="{386492E0-CC63-C47F-6E4D-5CF057E1C5E2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68" creationId="{D3ECCE93-ACD3-BEB4-1C95-150E3C0A86B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69" creationId="{76A14492-EB01-7B06-9A43-592D77ACE56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70" creationId="{EB4691DF-6DBD-DF7E-6359-B50C1FCD8833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71" creationId="{C2987DA1-EC79-F2A8-CC56-4F63F4908E2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72" creationId="{D285328C-9AB2-697F-DCA9-50671BBCB66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73" creationId="{A0722376-0985-4745-783D-C9DBEF58C765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74" creationId="{E45EEC6D-D615-33DC-5E1C-5A0B25A8024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75" creationId="{1204C142-A11A-4920-44AE-76C6B077298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76" creationId="{23EE1395-5FFD-BDBB-D2D2-F636954495D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77" creationId="{791CC465-79F4-865D-6E3F-0BBAF22C671B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78" creationId="{03A8346D-B766-1790-C6E2-1479E20B538A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79" creationId="{1102900E-CD2B-41A2-E478-C949C4CE915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80" creationId="{E673D1F9-4A1E-5AA9-77CB-6A2D1367FE6F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81" creationId="{BD5528A6-784E-F61B-E6EA-E263C96061C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82" creationId="{0A62367F-2DF4-7756-5BCB-5BDC37C42A3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83" creationId="{4B950249-ADCC-1755-D053-CE48D9A129F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84" creationId="{556D0C4E-6CC8-3300-8FC7-40E4176707C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85" creationId="{54CEF132-D7BD-10C0-7AB1-D843610F16F1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86" creationId="{83AF5D99-EF2B-5EDC-CAA7-4B70A63B66F2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87" creationId="{581A0689-87FF-E33E-B26B-9FD26A749118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88" creationId="{5C951407-18D2-B4C6-316F-243101CDFB0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89" creationId="{53AE8BED-3BBA-69EB-D5C5-CFEF53935EC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90" creationId="{C9B7321C-C911-FB22-A260-3C8FB8EF2A36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91" creationId="{C97525A5-2511-2402-1A21-406E88194E9E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92" creationId="{43A87AA3-088D-1293-5881-AD62D2663EA4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93" creationId="{F8152E59-57E3-267C-68C8-A592983AF7DF}"/>
          </ac:picMkLst>
        </pc:picChg>
        <pc:picChg chg="del mod topLvl">
          <ac:chgData name="Merlin Gutter" userId="2abc6f04-74af-430b-bdc8-569c3bfa1dda" providerId="ADAL" clId="{CB1EFBC3-10F5-3048-8961-5969497C0019}" dt="2022-11-12T22:11:14.482" v="47070" actId="478"/>
          <ac:picMkLst>
            <pc:docMk/>
            <pc:sldMk cId="1593947597" sldId="375"/>
            <ac:picMk id="594" creationId="{7E9BF738-C8E2-694E-2931-9A590F90611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95" creationId="{507419D6-3BAC-301E-E125-FD313643F52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96" creationId="{8DA6317C-DF33-CCBC-9925-8A1B90941CF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97" creationId="{E5CBAA34-0F75-9E13-295C-B58EDBDC618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98" creationId="{7B753400-7074-6B63-D021-6D1F0D7E56A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599" creationId="{21586CAB-86DC-A1B4-89FE-5E0E3762E05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0" creationId="{D1D8C3DE-9735-7862-B8BD-E25A079EF4D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1" creationId="{7D3875BE-ACB7-520C-CF89-4632909AB05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2" creationId="{E8FABBFF-AA92-4A3E-D8E0-ACB6FE654139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3" creationId="{36F1382D-64D3-7EE7-1868-4B4FB2071CD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4" creationId="{29D26338-790A-A82C-5A9C-887888E96DF9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5" creationId="{F95D9DCD-B090-CD39-F0F8-0A2D71FDCA9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6" creationId="{86F36998-EE39-C8FA-6EFD-A8643E714F9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7" creationId="{04C18A77-04D7-DF71-C49E-B9EF600E853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8" creationId="{ECE4BB96-4853-379D-CB8E-4C3164506E16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09" creationId="{A1D3F4FE-A918-35EB-1E95-CEB177F6FB8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0" creationId="{FBD3B047-6C10-51D2-2BED-E5FB251166E9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1" creationId="{17C0F594-A38D-780F-29D6-850CF8F096C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2" creationId="{4FBA5BD4-B19F-BD6E-027F-CABC6B142ED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3" creationId="{A455954E-3D23-1CC0-FB06-E698DF16FBC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4" creationId="{07B4FB55-FB01-30E1-9673-92888D046D5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5" creationId="{43BBDC7E-8352-DA30-C792-2BA6F39EB74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6" creationId="{EF455679-BEFE-CEE9-9EBB-90280E8D494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7" creationId="{BE168B1F-251E-7E99-0662-7EB1899E21A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8" creationId="{BA293C13-A200-FD06-5966-7874C8BDE12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19" creationId="{2DE53A84-698D-D807-4A22-3BD35A6A653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0" creationId="{36F8EDE6-AF70-69D0-49B2-A93E96BE307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1" creationId="{8C94A509-D1BE-87B9-7497-35ACB0180489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2" creationId="{F086B727-B317-26E6-6B40-8A21D3EE447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3" creationId="{6B845B7B-747A-8CF4-16E2-42EB57599D6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4" creationId="{5421B916-071F-A12A-195A-80E2BE88876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5" creationId="{2A214747-D4BE-1ED0-E317-79639CDE245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6" creationId="{75827186-07B7-372A-D60D-9B082A65825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7" creationId="{6C225DE4-339F-9B63-734E-3CE7C5E73A4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8" creationId="{358F55DF-87F2-446A-E8C8-4ED9F8634E8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29" creationId="{39E287DA-0D15-5A2F-FF13-51D0E9A36005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0" creationId="{8F777945-6106-1449-7738-3130D4D27CE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1" creationId="{8CB96119-6C37-4C42-C073-3664E31C215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2" creationId="{2751E30D-7349-360B-8FF9-293B09A3EF9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3" creationId="{64BC8ABE-85FF-6BA6-FF6D-AA343B7C3DA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4" creationId="{A2B06344-0405-C49E-3651-22EB2393227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5" creationId="{508A8FAB-173B-50CC-EBD7-B2F162F78B2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6" creationId="{52FF51D8-6F42-058A-56C0-9E8CF0DDAB1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7" creationId="{6517FB85-70B7-8829-E26F-B583AAC2C96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8" creationId="{C6EDA3AA-5442-EA09-4353-234D6A466CA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39" creationId="{8AEF8B5F-4D7E-B57B-F9C9-E92A4FD05BE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40" creationId="{BC1C824B-6780-5F4C-AE72-C5038BF96A9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41" creationId="{57DB4856-9B81-5C22-DEC5-0343E951B4D8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42" creationId="{99E54B44-4B9C-823F-9ACF-FD50DE9B9D5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43" creationId="{C9018F9D-AB48-A730-A363-1FE5D8ED802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44" creationId="{90FA55BC-557F-6ACE-66D6-E403CD62336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45" creationId="{CDFB0744-B32F-8E3A-EC11-9C5B65E34CA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46" creationId="{4790DE22-CE5E-2662-E559-C77EB996D28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47" creationId="{86EF9EF3-3D9F-C1A8-1647-4B6ACD9992F0}"/>
          </ac:picMkLst>
        </pc:picChg>
        <pc:picChg chg="del mod topLvl">
          <ac:chgData name="Merlin Gutter" userId="2abc6f04-74af-430b-bdc8-569c3bfa1dda" providerId="ADAL" clId="{CB1EFBC3-10F5-3048-8961-5969497C0019}" dt="2022-11-13T00:22:05.690" v="47583" actId="478"/>
          <ac:picMkLst>
            <pc:docMk/>
            <pc:sldMk cId="1593947597" sldId="375"/>
            <ac:picMk id="648" creationId="{D6A78162-5A13-4E2B-C26A-3A3F2818303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49" creationId="{370C650D-BCA9-6A53-D789-07F4A9FED1E5}"/>
          </ac:picMkLst>
        </pc:picChg>
        <pc:picChg chg="del mod topLvl">
          <ac:chgData name="Merlin Gutter" userId="2abc6f04-74af-430b-bdc8-569c3bfa1dda" providerId="ADAL" clId="{CB1EFBC3-10F5-3048-8961-5969497C0019}" dt="2022-11-13T00:22:05.690" v="47583" actId="478"/>
          <ac:picMkLst>
            <pc:docMk/>
            <pc:sldMk cId="1593947597" sldId="375"/>
            <ac:picMk id="650" creationId="{BB14F758-50DC-6606-04BF-C2320DD26226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51" creationId="{FB851631-3582-6A1E-C252-4F3B9D4749E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52" creationId="{5D14EEBB-2945-7A63-8B96-37E3BA90013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53" creationId="{E63A1896-2CC2-5697-C3C8-125FB618905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54" creationId="{92B87EE8-12A0-6174-02DC-50F87C5EAD1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55" creationId="{ADB9550E-BF57-B55A-8B66-3BEC0DFF76C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56" creationId="{EDA499C7-A85C-E5F8-5E99-87089785741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57" creationId="{DDDD9DC2-E045-2CF7-F3B4-458C6282C8C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58" creationId="{83B4C21F-8351-E6BA-DB7A-B70371ECBB8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59" creationId="{C3C286F5-8490-E503-CBC4-E5209BB91BE2}"/>
          </ac:picMkLst>
        </pc:picChg>
        <pc:picChg chg="del mod topLvl">
          <ac:chgData name="Merlin Gutter" userId="2abc6f04-74af-430b-bdc8-569c3bfa1dda" providerId="ADAL" clId="{CB1EFBC3-10F5-3048-8961-5969497C0019}" dt="2022-11-13T00:22:05.690" v="47583" actId="478"/>
          <ac:picMkLst>
            <pc:docMk/>
            <pc:sldMk cId="1593947597" sldId="375"/>
            <ac:picMk id="660" creationId="{B943C026-E56E-C606-7C36-72EA90D1561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61" creationId="{DAB55F64-CE9A-F394-EDC7-2FBCF95EAFE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62" creationId="{F9297C7C-CF68-5160-ECF6-88F055D9687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63" creationId="{A75BDB34-3600-335A-AAB6-2901B5AF428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64" creationId="{7A4D2CDB-DBEB-F81D-32DE-DDBAB29FF3E4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65" creationId="{E20EC8D1-8367-1C88-F3E9-975335FEC75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66" creationId="{9D3DBED1-EC2A-9022-B0CE-6D400ED234E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67" creationId="{EDA29D34-23F0-0F1A-F717-F65B5E8BFEF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68" creationId="{05FA3F55-F6E7-6262-4D7D-48A14B7EFEA7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69" creationId="{8F3440E4-7B93-6AA6-D5AC-E785BC7C3D0F}"/>
          </ac:picMkLst>
        </pc:picChg>
        <pc:picChg chg="del mod topLvl">
          <ac:chgData name="Merlin Gutter" userId="2abc6f04-74af-430b-bdc8-569c3bfa1dda" providerId="ADAL" clId="{CB1EFBC3-10F5-3048-8961-5969497C0019}" dt="2022-11-13T00:22:07.109" v="47584" actId="478"/>
          <ac:picMkLst>
            <pc:docMk/>
            <pc:sldMk cId="1593947597" sldId="375"/>
            <ac:picMk id="670" creationId="{37588655-BD3C-8E1B-4E98-817108489C3D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71" creationId="{3078C3EC-52D9-A19E-65D8-936482E58AAE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72" creationId="{213ECA81-4605-93FA-D8D2-2E68502A85C0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73" creationId="{A4509E19-D6D4-C06D-461D-F8DF8C3305FC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74" creationId="{87ED3BD6-272A-FD8B-8AC8-D218BAD27EB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75" creationId="{F72EB924-2E7C-D840-B72B-DEF90FEA6FF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76" creationId="{24347257-9189-D24A-52D5-FFE14A851FC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77" creationId="{E6EDC8AF-451C-D684-8083-EF07079747F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78" creationId="{5CC8D2C3-1F11-2378-FE53-A69E5CCDFBF6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79" creationId="{FECBDC86-79B9-6344-00A5-7CCFC7044CF5}"/>
          </ac:picMkLst>
        </pc:picChg>
        <pc:picChg chg="add del mod topLvl">
          <ac:chgData name="Merlin Gutter" userId="2abc6f04-74af-430b-bdc8-569c3bfa1dda" providerId="ADAL" clId="{CB1EFBC3-10F5-3048-8961-5969497C0019}" dt="2022-11-13T00:22:51.878" v="47596"/>
          <ac:picMkLst>
            <pc:docMk/>
            <pc:sldMk cId="1593947597" sldId="375"/>
            <ac:picMk id="680" creationId="{0107B660-0E9A-7BA0-72CE-A0B486ED00BA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81" creationId="{90276BD7-2969-D970-8959-5EA0DF36333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82" creationId="{FC1E9428-C082-7AD4-FB1A-585FFDC691FF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83" creationId="{A696B3CB-A905-4D16-67B7-52832EE21A3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84" creationId="{E07C1CEE-AEC1-23AE-9469-B2E3EAC824B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85" creationId="{49839246-E855-2CC4-1AEB-B24B412A70A1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86" creationId="{3AD52266-CD3F-A52E-1445-78F2ABFD0AE3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87" creationId="{239EFFD1-176E-E849-94E0-A9BF80008652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88" creationId="{F5ED5AA9-0656-AF5D-C33D-B466E1A435CB}"/>
          </ac:picMkLst>
        </pc:picChg>
        <pc:picChg chg="del mod topLvl">
          <ac:chgData name="Merlin Gutter" userId="2abc6f04-74af-430b-bdc8-569c3bfa1dda" providerId="ADAL" clId="{CB1EFBC3-10F5-3048-8961-5969497C0019}" dt="2022-11-13T00:22:03.767" v="47582" actId="478"/>
          <ac:picMkLst>
            <pc:docMk/>
            <pc:sldMk cId="1593947597" sldId="375"/>
            <ac:picMk id="689" creationId="{26F6309D-71F4-78A2-3C2D-2A8AE1065904}"/>
          </ac:picMkLst>
        </pc:picChg>
        <pc:picChg chg="mod">
          <ac:chgData name="Merlin Gutter" userId="2abc6f04-74af-430b-bdc8-569c3bfa1dda" providerId="ADAL" clId="{CB1EFBC3-10F5-3048-8961-5969497C0019}" dt="2022-11-13T00:22:34.349" v="47593"/>
          <ac:picMkLst>
            <pc:docMk/>
            <pc:sldMk cId="1593947597" sldId="375"/>
            <ac:picMk id="708" creationId="{45550243-EE13-2CF6-9078-557670AE8062}"/>
          </ac:picMkLst>
        </pc:picChg>
        <pc:picChg chg="add del mod">
          <ac:chgData name="Merlin Gutter" userId="2abc6f04-74af-430b-bdc8-569c3bfa1dda" providerId="ADAL" clId="{CB1EFBC3-10F5-3048-8961-5969497C0019}" dt="2022-11-13T00:23:00.126" v="47597"/>
          <ac:picMkLst>
            <pc:docMk/>
            <pc:sldMk cId="1593947597" sldId="375"/>
            <ac:picMk id="709" creationId="{C114D9B7-D07A-F636-9F4A-EAAADC9A4678}"/>
          </ac:picMkLst>
        </pc:picChg>
        <pc:picChg chg="mod">
          <ac:chgData name="Merlin Gutter" userId="2abc6f04-74af-430b-bdc8-569c3bfa1dda" providerId="ADAL" clId="{CB1EFBC3-10F5-3048-8961-5969497C0019}" dt="2022-11-13T00:24:28.161" v="47607" actId="164"/>
          <ac:picMkLst>
            <pc:docMk/>
            <pc:sldMk cId="1593947597" sldId="375"/>
            <ac:picMk id="711" creationId="{626B4481-B8C6-59DD-E178-BEBDEC1AB6E9}"/>
          </ac:picMkLst>
        </pc:picChg>
        <pc:picChg chg="mod">
          <ac:chgData name="Merlin Gutter" userId="2abc6f04-74af-430b-bdc8-569c3bfa1dda" providerId="ADAL" clId="{CB1EFBC3-10F5-3048-8961-5969497C0019}" dt="2022-11-13T00:24:28.161" v="47607" actId="164"/>
          <ac:picMkLst>
            <pc:docMk/>
            <pc:sldMk cId="1593947597" sldId="375"/>
            <ac:picMk id="712" creationId="{E3E47DE5-0D50-85B6-3C35-5E68D4703F1D}"/>
          </ac:picMkLst>
        </pc:picChg>
        <pc:picChg chg="add mod">
          <ac:chgData name="Merlin Gutter" userId="2abc6f04-74af-430b-bdc8-569c3bfa1dda" providerId="ADAL" clId="{CB1EFBC3-10F5-3048-8961-5969497C0019}" dt="2022-11-13T00:24:23.986" v="47606" actId="1076"/>
          <ac:picMkLst>
            <pc:docMk/>
            <pc:sldMk cId="1593947597" sldId="375"/>
            <ac:picMk id="713" creationId="{7D6AF16D-22BB-D58A-A635-E74FAF546EAD}"/>
          </ac:picMkLst>
        </pc:picChg>
        <pc:picChg chg="add mod">
          <ac:chgData name="Merlin Gutter" userId="2abc6f04-74af-430b-bdc8-569c3bfa1dda" providerId="ADAL" clId="{CB1EFBC3-10F5-3048-8961-5969497C0019}" dt="2022-11-13T00:24:23.986" v="47606" actId="1076"/>
          <ac:picMkLst>
            <pc:docMk/>
            <pc:sldMk cId="1593947597" sldId="375"/>
            <ac:picMk id="714" creationId="{4071D24D-EDBF-E7BC-3887-8890A84A8042}"/>
          </ac:picMkLst>
        </pc:picChg>
      </pc:sldChg>
      <pc:sldChg chg="addSp modSp new add del mod">
        <pc:chgData name="Merlin Gutter" userId="2abc6f04-74af-430b-bdc8-569c3bfa1dda" providerId="ADAL" clId="{CB1EFBC3-10F5-3048-8961-5969497C0019}" dt="2022-11-13T00:38:06.711" v="47879" actId="2696"/>
        <pc:sldMkLst>
          <pc:docMk/>
          <pc:sldMk cId="2117525486" sldId="375"/>
        </pc:sldMkLst>
        <pc:cxnChg chg="add mod">
          <ac:chgData name="Merlin Gutter" userId="2abc6f04-74af-430b-bdc8-569c3bfa1dda" providerId="ADAL" clId="{CB1EFBC3-10F5-3048-8961-5969497C0019}" dt="2022-11-13T00:37:28.993" v="47871" actId="1037"/>
          <ac:cxnSpMkLst>
            <pc:docMk/>
            <pc:sldMk cId="2117525486" sldId="375"/>
            <ac:cxnSpMk id="10" creationId="{F208F57A-A982-BCB6-243D-9F940CB1481C}"/>
          </ac:cxnSpMkLst>
        </pc:cxnChg>
        <pc:cxnChg chg="add mod">
          <ac:chgData name="Merlin Gutter" userId="2abc6f04-74af-430b-bdc8-569c3bfa1dda" providerId="ADAL" clId="{CB1EFBC3-10F5-3048-8961-5969497C0019}" dt="2022-11-13T00:37:28.993" v="47871" actId="1037"/>
          <ac:cxnSpMkLst>
            <pc:docMk/>
            <pc:sldMk cId="2117525486" sldId="375"/>
            <ac:cxnSpMk id="11" creationId="{94F68E97-1622-DE4E-4EDD-F649DBAFD4DD}"/>
          </ac:cxnSpMkLst>
        </pc:cxnChg>
      </pc:sldChg>
      <pc:sldChg chg="addSp delSp modSp add mod ord">
        <pc:chgData name="Merlin Gutter" userId="2abc6f04-74af-430b-bdc8-569c3bfa1dda" providerId="ADAL" clId="{CB1EFBC3-10F5-3048-8961-5969497C0019}" dt="2022-11-13T01:19:28.250" v="55434"/>
        <pc:sldMkLst>
          <pc:docMk/>
          <pc:sldMk cId="2618135929" sldId="375"/>
        </pc:sldMkLst>
        <pc:spChg chg="mod">
          <ac:chgData name="Merlin Gutter" userId="2abc6f04-74af-430b-bdc8-569c3bfa1dda" providerId="ADAL" clId="{CB1EFBC3-10F5-3048-8961-5969497C0019}" dt="2022-11-13T01:19:28.226" v="55391" actId="948"/>
          <ac:spMkLst>
            <pc:docMk/>
            <pc:sldMk cId="2618135929" sldId="375"/>
            <ac:spMk id="2" creationId="{B07FFD0D-A31C-623E-E3DA-11A223839E3F}"/>
          </ac:spMkLst>
        </pc:spChg>
        <pc:spChg chg="add del mod modVis">
          <ac:chgData name="Merlin Gutter" userId="2abc6f04-74af-430b-bdc8-569c3bfa1dda" providerId="ADAL" clId="{CB1EFBC3-10F5-3048-8961-5969497C0019}" dt="2022-11-13T01:08:08.007" v="51692"/>
          <ac:spMkLst>
            <pc:docMk/>
            <pc:sldMk cId="2618135929" sldId="375"/>
            <ac:spMk id="3" creationId="{8383A0CB-FEF3-10E0-BCB4-4C65CE6BAE42}"/>
          </ac:spMkLst>
        </pc:spChg>
        <pc:spChg chg="add del mod modVis">
          <ac:chgData name="Merlin Gutter" userId="2abc6f04-74af-430b-bdc8-569c3bfa1dda" providerId="ADAL" clId="{CB1EFBC3-10F5-3048-8961-5969497C0019}" dt="2022-11-13T01:09:46.379" v="52430"/>
          <ac:spMkLst>
            <pc:docMk/>
            <pc:sldMk cId="2618135929" sldId="375"/>
            <ac:spMk id="4" creationId="{EDF1E884-8DB8-23F9-5784-C6494A4EC9DC}"/>
          </ac:spMkLst>
        </pc:spChg>
        <pc:spChg chg="add del mod modVis">
          <ac:chgData name="Merlin Gutter" userId="2abc6f04-74af-430b-bdc8-569c3bfa1dda" providerId="ADAL" clId="{CB1EFBC3-10F5-3048-8961-5969497C0019}" dt="2022-11-13T01:18:07.292" v="55199"/>
          <ac:spMkLst>
            <pc:docMk/>
            <pc:sldMk cId="2618135929" sldId="375"/>
            <ac:spMk id="6" creationId="{9E712802-E04C-4269-D183-91882FF82609}"/>
          </ac:spMkLst>
        </pc:spChg>
        <pc:spChg chg="add del mod modVis">
          <ac:chgData name="Merlin Gutter" userId="2abc6f04-74af-430b-bdc8-569c3bfa1dda" providerId="ADAL" clId="{CB1EFBC3-10F5-3048-8961-5969497C0019}" dt="2022-11-13T01:18:11.386" v="55244"/>
          <ac:spMkLst>
            <pc:docMk/>
            <pc:sldMk cId="2618135929" sldId="375"/>
            <ac:spMk id="7" creationId="{AB3294AC-C9C6-44B2-CCF6-1FAA94F42F4E}"/>
          </ac:spMkLst>
        </pc:spChg>
        <pc:spChg chg="add del mod modVis">
          <ac:chgData name="Merlin Gutter" userId="2abc6f04-74af-430b-bdc8-569c3bfa1dda" providerId="ADAL" clId="{CB1EFBC3-10F5-3048-8961-5969497C0019}" dt="2022-11-13T01:18:16.541" v="55289"/>
          <ac:spMkLst>
            <pc:docMk/>
            <pc:sldMk cId="2618135929" sldId="375"/>
            <ac:spMk id="8" creationId="{87B979B4-8C6F-949A-1792-18A986684D41}"/>
          </ac:spMkLst>
        </pc:spChg>
        <pc:spChg chg="add del mod modVis">
          <ac:chgData name="Merlin Gutter" userId="2abc6f04-74af-430b-bdc8-569c3bfa1dda" providerId="ADAL" clId="{CB1EFBC3-10F5-3048-8961-5969497C0019}" dt="2022-11-13T01:19:28.249" v="55432"/>
          <ac:spMkLst>
            <pc:docMk/>
            <pc:sldMk cId="2618135929" sldId="375"/>
            <ac:spMk id="9" creationId="{B741D61F-FEE2-D0FF-915D-082EDD7376BB}"/>
          </ac:spMkLst>
        </pc:spChg>
        <pc:graphicFrameChg chg="mod">
          <ac:chgData name="Merlin Gutter" userId="2abc6f04-74af-430b-bdc8-569c3bfa1dda" providerId="ADAL" clId="{CB1EFBC3-10F5-3048-8961-5969497C0019}" dt="2022-11-13T01:19:28.250" v="55434"/>
          <ac:graphicFrameMkLst>
            <pc:docMk/>
            <pc:sldMk cId="2618135929" sldId="375"/>
            <ac:graphicFrameMk id="5" creationId="{3BFAACF3-A7AA-62A2-1CE5-63DAC6D9B78B}"/>
          </ac:graphicFrameMkLst>
        </pc:graphicFrameChg>
      </pc:sldChg>
      <pc:sldChg chg="addSp delSp modSp add mod ord">
        <pc:chgData name="Merlin Gutter" userId="2abc6f04-74af-430b-bdc8-569c3bfa1dda" providerId="ADAL" clId="{CB1EFBC3-10F5-3048-8961-5969497C0019}" dt="2022-11-13T01:19:42.817" v="55524"/>
        <pc:sldMkLst>
          <pc:docMk/>
          <pc:sldMk cId="77039229" sldId="376"/>
        </pc:sldMkLst>
        <pc:spChg chg="mod">
          <ac:chgData name="Merlin Gutter" userId="2abc6f04-74af-430b-bdc8-569c3bfa1dda" providerId="ADAL" clId="{CB1EFBC3-10F5-3048-8961-5969497C0019}" dt="2022-11-13T01:19:42.784" v="55481" actId="948"/>
          <ac:spMkLst>
            <pc:docMk/>
            <pc:sldMk cId="77039229" sldId="376"/>
            <ac:spMk id="2" creationId="{B07FFD0D-A31C-623E-E3DA-11A223839E3F}"/>
          </ac:spMkLst>
        </pc:spChg>
        <pc:spChg chg="add del mod modVis">
          <ac:chgData name="Merlin Gutter" userId="2abc6f04-74af-430b-bdc8-569c3bfa1dda" providerId="ADAL" clId="{CB1EFBC3-10F5-3048-8961-5969497C0019}" dt="2022-11-13T01:19:17.772" v="55342"/>
          <ac:spMkLst>
            <pc:docMk/>
            <pc:sldMk cId="77039229" sldId="376"/>
            <ac:spMk id="3" creationId="{B702D890-5457-B2FA-671D-7600A221B2E1}"/>
          </ac:spMkLst>
        </pc:spChg>
        <pc:spChg chg="add del mod modVis">
          <ac:chgData name="Merlin Gutter" userId="2abc6f04-74af-430b-bdc8-569c3bfa1dda" providerId="ADAL" clId="{CB1EFBC3-10F5-3048-8961-5969497C0019}" dt="2022-11-13T01:19:23.631" v="55387"/>
          <ac:spMkLst>
            <pc:docMk/>
            <pc:sldMk cId="77039229" sldId="376"/>
            <ac:spMk id="4" creationId="{589206E8-0E7E-ECD8-62BB-2A48145D3211}"/>
          </ac:spMkLst>
        </pc:spChg>
        <pc:spChg chg="add del mod modVis">
          <ac:chgData name="Merlin Gutter" userId="2abc6f04-74af-430b-bdc8-569c3bfa1dda" providerId="ADAL" clId="{CB1EFBC3-10F5-3048-8961-5969497C0019}" dt="2022-11-13T01:19:42.815" v="55522"/>
          <ac:spMkLst>
            <pc:docMk/>
            <pc:sldMk cId="77039229" sldId="376"/>
            <ac:spMk id="6" creationId="{92F8A4B4-B7BC-D657-A56D-5A1DA192BF03}"/>
          </ac:spMkLst>
        </pc:spChg>
        <pc:graphicFrameChg chg="mod">
          <ac:chgData name="Merlin Gutter" userId="2abc6f04-74af-430b-bdc8-569c3bfa1dda" providerId="ADAL" clId="{CB1EFBC3-10F5-3048-8961-5969497C0019}" dt="2022-11-13T01:19:42.817" v="55524"/>
          <ac:graphicFrameMkLst>
            <pc:docMk/>
            <pc:sldMk cId="77039229" sldId="376"/>
            <ac:graphicFrameMk id="5" creationId="{3BFAACF3-A7AA-62A2-1CE5-63DAC6D9B78B}"/>
          </ac:graphicFrameMkLst>
        </pc:graphicFrameChg>
      </pc:sldChg>
      <pc:sldChg chg="addSp delSp modSp add mod ord">
        <pc:chgData name="Merlin Gutter" userId="2abc6f04-74af-430b-bdc8-569c3bfa1dda" providerId="ADAL" clId="{CB1EFBC3-10F5-3048-8961-5969497C0019}" dt="2022-11-13T01:19:59.074" v="55618"/>
        <pc:sldMkLst>
          <pc:docMk/>
          <pc:sldMk cId="3724066872" sldId="377"/>
        </pc:sldMkLst>
        <pc:spChg chg="mod">
          <ac:chgData name="Merlin Gutter" userId="2abc6f04-74af-430b-bdc8-569c3bfa1dda" providerId="ADAL" clId="{CB1EFBC3-10F5-3048-8961-5969497C0019}" dt="2022-11-13T01:19:59.040" v="55575" actId="948"/>
          <ac:spMkLst>
            <pc:docMk/>
            <pc:sldMk cId="3724066872" sldId="377"/>
            <ac:spMk id="2" creationId="{B07FFD0D-A31C-623E-E3DA-11A223839E3F}"/>
          </ac:spMkLst>
        </pc:spChg>
        <pc:spChg chg="add del mod modVis">
          <ac:chgData name="Merlin Gutter" userId="2abc6f04-74af-430b-bdc8-569c3bfa1dda" providerId="ADAL" clId="{CB1EFBC3-10F5-3048-8961-5969497C0019}" dt="2022-11-13T01:19:55.449" v="55571"/>
          <ac:spMkLst>
            <pc:docMk/>
            <pc:sldMk cId="3724066872" sldId="377"/>
            <ac:spMk id="3" creationId="{2D7DACFC-3D64-C421-BD34-B69CAD31C55D}"/>
          </ac:spMkLst>
        </pc:spChg>
        <pc:spChg chg="add del mod modVis">
          <ac:chgData name="Merlin Gutter" userId="2abc6f04-74af-430b-bdc8-569c3bfa1dda" providerId="ADAL" clId="{CB1EFBC3-10F5-3048-8961-5969497C0019}" dt="2022-11-13T01:19:59.072" v="55616"/>
          <ac:spMkLst>
            <pc:docMk/>
            <pc:sldMk cId="3724066872" sldId="377"/>
            <ac:spMk id="4" creationId="{16E543C1-F10D-3328-41E0-08F44B6B5D25}"/>
          </ac:spMkLst>
        </pc:spChg>
        <pc:graphicFrameChg chg="mod">
          <ac:chgData name="Merlin Gutter" userId="2abc6f04-74af-430b-bdc8-569c3bfa1dda" providerId="ADAL" clId="{CB1EFBC3-10F5-3048-8961-5969497C0019}" dt="2022-11-13T01:19:59.074" v="55618"/>
          <ac:graphicFrameMkLst>
            <pc:docMk/>
            <pc:sldMk cId="3724066872" sldId="377"/>
            <ac:graphicFrameMk id="5" creationId="{3BFAACF3-A7AA-62A2-1CE5-63DAC6D9B78B}"/>
          </ac:graphicFrameMkLst>
        </pc:graphicFrameChg>
      </pc:sldChg>
      <pc:sldChg chg="addSp modSp add ord modNotesTx">
        <pc:chgData name="Merlin Gutter" userId="2abc6f04-74af-430b-bdc8-569c3bfa1dda" providerId="ADAL" clId="{CB1EFBC3-10F5-3048-8961-5969497C0019}" dt="2022-11-13T01:30:02.842" v="55737"/>
        <pc:sldMkLst>
          <pc:docMk/>
          <pc:sldMk cId="3915695461" sldId="378"/>
        </pc:sldMkLst>
        <pc:picChg chg="add mod">
          <ac:chgData name="Merlin Gutter" userId="2abc6f04-74af-430b-bdc8-569c3bfa1dda" providerId="ADAL" clId="{CB1EFBC3-10F5-3048-8961-5969497C0019}" dt="2022-11-13T01:30:02.842" v="55737"/>
          <ac:picMkLst>
            <pc:docMk/>
            <pc:sldMk cId="3915695461" sldId="378"/>
            <ac:picMk id="2" creationId="{D691D235-CAD7-4714-996E-2AD8F843F384}"/>
          </ac:picMkLst>
        </pc:picChg>
        <pc:picChg chg="add mod">
          <ac:chgData name="Merlin Gutter" userId="2abc6f04-74af-430b-bdc8-569c3bfa1dda" providerId="ADAL" clId="{CB1EFBC3-10F5-3048-8961-5969497C0019}" dt="2022-11-13T01:30:02.842" v="55737"/>
          <ac:picMkLst>
            <pc:docMk/>
            <pc:sldMk cId="3915695461" sldId="378"/>
            <ac:picMk id="3" creationId="{6CFF04AE-709B-9EFD-88C6-17D9EFD4A1D6}"/>
          </ac:picMkLst>
        </pc:picChg>
      </pc:sldChg>
      <pc:sldChg chg="delSp modSp add mod modNotesTx">
        <pc:chgData name="Merlin Gutter" userId="2abc6f04-74af-430b-bdc8-569c3bfa1dda" providerId="ADAL" clId="{CB1EFBC3-10F5-3048-8961-5969497C0019}" dt="2022-11-13T01:28:20.005" v="55703" actId="20577"/>
        <pc:sldMkLst>
          <pc:docMk/>
          <pc:sldMk cId="3766405903" sldId="379"/>
        </pc:sldMkLst>
        <pc:spChg chg="mod">
          <ac:chgData name="Merlin Gutter" userId="2abc6f04-74af-430b-bdc8-569c3bfa1dda" providerId="ADAL" clId="{CB1EFBC3-10F5-3048-8961-5969497C0019}" dt="2022-11-13T01:21:37.231" v="55651" actId="313"/>
          <ac:spMkLst>
            <pc:docMk/>
            <pc:sldMk cId="3766405903" sldId="379"/>
            <ac:spMk id="6" creationId="{BECBA8DF-ABBC-697F-0D5B-3C909AF07EDD}"/>
          </ac:spMkLst>
        </pc:spChg>
        <pc:spChg chg="del">
          <ac:chgData name="Merlin Gutter" userId="2abc6f04-74af-430b-bdc8-569c3bfa1dda" providerId="ADAL" clId="{CB1EFBC3-10F5-3048-8961-5969497C0019}" dt="2022-11-13T01:21:31.306" v="55650" actId="478"/>
          <ac:spMkLst>
            <pc:docMk/>
            <pc:sldMk cId="3766405903" sldId="379"/>
            <ac:spMk id="7" creationId="{81D91D6E-4150-D6BA-BD96-EC56C0B8638D}"/>
          </ac:spMkLst>
        </pc:spChg>
        <pc:spChg chg="del">
          <ac:chgData name="Merlin Gutter" userId="2abc6f04-74af-430b-bdc8-569c3bfa1dda" providerId="ADAL" clId="{CB1EFBC3-10F5-3048-8961-5969497C0019}" dt="2022-11-13T01:21:29.072" v="55648" actId="478"/>
          <ac:spMkLst>
            <pc:docMk/>
            <pc:sldMk cId="3766405903" sldId="379"/>
            <ac:spMk id="8" creationId="{341E50F1-6BB5-7B7F-9E14-8FEDF2D7ADBB}"/>
          </ac:spMkLst>
        </pc:spChg>
        <pc:spChg chg="del">
          <ac:chgData name="Merlin Gutter" userId="2abc6f04-74af-430b-bdc8-569c3bfa1dda" providerId="ADAL" clId="{CB1EFBC3-10F5-3048-8961-5969497C0019}" dt="2022-11-13T01:21:29.923" v="55649" actId="478"/>
          <ac:spMkLst>
            <pc:docMk/>
            <pc:sldMk cId="3766405903" sldId="379"/>
            <ac:spMk id="9" creationId="{61766C4A-69E0-9873-0318-8A6CD81FA309}"/>
          </ac:spMkLst>
        </pc:spChg>
      </pc:sldChg>
      <pc:sldChg chg="new add del">
        <pc:chgData name="Merlin Gutter" userId="2abc6f04-74af-430b-bdc8-569c3bfa1dda" providerId="ADAL" clId="{CB1EFBC3-10F5-3048-8961-5969497C0019}" dt="2022-11-13T01:21:10.661" v="55639" actId="2696"/>
        <pc:sldMkLst>
          <pc:docMk/>
          <pc:sldMk cId="116256732" sldId="380"/>
        </pc:sldMkLst>
      </pc:sldChg>
      <pc:sldChg chg="modSp add mod ord modNotesTx">
        <pc:chgData name="Merlin Gutter" userId="2abc6f04-74af-430b-bdc8-569c3bfa1dda" providerId="ADAL" clId="{CB1EFBC3-10F5-3048-8961-5969497C0019}" dt="2022-11-13T01:28:22.226" v="55704" actId="20577"/>
        <pc:sldMkLst>
          <pc:docMk/>
          <pc:sldMk cId="2226346599" sldId="380"/>
        </pc:sldMkLst>
        <pc:spChg chg="mod">
          <ac:chgData name="Merlin Gutter" userId="2abc6f04-74af-430b-bdc8-569c3bfa1dda" providerId="ADAL" clId="{CB1EFBC3-10F5-3048-8961-5969497C0019}" dt="2022-11-13T01:21:57.499" v="55666" actId="313"/>
          <ac:spMkLst>
            <pc:docMk/>
            <pc:sldMk cId="2226346599" sldId="380"/>
            <ac:spMk id="6" creationId="{BECBA8DF-ABBC-697F-0D5B-3C909AF07EDD}"/>
          </ac:spMkLst>
        </pc:spChg>
      </pc:sldChg>
      <pc:sldChg chg="delSp add del modNotesTx">
        <pc:chgData name="Merlin Gutter" userId="2abc6f04-74af-430b-bdc8-569c3bfa1dda" providerId="ADAL" clId="{CB1EFBC3-10F5-3048-8961-5969497C0019}" dt="2022-11-23T16:38:01.922" v="79405" actId="2696"/>
        <pc:sldMkLst>
          <pc:docMk/>
          <pc:sldMk cId="2035301384" sldId="381"/>
        </pc:sldMkLst>
        <pc:picChg chg="del">
          <ac:chgData name="Merlin Gutter" userId="2abc6f04-74af-430b-bdc8-569c3bfa1dda" providerId="ADAL" clId="{CB1EFBC3-10F5-3048-8961-5969497C0019}" dt="2022-11-13T01:27:04.926" v="55693" actId="478"/>
          <ac:picMkLst>
            <pc:docMk/>
            <pc:sldMk cId="2035301384" sldId="381"/>
            <ac:picMk id="1026" creationId="{045F434F-8149-8D89-FA28-1A62B3E7F77E}"/>
          </ac:picMkLst>
        </pc:picChg>
      </pc:sldChg>
      <pc:sldChg chg="addSp delSp add del mod">
        <pc:chgData name="Merlin Gutter" userId="2abc6f04-74af-430b-bdc8-569c3bfa1dda" providerId="ADAL" clId="{CB1EFBC3-10F5-3048-8961-5969497C0019}" dt="2022-11-16T16:08:21.349" v="56807" actId="2890"/>
        <pc:sldMkLst>
          <pc:docMk/>
          <pc:sldMk cId="117991744" sldId="382"/>
        </pc:sldMkLst>
        <pc:spChg chg="add del">
          <ac:chgData name="Merlin Gutter" userId="2abc6f04-74af-430b-bdc8-569c3bfa1dda" providerId="ADAL" clId="{CB1EFBC3-10F5-3048-8961-5969497C0019}" dt="2022-11-16T16:08:13.237" v="56805" actId="478"/>
          <ac:spMkLst>
            <pc:docMk/>
            <pc:sldMk cId="117991744" sldId="382"/>
            <ac:spMk id="33" creationId="{EEA5B208-C1A1-397E-1440-9735E79EE690}"/>
          </ac:spMkLst>
        </pc:spChg>
        <pc:spChg chg="add del">
          <ac:chgData name="Merlin Gutter" userId="2abc6f04-74af-430b-bdc8-569c3bfa1dda" providerId="ADAL" clId="{CB1EFBC3-10F5-3048-8961-5969497C0019}" dt="2022-11-16T16:08:20.622" v="56806" actId="478"/>
          <ac:spMkLst>
            <pc:docMk/>
            <pc:sldMk cId="117991744" sldId="382"/>
            <ac:spMk id="34" creationId="{AF2D454B-6FB7-B1D6-67DB-5D1510BC82B8}"/>
          </ac:spMkLst>
        </pc:spChg>
      </pc:sldChg>
      <pc:sldChg chg="addSp delSp modSp add del mod">
        <pc:chgData name="Merlin Gutter" userId="2abc6f04-74af-430b-bdc8-569c3bfa1dda" providerId="ADAL" clId="{CB1EFBC3-10F5-3048-8961-5969497C0019}" dt="2022-11-24T19:24:44.565" v="130653"/>
        <pc:sldMkLst>
          <pc:docMk/>
          <pc:sldMk cId="1762539013" sldId="382"/>
        </pc:sldMkLst>
        <pc:spChg chg="add mod topLvl">
          <ac:chgData name="Merlin Gutter" userId="2abc6f04-74af-430b-bdc8-569c3bfa1dda" providerId="ADAL" clId="{CB1EFBC3-10F5-3048-8961-5969497C0019}" dt="2022-11-16T16:12:54.921" v="56849"/>
          <ac:spMkLst>
            <pc:docMk/>
            <pc:sldMk cId="1762539013" sldId="382"/>
            <ac:spMk id="4" creationId="{33455EDC-48A4-11A6-4C15-3CD504E271AC}"/>
          </ac:spMkLst>
        </pc:spChg>
        <pc:spChg chg="add mod topLvl">
          <ac:chgData name="Merlin Gutter" userId="2abc6f04-74af-430b-bdc8-569c3bfa1dda" providerId="ADAL" clId="{CB1EFBC3-10F5-3048-8961-5969497C0019}" dt="2022-11-16T16:15:35.893" v="56897" actId="14100"/>
          <ac:spMkLst>
            <pc:docMk/>
            <pc:sldMk cId="1762539013" sldId="382"/>
            <ac:spMk id="5" creationId="{A764600C-60B9-6A75-1750-41C103E82933}"/>
          </ac:spMkLst>
        </pc:spChg>
        <pc:spChg chg="mod">
          <ac:chgData name="Merlin Gutter" userId="2abc6f04-74af-430b-bdc8-569c3bfa1dda" providerId="ADAL" clId="{CB1EFBC3-10F5-3048-8961-5969497C0019}" dt="2022-11-23T16:52:46.635" v="79438" actId="20577"/>
          <ac:spMkLst>
            <pc:docMk/>
            <pc:sldMk cId="1762539013" sldId="382"/>
            <ac:spMk id="9" creationId="{53004F1F-D459-BEA8-3755-73A896019AC2}"/>
          </ac:spMkLst>
        </pc:spChg>
        <pc:spChg chg="mod">
          <ac:chgData name="Merlin Gutter" userId="2abc6f04-74af-430b-bdc8-569c3bfa1dda" providerId="ADAL" clId="{CB1EFBC3-10F5-3048-8961-5969497C0019}" dt="2022-11-23T16:52:43.446" v="79437" actId="20577"/>
          <ac:spMkLst>
            <pc:docMk/>
            <pc:sldMk cId="1762539013" sldId="382"/>
            <ac:spMk id="10" creationId="{AAEE8545-38C3-143A-F749-6BD8A30176BD}"/>
          </ac:spMkLst>
        </pc:spChg>
        <pc:spChg chg="mod">
          <ac:chgData name="Merlin Gutter" userId="2abc6f04-74af-430b-bdc8-569c3bfa1dda" providerId="ADAL" clId="{CB1EFBC3-10F5-3048-8961-5969497C0019}" dt="2022-11-24T19:24:44.565" v="130653"/>
          <ac:spMkLst>
            <pc:docMk/>
            <pc:sldMk cId="1762539013" sldId="382"/>
            <ac:spMk id="11" creationId="{41F419EC-D04F-3882-FC69-328271C595D5}"/>
          </ac:spMkLst>
        </pc:spChg>
        <pc:spChg chg="mod topLvl">
          <ac:chgData name="Merlin Gutter" userId="2abc6f04-74af-430b-bdc8-569c3bfa1dda" providerId="ADAL" clId="{CB1EFBC3-10F5-3048-8961-5969497C0019}" dt="2022-11-16T16:11:11.976" v="56834" actId="14100"/>
          <ac:spMkLst>
            <pc:docMk/>
            <pc:sldMk cId="1762539013" sldId="382"/>
            <ac:spMk id="29" creationId="{DF7555F6-D916-200F-E714-826F52BAE88F}"/>
          </ac:spMkLst>
        </pc:spChg>
        <pc:spChg chg="mod topLvl">
          <ac:chgData name="Merlin Gutter" userId="2abc6f04-74af-430b-bdc8-569c3bfa1dda" providerId="ADAL" clId="{CB1EFBC3-10F5-3048-8961-5969497C0019}" dt="2022-11-16T16:13:03.594" v="56850" actId="465"/>
          <ac:spMkLst>
            <pc:docMk/>
            <pc:sldMk cId="1762539013" sldId="382"/>
            <ac:spMk id="30" creationId="{204DA5CC-D781-C8B8-5438-2B4C46BBE1D3}"/>
          </ac:spMkLst>
        </pc:spChg>
        <pc:spChg chg="mod topLvl">
          <ac:chgData name="Merlin Gutter" userId="2abc6f04-74af-430b-bdc8-569c3bfa1dda" providerId="ADAL" clId="{CB1EFBC3-10F5-3048-8961-5969497C0019}" dt="2022-11-16T16:14:38.798" v="56862" actId="164"/>
          <ac:spMkLst>
            <pc:docMk/>
            <pc:sldMk cId="1762539013" sldId="382"/>
            <ac:spMk id="33" creationId="{EEA5B208-C1A1-397E-1440-9735E79EE690}"/>
          </ac:spMkLst>
        </pc:spChg>
        <pc:spChg chg="mod topLvl">
          <ac:chgData name="Merlin Gutter" userId="2abc6f04-74af-430b-bdc8-569c3bfa1dda" providerId="ADAL" clId="{CB1EFBC3-10F5-3048-8961-5969497C0019}" dt="2022-11-16T16:14:38.798" v="56862" actId="164"/>
          <ac:spMkLst>
            <pc:docMk/>
            <pc:sldMk cId="1762539013" sldId="382"/>
            <ac:spMk id="34" creationId="{AF2D454B-6FB7-B1D6-67DB-5D1510BC82B8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36" creationId="{831202D0-AF1E-1A5F-FBC2-B1A37CD70EF8}"/>
          </ac:spMkLst>
        </pc:spChg>
        <pc:spChg chg="mod">
          <ac:chgData name="Merlin Gutter" userId="2abc6f04-74af-430b-bdc8-569c3bfa1dda" providerId="ADAL" clId="{CB1EFBC3-10F5-3048-8961-5969497C0019}" dt="2022-11-16T16:42:15.644" v="57144" actId="20577"/>
          <ac:spMkLst>
            <pc:docMk/>
            <pc:sldMk cId="1762539013" sldId="382"/>
            <ac:spMk id="37" creationId="{5375BD5A-D6A1-2BC6-BEAB-C87F9FA48CC4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38" creationId="{0DB56A82-47DC-413D-7EB7-FBA3E0740DBC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39" creationId="{65F934A3-256E-8E21-1A3E-138213931176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40" creationId="{AE47ADB8-6E17-BF19-A358-BCE11F610D5B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55" creationId="{601DB842-392D-D613-D9A6-3A561FCE9B91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56" creationId="{89F2305F-5423-AFAC-EC22-5AC1F8B315FE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57" creationId="{50D2D354-E7AE-938B-F374-7C7F66E065EC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59" creationId="{0FC55C16-3EE6-DBD6-5D56-2C0DE0718EB6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60" creationId="{4E6F59DE-D63E-6B36-0E10-CADFD2A0C6EB}"/>
          </ac:spMkLst>
        </pc:spChg>
        <pc:spChg chg="mod">
          <ac:chgData name="Merlin Gutter" userId="2abc6f04-74af-430b-bdc8-569c3bfa1dda" providerId="ADAL" clId="{CB1EFBC3-10F5-3048-8961-5969497C0019}" dt="2022-11-16T16:14:30.650" v="56860" actId="165"/>
          <ac:spMkLst>
            <pc:docMk/>
            <pc:sldMk cId="1762539013" sldId="382"/>
            <ac:spMk id="61" creationId="{D3AD7CE1-505C-1DC7-0042-6EEC73170839}"/>
          </ac:spMkLst>
        </pc:spChg>
        <pc:spChg chg="mod">
          <ac:chgData name="Merlin Gutter" userId="2abc6f04-74af-430b-bdc8-569c3bfa1dda" providerId="ADAL" clId="{CB1EFBC3-10F5-3048-8961-5969497C0019}" dt="2022-11-16T16:14:36.197" v="56861" actId="165"/>
          <ac:spMkLst>
            <pc:docMk/>
            <pc:sldMk cId="1762539013" sldId="382"/>
            <ac:spMk id="1025" creationId="{E5FE6A88-5D0C-F40D-CDC0-3801E8B0E8B4}"/>
          </ac:spMkLst>
        </pc:spChg>
        <pc:spChg chg="mod">
          <ac:chgData name="Merlin Gutter" userId="2abc6f04-74af-430b-bdc8-569c3bfa1dda" providerId="ADAL" clId="{CB1EFBC3-10F5-3048-8961-5969497C0019}" dt="2022-11-16T16:14:36.197" v="56861" actId="165"/>
          <ac:spMkLst>
            <pc:docMk/>
            <pc:sldMk cId="1762539013" sldId="382"/>
            <ac:spMk id="1027" creationId="{60D1E39D-2293-EB33-E134-BE405DE13F63}"/>
          </ac:spMkLst>
        </pc:spChg>
        <pc:spChg chg="mod">
          <ac:chgData name="Merlin Gutter" userId="2abc6f04-74af-430b-bdc8-569c3bfa1dda" providerId="ADAL" clId="{CB1EFBC3-10F5-3048-8961-5969497C0019}" dt="2022-11-16T16:11:20.601" v="56838"/>
          <ac:spMkLst>
            <pc:docMk/>
            <pc:sldMk cId="1762539013" sldId="382"/>
            <ac:spMk id="1032" creationId="{EDE7119E-69BB-097F-B6C3-D71BBF5C86F8}"/>
          </ac:spMkLst>
        </pc:spChg>
        <pc:spChg chg="mod">
          <ac:chgData name="Merlin Gutter" userId="2abc6f04-74af-430b-bdc8-569c3bfa1dda" providerId="ADAL" clId="{CB1EFBC3-10F5-3048-8961-5969497C0019}" dt="2022-11-16T16:11:20.601" v="56838"/>
          <ac:spMkLst>
            <pc:docMk/>
            <pc:sldMk cId="1762539013" sldId="382"/>
            <ac:spMk id="1033" creationId="{7EB3FFF4-3B11-A71D-2223-C7BEED93FA92}"/>
          </ac:spMkLst>
        </pc:spChg>
        <pc:spChg chg="mod">
          <ac:chgData name="Merlin Gutter" userId="2abc6f04-74af-430b-bdc8-569c3bfa1dda" providerId="ADAL" clId="{CB1EFBC3-10F5-3048-8961-5969497C0019}" dt="2022-11-16T16:11:20.601" v="56838"/>
          <ac:spMkLst>
            <pc:docMk/>
            <pc:sldMk cId="1762539013" sldId="382"/>
            <ac:spMk id="1034" creationId="{DD9B2A48-C539-D9FF-87FF-64E3E940A5EE}"/>
          </ac:spMkLst>
        </pc:spChg>
        <pc:grpChg chg="add del mod topLvl">
          <ac:chgData name="Merlin Gutter" userId="2abc6f04-74af-430b-bdc8-569c3bfa1dda" providerId="ADAL" clId="{CB1EFBC3-10F5-3048-8961-5969497C0019}" dt="2022-11-16T16:14:36.197" v="56861" actId="165"/>
          <ac:grpSpMkLst>
            <pc:docMk/>
            <pc:sldMk cId="1762539013" sldId="382"/>
            <ac:grpSpMk id="2" creationId="{071019C5-EF3C-C069-C710-F3C29DAFE2E9}"/>
          </ac:grpSpMkLst>
        </pc:grpChg>
        <pc:grpChg chg="add mod topLvl">
          <ac:chgData name="Merlin Gutter" userId="2abc6f04-74af-430b-bdc8-569c3bfa1dda" providerId="ADAL" clId="{CB1EFBC3-10F5-3048-8961-5969497C0019}" dt="2022-11-16T16:14:30.650" v="56860" actId="165"/>
          <ac:grpSpMkLst>
            <pc:docMk/>
            <pc:sldMk cId="1762539013" sldId="382"/>
            <ac:grpSpMk id="6" creationId="{1B98FC07-6FEA-607F-7B48-2D8B3A6C7786}"/>
          </ac:grpSpMkLst>
        </pc:grpChg>
        <pc:grpChg chg="add del mod">
          <ac:chgData name="Merlin Gutter" userId="2abc6f04-74af-430b-bdc8-569c3bfa1dda" providerId="ADAL" clId="{CB1EFBC3-10F5-3048-8961-5969497C0019}" dt="2022-11-16T16:10:58.682" v="56830" actId="165"/>
          <ac:grpSpMkLst>
            <pc:docMk/>
            <pc:sldMk cId="1762539013" sldId="382"/>
            <ac:grpSpMk id="13" creationId="{9AFF1A8E-7EBF-4310-04AB-A28DF2567BEA}"/>
          </ac:grpSpMkLst>
        </pc:grpChg>
        <pc:grpChg chg="add del mod">
          <ac:chgData name="Merlin Gutter" userId="2abc6f04-74af-430b-bdc8-569c3bfa1dda" providerId="ADAL" clId="{CB1EFBC3-10F5-3048-8961-5969497C0019}" dt="2022-11-16T16:12:02.471" v="56840" actId="165"/>
          <ac:grpSpMkLst>
            <pc:docMk/>
            <pc:sldMk cId="1762539013" sldId="382"/>
            <ac:grpSpMk id="15" creationId="{5BB866BA-F02A-366E-C953-C3CDE3B74E97}"/>
          </ac:grpSpMkLst>
        </pc:grpChg>
        <pc:grpChg chg="add mod">
          <ac:chgData name="Merlin Gutter" userId="2abc6f04-74af-430b-bdc8-569c3bfa1dda" providerId="ADAL" clId="{CB1EFBC3-10F5-3048-8961-5969497C0019}" dt="2022-11-16T16:13:03.594" v="56850" actId="465"/>
          <ac:grpSpMkLst>
            <pc:docMk/>
            <pc:sldMk cId="1762539013" sldId="382"/>
            <ac:grpSpMk id="19" creationId="{7280A5F2-596A-FE34-98D6-F47400BA57A1}"/>
          </ac:grpSpMkLst>
        </pc:grpChg>
        <pc:grpChg chg="add del mod">
          <ac:chgData name="Merlin Gutter" userId="2abc6f04-74af-430b-bdc8-569c3bfa1dda" providerId="ADAL" clId="{CB1EFBC3-10F5-3048-8961-5969497C0019}" dt="2022-11-16T16:14:30.650" v="56860" actId="165"/>
          <ac:grpSpMkLst>
            <pc:docMk/>
            <pc:sldMk cId="1762539013" sldId="382"/>
            <ac:grpSpMk id="20" creationId="{DB0D0395-C44E-A3D6-3883-FA5B6EBBFAF6}"/>
          </ac:grpSpMkLst>
        </pc:grpChg>
        <pc:grpChg chg="add mod">
          <ac:chgData name="Merlin Gutter" userId="2abc6f04-74af-430b-bdc8-569c3bfa1dda" providerId="ADAL" clId="{CB1EFBC3-10F5-3048-8961-5969497C0019}" dt="2022-11-16T16:14:38.798" v="56862" actId="164"/>
          <ac:grpSpMkLst>
            <pc:docMk/>
            <pc:sldMk cId="1762539013" sldId="382"/>
            <ac:grpSpMk id="21" creationId="{DA4B4607-E73F-8D40-CE11-5CA03B7BA799}"/>
          </ac:grpSpMkLst>
        </pc:grpChg>
        <pc:grpChg chg="mod">
          <ac:chgData name="Merlin Gutter" userId="2abc6f04-74af-430b-bdc8-569c3bfa1dda" providerId="ADAL" clId="{CB1EFBC3-10F5-3048-8961-5969497C0019}" dt="2022-11-16T16:14:30.650" v="56860" actId="165"/>
          <ac:grpSpMkLst>
            <pc:docMk/>
            <pc:sldMk cId="1762539013" sldId="382"/>
            <ac:grpSpMk id="47" creationId="{6340454D-B0FD-F82D-7141-24E7773E443B}"/>
          </ac:grpSpMkLst>
        </pc:grpChg>
        <pc:grpChg chg="mod">
          <ac:chgData name="Merlin Gutter" userId="2abc6f04-74af-430b-bdc8-569c3bfa1dda" providerId="ADAL" clId="{CB1EFBC3-10F5-3048-8961-5969497C0019}" dt="2022-11-16T16:14:30.650" v="56860" actId="165"/>
          <ac:grpSpMkLst>
            <pc:docMk/>
            <pc:sldMk cId="1762539013" sldId="382"/>
            <ac:grpSpMk id="54" creationId="{882BD1F5-AA6D-2193-48EA-E1643C12A01F}"/>
          </ac:grpSpMkLst>
        </pc:grpChg>
        <pc:grpChg chg="mod">
          <ac:chgData name="Merlin Gutter" userId="2abc6f04-74af-430b-bdc8-569c3bfa1dda" providerId="ADAL" clId="{CB1EFBC3-10F5-3048-8961-5969497C0019}" dt="2022-11-16T16:14:30.650" v="56860" actId="165"/>
          <ac:grpSpMkLst>
            <pc:docMk/>
            <pc:sldMk cId="1762539013" sldId="382"/>
            <ac:grpSpMk id="58" creationId="{BBECCDE6-DB0A-FAAE-5109-1450E58D1A22}"/>
          </ac:grpSpMkLst>
        </pc:grpChg>
        <pc:grpChg chg="mod topLvl">
          <ac:chgData name="Merlin Gutter" userId="2abc6f04-74af-430b-bdc8-569c3bfa1dda" providerId="ADAL" clId="{CB1EFBC3-10F5-3048-8961-5969497C0019}" dt="2022-11-16T16:14:38.798" v="56862" actId="164"/>
          <ac:grpSpMkLst>
            <pc:docMk/>
            <pc:sldMk cId="1762539013" sldId="382"/>
            <ac:grpSpMk id="1024" creationId="{7635AD4C-1BA3-78EB-C630-1B36D6B2BA85}"/>
          </ac:grpSpMkLst>
        </pc:grpChg>
        <pc:grpChg chg="mod topLvl">
          <ac:chgData name="Merlin Gutter" userId="2abc6f04-74af-430b-bdc8-569c3bfa1dda" providerId="ADAL" clId="{CB1EFBC3-10F5-3048-8961-5969497C0019}" dt="2022-11-16T16:11:20.601" v="56838"/>
          <ac:grpSpMkLst>
            <pc:docMk/>
            <pc:sldMk cId="1762539013" sldId="382"/>
            <ac:grpSpMk id="1031" creationId="{8484A67E-D67D-D227-364F-277F5CD60B34}"/>
          </ac:grpSpMkLst>
        </pc:grpChg>
        <pc:picChg chg="mod">
          <ac:chgData name="Merlin Gutter" userId="2abc6f04-74af-430b-bdc8-569c3bfa1dda" providerId="ADAL" clId="{CB1EFBC3-10F5-3048-8961-5969497C0019}" dt="2022-11-16T16:25:00.960" v="57131"/>
          <ac:picMkLst>
            <pc:docMk/>
            <pc:sldMk cId="1762539013" sldId="382"/>
            <ac:picMk id="3" creationId="{B6E38844-62E5-CF8F-F67F-CF9B7C5747BF}"/>
          </ac:picMkLst>
        </pc:picChg>
        <pc:picChg chg="mod">
          <ac:chgData name="Merlin Gutter" userId="2abc6f04-74af-430b-bdc8-569c3bfa1dda" providerId="ADAL" clId="{CB1EFBC3-10F5-3048-8961-5969497C0019}" dt="2022-11-16T16:12:43.981" v="56847"/>
          <ac:picMkLst>
            <pc:docMk/>
            <pc:sldMk cId="1762539013" sldId="382"/>
            <ac:picMk id="12" creationId="{EDFA9FDC-68AA-FE07-FC98-2E61DCF00539}"/>
          </ac:picMkLst>
        </pc:picChg>
        <pc:picChg chg="mod">
          <ac:chgData name="Merlin Gutter" userId="2abc6f04-74af-430b-bdc8-569c3bfa1dda" providerId="ADAL" clId="{CB1EFBC3-10F5-3048-8961-5969497C0019}" dt="2022-11-16T16:14:22.447" v="56859"/>
          <ac:picMkLst>
            <pc:docMk/>
            <pc:sldMk cId="1762539013" sldId="382"/>
            <ac:picMk id="1028" creationId="{7614A83A-0CBA-A7F6-9AB7-CB032CD781DE}"/>
          </ac:picMkLst>
        </pc:picChg>
        <pc:picChg chg="mod">
          <ac:chgData name="Merlin Gutter" userId="2abc6f04-74af-430b-bdc8-569c3bfa1dda" providerId="ADAL" clId="{CB1EFBC3-10F5-3048-8961-5969497C0019}" dt="2022-11-16T16:11:40.087" v="56839"/>
          <ac:picMkLst>
            <pc:docMk/>
            <pc:sldMk cId="1762539013" sldId="382"/>
            <ac:picMk id="1030" creationId="{D6914673-009D-DE07-7EA7-89EF6A3FF3BB}"/>
          </ac:picMkLst>
        </pc:picChg>
        <pc:cxnChg chg="mod">
          <ac:chgData name="Merlin Gutter" userId="2abc6f04-74af-430b-bdc8-569c3bfa1dda" providerId="ADAL" clId="{CB1EFBC3-10F5-3048-8961-5969497C0019}" dt="2022-11-16T16:14:13.629" v="56858" actId="465"/>
          <ac:cxnSpMkLst>
            <pc:docMk/>
            <pc:sldMk cId="1762539013" sldId="382"/>
            <ac:cxnSpMk id="14" creationId="{34292759-D037-373F-9F69-511C28E3556D}"/>
          </ac:cxnSpMkLst>
        </pc:cxnChg>
        <pc:cxnChg chg="mod">
          <ac:chgData name="Merlin Gutter" userId="2abc6f04-74af-430b-bdc8-569c3bfa1dda" providerId="ADAL" clId="{CB1EFBC3-10F5-3048-8961-5969497C0019}" dt="2022-11-16T16:14:13.629" v="56858" actId="465"/>
          <ac:cxnSpMkLst>
            <pc:docMk/>
            <pc:sldMk cId="1762539013" sldId="382"/>
            <ac:cxnSpMk id="16" creationId="{04DC1BED-E5BD-05BC-81E5-5E4B00FD2CF8}"/>
          </ac:cxnSpMkLst>
        </pc:cxnChg>
        <pc:cxnChg chg="mod">
          <ac:chgData name="Merlin Gutter" userId="2abc6f04-74af-430b-bdc8-569c3bfa1dda" providerId="ADAL" clId="{CB1EFBC3-10F5-3048-8961-5969497C0019}" dt="2022-11-16T16:09:31.351" v="56820" actId="465"/>
          <ac:cxnSpMkLst>
            <pc:docMk/>
            <pc:sldMk cId="1762539013" sldId="382"/>
            <ac:cxnSpMk id="62" creationId="{6A3130CD-7948-A446-2E8F-4566A1B521D8}"/>
          </ac:cxnSpMkLst>
        </pc:cxnChg>
        <pc:cxnChg chg="mod">
          <ac:chgData name="Merlin Gutter" userId="2abc6f04-74af-430b-bdc8-569c3bfa1dda" providerId="ADAL" clId="{CB1EFBC3-10F5-3048-8961-5969497C0019}" dt="2022-11-16T16:09:31.351" v="56820" actId="465"/>
          <ac:cxnSpMkLst>
            <pc:docMk/>
            <pc:sldMk cId="1762539013" sldId="382"/>
            <ac:cxnSpMk id="63" creationId="{9D061334-F302-8C0B-5B30-985DA493D7A7}"/>
          </ac:cxnSpMkLst>
        </pc:cxnChg>
      </pc:sldChg>
      <pc:sldChg chg="addSp delSp modSp new add del mod modClrScheme chgLayout">
        <pc:chgData name="Merlin Gutter" userId="2abc6f04-74af-430b-bdc8-569c3bfa1dda" providerId="ADAL" clId="{CB1EFBC3-10F5-3048-8961-5969497C0019}" dt="2022-11-16T15:57:31.737" v="56722" actId="2696"/>
        <pc:sldMkLst>
          <pc:docMk/>
          <pc:sldMk cId="2293221068" sldId="382"/>
        </pc:sldMkLst>
        <pc:spChg chg="del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2" creationId="{CBDA199E-D113-CFD3-1524-DEE8E2541446}"/>
          </ac:spMkLst>
        </pc:spChg>
        <pc:spChg chg="del mod ord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3" creationId="{FDA6AE67-B35F-D246-8E3D-E712C634C824}"/>
          </ac:spMkLst>
        </pc:spChg>
        <pc:spChg chg="del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4" creationId="{5B9B01DB-BACB-D18C-8CAA-8008756370B9}"/>
          </ac:spMkLst>
        </pc:spChg>
        <pc:spChg chg="del mod ord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5" creationId="{70F955A7-7FBA-0235-29A0-4CA43A723341}"/>
          </ac:spMkLst>
        </pc:spChg>
        <pc:spChg chg="del mod ord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6" creationId="{B373EEF9-ABF1-4CEB-F0BC-A4D1CD707427}"/>
          </ac:spMkLst>
        </pc:spChg>
        <pc:spChg chg="mod ord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7" creationId="{14706C5A-7A0D-068E-F010-40B86FC2635C}"/>
          </ac:spMkLst>
        </pc:spChg>
        <pc:spChg chg="mod ord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8" creationId="{6B74B740-CF3D-1731-ECD2-6F0A5D072485}"/>
          </ac:spMkLst>
        </pc:spChg>
        <pc:spChg chg="add mod ord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9" creationId="{C8333DF7-8165-9D94-0D8C-7F7CFA5BE4E2}"/>
          </ac:spMkLst>
        </pc:spChg>
        <pc:spChg chg="add mod ord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10" creationId="{89ED34F5-04EA-2687-6BF0-2C8158E1C0D1}"/>
          </ac:spMkLst>
        </pc:spChg>
        <pc:spChg chg="add mod ord">
          <ac:chgData name="Merlin Gutter" userId="2abc6f04-74af-430b-bdc8-569c3bfa1dda" providerId="ADAL" clId="{CB1EFBC3-10F5-3048-8961-5969497C0019}" dt="2022-11-16T15:42:25.051" v="56406"/>
          <ac:spMkLst>
            <pc:docMk/>
            <pc:sldMk cId="2293221068" sldId="382"/>
            <ac:spMk id="11" creationId="{CFBDC5D9-F6A2-8CF6-7039-B8484CFEF28A}"/>
          </ac:spMkLst>
        </pc:spChg>
        <pc:spChg chg="add mod">
          <ac:chgData name="Merlin Gutter" userId="2abc6f04-74af-430b-bdc8-569c3bfa1dda" providerId="ADAL" clId="{CB1EFBC3-10F5-3048-8961-5969497C0019}" dt="2022-11-16T15:47:26.455" v="56527" actId="14100"/>
          <ac:spMkLst>
            <pc:docMk/>
            <pc:sldMk cId="2293221068" sldId="382"/>
            <ac:spMk id="12" creationId="{405F8EE8-F127-FD25-6CA9-A9ECFDC66F9A}"/>
          </ac:spMkLst>
        </pc:spChg>
        <pc:spChg chg="add mod">
          <ac:chgData name="Merlin Gutter" userId="2abc6f04-74af-430b-bdc8-569c3bfa1dda" providerId="ADAL" clId="{CB1EFBC3-10F5-3048-8961-5969497C0019}" dt="2022-11-16T15:47:26.455" v="56527" actId="14100"/>
          <ac:spMkLst>
            <pc:docMk/>
            <pc:sldMk cId="2293221068" sldId="382"/>
            <ac:spMk id="13" creationId="{782F4961-EEBE-EE2E-E9D0-ED81D61F8C2F}"/>
          </ac:spMkLst>
        </pc:spChg>
        <pc:spChg chg="add mod">
          <ac:chgData name="Merlin Gutter" userId="2abc6f04-74af-430b-bdc8-569c3bfa1dda" providerId="ADAL" clId="{CB1EFBC3-10F5-3048-8961-5969497C0019}" dt="2022-11-16T15:47:26.455" v="56527" actId="14100"/>
          <ac:spMkLst>
            <pc:docMk/>
            <pc:sldMk cId="2293221068" sldId="382"/>
            <ac:spMk id="14" creationId="{84557024-649F-6095-2AFE-B5046B85D5FE}"/>
          </ac:spMkLst>
        </pc:spChg>
        <pc:spChg chg="add del mod">
          <ac:chgData name="Merlin Gutter" userId="2abc6f04-74af-430b-bdc8-569c3bfa1dda" providerId="ADAL" clId="{CB1EFBC3-10F5-3048-8961-5969497C0019}" dt="2022-11-16T15:45:47.747" v="56507"/>
          <ac:spMkLst>
            <pc:docMk/>
            <pc:sldMk cId="2293221068" sldId="382"/>
            <ac:spMk id="15" creationId="{57356E8A-D373-1722-EE4C-964C114D3013}"/>
          </ac:spMkLst>
        </pc:spChg>
        <pc:spChg chg="add mod">
          <ac:chgData name="Merlin Gutter" userId="2abc6f04-74af-430b-bdc8-569c3bfa1dda" providerId="ADAL" clId="{CB1EFBC3-10F5-3048-8961-5969497C0019}" dt="2022-11-16T15:47:07.111" v="56524" actId="255"/>
          <ac:spMkLst>
            <pc:docMk/>
            <pc:sldMk cId="2293221068" sldId="382"/>
            <ac:spMk id="16" creationId="{0C7D8D46-C0C5-4AAA-C9B2-31D6F71638C6}"/>
          </ac:spMkLst>
        </pc:spChg>
        <pc:spChg chg="add mod">
          <ac:chgData name="Merlin Gutter" userId="2abc6f04-74af-430b-bdc8-569c3bfa1dda" providerId="ADAL" clId="{CB1EFBC3-10F5-3048-8961-5969497C0019}" dt="2022-11-16T15:47:07.111" v="56524" actId="255"/>
          <ac:spMkLst>
            <pc:docMk/>
            <pc:sldMk cId="2293221068" sldId="382"/>
            <ac:spMk id="17" creationId="{06495FF9-C68C-05C7-A76B-825E3165D929}"/>
          </ac:spMkLst>
        </pc:spChg>
        <pc:spChg chg="add mod">
          <ac:chgData name="Merlin Gutter" userId="2abc6f04-74af-430b-bdc8-569c3bfa1dda" providerId="ADAL" clId="{CB1EFBC3-10F5-3048-8961-5969497C0019}" dt="2022-11-16T15:47:07.111" v="56524" actId="255"/>
          <ac:spMkLst>
            <pc:docMk/>
            <pc:sldMk cId="2293221068" sldId="382"/>
            <ac:spMk id="18" creationId="{2ECBA14C-24AA-C4C7-2B8B-0867202E8CC0}"/>
          </ac:spMkLst>
        </pc:spChg>
        <pc:spChg chg="add mod">
          <ac:chgData name="Merlin Gutter" userId="2abc6f04-74af-430b-bdc8-569c3bfa1dda" providerId="ADAL" clId="{CB1EFBC3-10F5-3048-8961-5969497C0019}" dt="2022-11-16T15:47:07.111" v="56524" actId="255"/>
          <ac:spMkLst>
            <pc:docMk/>
            <pc:sldMk cId="2293221068" sldId="382"/>
            <ac:spMk id="19" creationId="{4B4EC171-1E99-4AB5-CFAA-C1C20BD961C2}"/>
          </ac:spMkLst>
        </pc:spChg>
        <pc:spChg chg="add mod">
          <ac:chgData name="Merlin Gutter" userId="2abc6f04-74af-430b-bdc8-569c3bfa1dda" providerId="ADAL" clId="{CB1EFBC3-10F5-3048-8961-5969497C0019}" dt="2022-11-16T15:47:07.111" v="56524" actId="255"/>
          <ac:spMkLst>
            <pc:docMk/>
            <pc:sldMk cId="2293221068" sldId="382"/>
            <ac:spMk id="20" creationId="{D9F0DFE6-B972-0960-1E5D-C509BE1C758E}"/>
          </ac:spMkLst>
        </pc:spChg>
        <pc:spChg chg="add mod">
          <ac:chgData name="Merlin Gutter" userId="2abc6f04-74af-430b-bdc8-569c3bfa1dda" providerId="ADAL" clId="{CB1EFBC3-10F5-3048-8961-5969497C0019}" dt="2022-11-16T15:47:07.111" v="56524" actId="255"/>
          <ac:spMkLst>
            <pc:docMk/>
            <pc:sldMk cId="2293221068" sldId="382"/>
            <ac:spMk id="21" creationId="{B91295EE-6B7E-8589-0888-37B168D0D35A}"/>
          </ac:spMkLst>
        </pc:spChg>
      </pc:sldChg>
      <pc:sldChg chg="addSp delSp modSp new add mod ord modClrScheme chgLayout">
        <pc:chgData name="Merlin Gutter" userId="2abc6f04-74af-430b-bdc8-569c3bfa1dda" providerId="ADAL" clId="{CB1EFBC3-10F5-3048-8961-5969497C0019}" dt="2022-11-23T18:19:53.119" v="116145"/>
        <pc:sldMkLst>
          <pc:docMk/>
          <pc:sldMk cId="4027274365" sldId="383"/>
        </pc:sldMkLst>
        <pc:spChg chg="add del mod">
          <ac:chgData name="Merlin Gutter" userId="2abc6f04-74af-430b-bdc8-569c3bfa1dda" providerId="ADAL" clId="{CB1EFBC3-10F5-3048-8961-5969497C0019}" dt="2022-11-23T18:19:53.119" v="116145"/>
          <ac:spMkLst>
            <pc:docMk/>
            <pc:sldMk cId="4027274365" sldId="383"/>
            <ac:spMk id="2" creationId="{63F5FDBF-5A9F-F512-3C46-38675CE35BD3}"/>
          </ac:spMkLst>
        </pc:spChg>
        <pc:spChg chg="del">
          <ac:chgData name="Merlin Gutter" userId="2abc6f04-74af-430b-bdc8-569c3bfa1dda" providerId="ADAL" clId="{CB1EFBC3-10F5-3048-8961-5969497C0019}" dt="2022-11-16T16:16:44.850" v="56901"/>
          <ac:spMkLst>
            <pc:docMk/>
            <pc:sldMk cId="4027274365" sldId="383"/>
            <ac:spMk id="2" creationId="{9D8C1308-F022-9356-25FD-0BC21163BF48}"/>
          </ac:spMkLst>
        </pc:spChg>
        <pc:spChg chg="del mod ord">
          <ac:chgData name="Merlin Gutter" userId="2abc6f04-74af-430b-bdc8-569c3bfa1dda" providerId="ADAL" clId="{CB1EFBC3-10F5-3048-8961-5969497C0019}" dt="2022-11-16T16:16:44.850" v="56901"/>
          <ac:spMkLst>
            <pc:docMk/>
            <pc:sldMk cId="4027274365" sldId="383"/>
            <ac:spMk id="3" creationId="{423D3071-045F-8BB7-3C32-A6F5A7E0F0E8}"/>
          </ac:spMkLst>
        </pc:spChg>
        <pc:spChg chg="del">
          <ac:chgData name="Merlin Gutter" userId="2abc6f04-74af-430b-bdc8-569c3bfa1dda" providerId="ADAL" clId="{CB1EFBC3-10F5-3048-8961-5969497C0019}" dt="2022-11-16T16:16:44.850" v="56901"/>
          <ac:spMkLst>
            <pc:docMk/>
            <pc:sldMk cId="4027274365" sldId="383"/>
            <ac:spMk id="4" creationId="{7BF4FBED-6D3B-5B1D-4616-263DA01F8DD5}"/>
          </ac:spMkLst>
        </pc:spChg>
        <pc:spChg chg="del mod ord">
          <ac:chgData name="Merlin Gutter" userId="2abc6f04-74af-430b-bdc8-569c3bfa1dda" providerId="ADAL" clId="{CB1EFBC3-10F5-3048-8961-5969497C0019}" dt="2022-11-16T16:16:44.850" v="56901"/>
          <ac:spMkLst>
            <pc:docMk/>
            <pc:sldMk cId="4027274365" sldId="383"/>
            <ac:spMk id="5" creationId="{2F6DB3C1-4F27-A7D4-2745-20711A616CA2}"/>
          </ac:spMkLst>
        </pc:spChg>
        <pc:spChg chg="del mod ord">
          <ac:chgData name="Merlin Gutter" userId="2abc6f04-74af-430b-bdc8-569c3bfa1dda" providerId="ADAL" clId="{CB1EFBC3-10F5-3048-8961-5969497C0019}" dt="2022-11-16T16:16:44.850" v="56901"/>
          <ac:spMkLst>
            <pc:docMk/>
            <pc:sldMk cId="4027274365" sldId="383"/>
            <ac:spMk id="6" creationId="{229280D8-A906-F3F0-6B7C-D453BC230E44}"/>
          </ac:spMkLst>
        </pc:spChg>
        <pc:spChg chg="mod ord">
          <ac:chgData name="Merlin Gutter" userId="2abc6f04-74af-430b-bdc8-569c3bfa1dda" providerId="ADAL" clId="{CB1EFBC3-10F5-3048-8961-5969497C0019}" dt="2022-11-16T16:16:44.850" v="56901"/>
          <ac:spMkLst>
            <pc:docMk/>
            <pc:sldMk cId="4027274365" sldId="383"/>
            <ac:spMk id="7" creationId="{CBE1ED25-D997-DACC-28A9-52E970CA2681}"/>
          </ac:spMkLst>
        </pc:spChg>
        <pc:spChg chg="mod ord">
          <ac:chgData name="Merlin Gutter" userId="2abc6f04-74af-430b-bdc8-569c3bfa1dda" providerId="ADAL" clId="{CB1EFBC3-10F5-3048-8961-5969497C0019}" dt="2022-11-16T16:16:44.850" v="56901"/>
          <ac:spMkLst>
            <pc:docMk/>
            <pc:sldMk cId="4027274365" sldId="383"/>
            <ac:spMk id="8" creationId="{9E89391D-D957-B3DB-8067-801E98EDB24A}"/>
          </ac:spMkLst>
        </pc:spChg>
        <pc:spChg chg="add mod ord">
          <ac:chgData name="Merlin Gutter" userId="2abc6f04-74af-430b-bdc8-569c3bfa1dda" providerId="ADAL" clId="{CB1EFBC3-10F5-3048-8961-5969497C0019}" dt="2022-11-23T18:19:52.398" v="116143" actId="20577"/>
          <ac:spMkLst>
            <pc:docMk/>
            <pc:sldMk cId="4027274365" sldId="383"/>
            <ac:spMk id="9" creationId="{237CF0ED-E0FE-A73D-850A-95C3D385B42D}"/>
          </ac:spMkLst>
        </pc:spChg>
        <pc:spChg chg="add mod ord">
          <ac:chgData name="Merlin Gutter" userId="2abc6f04-74af-430b-bdc8-569c3bfa1dda" providerId="ADAL" clId="{CB1EFBC3-10F5-3048-8961-5969497C0019}" dt="2022-11-23T18:19:49.748" v="116142" actId="20577"/>
          <ac:spMkLst>
            <pc:docMk/>
            <pc:sldMk cId="4027274365" sldId="383"/>
            <ac:spMk id="10" creationId="{31035837-2FFC-C950-6F0C-E5BDE56638E9}"/>
          </ac:spMkLst>
        </pc:spChg>
        <pc:spChg chg="add mod ord">
          <ac:chgData name="Merlin Gutter" userId="2abc6f04-74af-430b-bdc8-569c3bfa1dda" providerId="ADAL" clId="{CB1EFBC3-10F5-3048-8961-5969497C0019}" dt="2022-11-16T17:45:23.162" v="57628" actId="20577"/>
          <ac:spMkLst>
            <pc:docMk/>
            <pc:sldMk cId="4027274365" sldId="383"/>
            <ac:spMk id="11" creationId="{63BACCE5-C7A5-88FA-7EB3-0EE173BED77E}"/>
          </ac:spMkLst>
        </pc:spChg>
        <pc:spChg chg="add del mod">
          <ac:chgData name="Merlin Gutter" userId="2abc6f04-74af-430b-bdc8-569c3bfa1dda" providerId="ADAL" clId="{CB1EFBC3-10F5-3048-8961-5969497C0019}" dt="2022-11-16T16:42:57.915" v="57160"/>
          <ac:spMkLst>
            <pc:docMk/>
            <pc:sldMk cId="4027274365" sldId="383"/>
            <ac:spMk id="13" creationId="{2F4AC815-A4C8-8586-93D0-C5E22AC3F1BC}"/>
          </ac:spMkLst>
        </pc:spChg>
        <pc:spChg chg="add del mod">
          <ac:chgData name="Merlin Gutter" userId="2abc6f04-74af-430b-bdc8-569c3bfa1dda" providerId="ADAL" clId="{CB1EFBC3-10F5-3048-8961-5969497C0019}" dt="2022-11-16T16:42:57.915" v="57160"/>
          <ac:spMkLst>
            <pc:docMk/>
            <pc:sldMk cId="4027274365" sldId="383"/>
            <ac:spMk id="14" creationId="{474DE759-F2E4-D68A-F89E-2A4569645F5A}"/>
          </ac:spMkLst>
        </pc:spChg>
        <pc:spChg chg="add mod topLvl">
          <ac:chgData name="Merlin Gutter" userId="2abc6f04-74af-430b-bdc8-569c3bfa1dda" providerId="ADAL" clId="{CB1EFBC3-10F5-3048-8961-5969497C0019}" dt="2022-11-16T17:40:08.037" v="57614" actId="14100"/>
          <ac:spMkLst>
            <pc:docMk/>
            <pc:sldMk cId="4027274365" sldId="383"/>
            <ac:spMk id="15" creationId="{45CBC4FF-124C-708C-AE64-90E7005F7B89}"/>
          </ac:spMkLst>
        </pc:spChg>
        <pc:spChg chg="add 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16" creationId="{14139348-0148-18BC-97C6-2A769CB812AD}"/>
          </ac:spMkLst>
        </pc:spChg>
        <pc:spChg chg="mod topLvl">
          <ac:chgData name="Merlin Gutter" userId="2abc6f04-74af-430b-bdc8-569c3bfa1dda" providerId="ADAL" clId="{CB1EFBC3-10F5-3048-8961-5969497C0019}" dt="2022-11-16T17:02:49.800" v="57559"/>
          <ac:spMkLst>
            <pc:docMk/>
            <pc:sldMk cId="4027274365" sldId="383"/>
            <ac:spMk id="18" creationId="{758EFB2D-5359-987A-F498-AF05AAC0B6E5}"/>
          </ac:spMkLst>
        </pc:spChg>
        <pc:spChg chg="mod topLvl">
          <ac:chgData name="Merlin Gutter" userId="2abc6f04-74af-430b-bdc8-569c3bfa1dda" providerId="ADAL" clId="{CB1EFBC3-10F5-3048-8961-5969497C0019}" dt="2022-11-16T17:02:49.800" v="57559"/>
          <ac:spMkLst>
            <pc:docMk/>
            <pc:sldMk cId="4027274365" sldId="383"/>
            <ac:spMk id="19" creationId="{283AA217-794A-FC96-49A8-026737E193D6}"/>
          </ac:spMkLst>
        </pc:spChg>
        <pc:spChg chg="del mod">
          <ac:chgData name="Merlin Gutter" userId="2abc6f04-74af-430b-bdc8-569c3bfa1dda" providerId="ADAL" clId="{CB1EFBC3-10F5-3048-8961-5969497C0019}" dt="2022-11-16T16:44:45.537" v="57195" actId="478"/>
          <ac:spMkLst>
            <pc:docMk/>
            <pc:sldMk cId="4027274365" sldId="383"/>
            <ac:spMk id="20" creationId="{4F9078B9-482B-D0D3-63E9-08C57D07B1DE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22" creationId="{B09A918A-23E9-A9D0-0EE2-ADC10912EEEB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23" creationId="{D6B92BA7-5A0A-5985-56DC-76D7C09DBB02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25" creationId="{1E5EDD7F-3CFB-D03A-33B2-A8D155E24399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26" creationId="{F5942D3F-5B57-D2C7-053A-0C123D63EBFC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28" creationId="{E08E1D0D-6AC0-7FEF-626B-E029CC9321B6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29" creationId="{306527A9-861A-3A3E-A741-77336FC7DDDD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31" creationId="{00B0C6FF-2AD0-5969-E721-F07DE5828AAC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32" creationId="{33237BE8-8BF3-E2BC-4A86-FC169F1DBD39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34" creationId="{A60BE729-850D-D6A4-8083-283EBD7AB214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35" creationId="{A55A7062-2736-ACFE-0ACC-7CD7541D4663}"/>
          </ac:spMkLst>
        </pc:spChg>
        <pc:spChg chg="mod">
          <ac:chgData name="Merlin Gutter" userId="2abc6f04-74af-430b-bdc8-569c3bfa1dda" providerId="ADAL" clId="{CB1EFBC3-10F5-3048-8961-5969497C0019}" dt="2022-11-16T16:53:56.991" v="57377"/>
          <ac:spMkLst>
            <pc:docMk/>
            <pc:sldMk cId="4027274365" sldId="383"/>
            <ac:spMk id="37" creationId="{E6D10527-46B7-C39D-21B1-4E509A68550D}"/>
          </ac:spMkLst>
        </pc:spChg>
        <pc:spChg chg="mod">
          <ac:chgData name="Merlin Gutter" userId="2abc6f04-74af-430b-bdc8-569c3bfa1dda" providerId="ADAL" clId="{CB1EFBC3-10F5-3048-8961-5969497C0019}" dt="2022-11-16T16:53:56.991" v="57377"/>
          <ac:spMkLst>
            <pc:docMk/>
            <pc:sldMk cId="4027274365" sldId="383"/>
            <ac:spMk id="38" creationId="{6AA25582-3350-AD1A-5412-778019166E96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40" creationId="{1EB927A3-685A-6E0A-E495-278FEAC7EA79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41" creationId="{0D8AFB18-22C4-5FA2-890E-A1B4EB57BC65}"/>
          </ac:spMkLst>
        </pc:spChg>
        <pc:spChg chg="mod">
          <ac:chgData name="Merlin Gutter" userId="2abc6f04-74af-430b-bdc8-569c3bfa1dda" providerId="ADAL" clId="{CB1EFBC3-10F5-3048-8961-5969497C0019}" dt="2022-11-16T17:00:03.118" v="57502"/>
          <ac:spMkLst>
            <pc:docMk/>
            <pc:sldMk cId="4027274365" sldId="383"/>
            <ac:spMk id="55" creationId="{0643EEE0-6917-7F4A-7D8E-D21ED1D8AD69}"/>
          </ac:spMkLst>
        </pc:spChg>
        <pc:spChg chg="mod">
          <ac:chgData name="Merlin Gutter" userId="2abc6f04-74af-430b-bdc8-569c3bfa1dda" providerId="ADAL" clId="{CB1EFBC3-10F5-3048-8961-5969497C0019}" dt="2022-11-16T17:00:03.118" v="57502"/>
          <ac:spMkLst>
            <pc:docMk/>
            <pc:sldMk cId="4027274365" sldId="383"/>
            <ac:spMk id="56" creationId="{1BA3004C-FE32-66C0-04C8-2AEF8B95D294}"/>
          </ac:spMkLst>
        </pc:spChg>
        <pc:spChg chg="mod topLvl">
          <ac:chgData name="Merlin Gutter" userId="2abc6f04-74af-430b-bdc8-569c3bfa1dda" providerId="ADAL" clId="{CB1EFBC3-10F5-3048-8961-5969497C0019}" dt="2022-11-16T17:40:15.740" v="57616" actId="14100"/>
          <ac:spMkLst>
            <pc:docMk/>
            <pc:sldMk cId="4027274365" sldId="383"/>
            <ac:spMk id="59" creationId="{01548884-B2C6-50A0-B3FD-90FB9FE86E5F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60" creationId="{15251034-93AC-05DA-6595-D3BD82435386}"/>
          </ac:spMkLst>
        </pc:spChg>
        <pc:spChg chg="mod">
          <ac:chgData name="Merlin Gutter" userId="2abc6f04-74af-430b-bdc8-569c3bfa1dda" providerId="ADAL" clId="{CB1EFBC3-10F5-3048-8961-5969497C0019}" dt="2022-11-16T17:08:36.893" v="57605"/>
          <ac:spMkLst>
            <pc:docMk/>
            <pc:sldMk cId="4027274365" sldId="383"/>
            <ac:spMk id="68" creationId="{A4AB25C2-E011-002E-9FC4-67105D1DA1B3}"/>
          </ac:spMkLst>
        </pc:spChg>
        <pc:spChg chg="mod">
          <ac:chgData name="Merlin Gutter" userId="2abc6f04-74af-430b-bdc8-569c3bfa1dda" providerId="ADAL" clId="{CB1EFBC3-10F5-3048-8961-5969497C0019}" dt="2022-11-16T17:08:36.893" v="57605"/>
          <ac:spMkLst>
            <pc:docMk/>
            <pc:sldMk cId="4027274365" sldId="383"/>
            <ac:spMk id="69" creationId="{CE437553-9B9B-65FD-5688-71FC13C18182}"/>
          </ac:spMkLst>
        </pc:spChg>
        <pc:spChg chg="mod topLvl">
          <ac:chgData name="Merlin Gutter" userId="2abc6f04-74af-430b-bdc8-569c3bfa1dda" providerId="ADAL" clId="{CB1EFBC3-10F5-3048-8961-5969497C0019}" dt="2022-11-16T17:45:08.024" v="57621" actId="408"/>
          <ac:spMkLst>
            <pc:docMk/>
            <pc:sldMk cId="4027274365" sldId="383"/>
            <ac:spMk id="71" creationId="{0B4C1C6E-EA42-5F7D-651B-B0AACEB17204}"/>
          </ac:spMkLst>
        </pc:spChg>
        <pc:spChg chg="mod topLvl">
          <ac:chgData name="Merlin Gutter" userId="2abc6f04-74af-430b-bdc8-569c3bfa1dda" providerId="ADAL" clId="{CB1EFBC3-10F5-3048-8961-5969497C0019}" dt="2022-11-16T17:45:17.372" v="57622" actId="20577"/>
          <ac:spMkLst>
            <pc:docMk/>
            <pc:sldMk cId="4027274365" sldId="383"/>
            <ac:spMk id="72" creationId="{1A167F3B-F038-E8EC-2761-FACB7B3CFAA6}"/>
          </ac:spMkLst>
        </pc:spChg>
        <pc:grpChg chg="add del mod">
          <ac:chgData name="Merlin Gutter" userId="2abc6f04-74af-430b-bdc8-569c3bfa1dda" providerId="ADAL" clId="{CB1EFBC3-10F5-3048-8961-5969497C0019}" dt="2022-11-16T16:55:49.251" v="57406" actId="165"/>
          <ac:grpSpMkLst>
            <pc:docMk/>
            <pc:sldMk cId="4027274365" sldId="383"/>
            <ac:grpSpMk id="17" creationId="{E8A1C1AC-4E97-336D-C1CC-269D98165459}"/>
          </ac:grpSpMkLst>
        </pc:grpChg>
        <pc:grpChg chg="add del mod">
          <ac:chgData name="Merlin Gutter" userId="2abc6f04-74af-430b-bdc8-569c3bfa1dda" providerId="ADAL" clId="{CB1EFBC3-10F5-3048-8961-5969497C0019}" dt="2022-11-16T16:57:40.033" v="57456" actId="165"/>
          <ac:grpSpMkLst>
            <pc:docMk/>
            <pc:sldMk cId="4027274365" sldId="383"/>
            <ac:grpSpMk id="21" creationId="{64773214-8009-F62E-C92F-D5A8DD29C91B}"/>
          </ac:grpSpMkLst>
        </pc:grpChg>
        <pc:grpChg chg="add del mod">
          <ac:chgData name="Merlin Gutter" userId="2abc6f04-74af-430b-bdc8-569c3bfa1dda" providerId="ADAL" clId="{CB1EFBC3-10F5-3048-8961-5969497C0019}" dt="2022-11-16T16:57:40.033" v="57456" actId="165"/>
          <ac:grpSpMkLst>
            <pc:docMk/>
            <pc:sldMk cId="4027274365" sldId="383"/>
            <ac:grpSpMk id="24" creationId="{B6A68C5B-A90F-A0C4-0572-59BC89629F12}"/>
          </ac:grpSpMkLst>
        </pc:grpChg>
        <pc:grpChg chg="add del mod">
          <ac:chgData name="Merlin Gutter" userId="2abc6f04-74af-430b-bdc8-569c3bfa1dda" providerId="ADAL" clId="{CB1EFBC3-10F5-3048-8961-5969497C0019}" dt="2022-11-16T16:57:40.033" v="57456" actId="165"/>
          <ac:grpSpMkLst>
            <pc:docMk/>
            <pc:sldMk cId="4027274365" sldId="383"/>
            <ac:grpSpMk id="27" creationId="{1154E760-A7FD-BA86-A032-2215A97A7F88}"/>
          </ac:grpSpMkLst>
        </pc:grpChg>
        <pc:grpChg chg="add del mod">
          <ac:chgData name="Merlin Gutter" userId="2abc6f04-74af-430b-bdc8-569c3bfa1dda" providerId="ADAL" clId="{CB1EFBC3-10F5-3048-8961-5969497C0019}" dt="2022-11-16T16:57:40.033" v="57456" actId="165"/>
          <ac:grpSpMkLst>
            <pc:docMk/>
            <pc:sldMk cId="4027274365" sldId="383"/>
            <ac:grpSpMk id="30" creationId="{735DD2F3-F6C9-C1D4-8C16-7D64F526AC67}"/>
          </ac:grpSpMkLst>
        </pc:grpChg>
        <pc:grpChg chg="add del mod">
          <ac:chgData name="Merlin Gutter" userId="2abc6f04-74af-430b-bdc8-569c3bfa1dda" providerId="ADAL" clId="{CB1EFBC3-10F5-3048-8961-5969497C0019}" dt="2022-11-16T16:57:40.033" v="57456" actId="165"/>
          <ac:grpSpMkLst>
            <pc:docMk/>
            <pc:sldMk cId="4027274365" sldId="383"/>
            <ac:grpSpMk id="33" creationId="{38DD848B-6ADE-B1E4-AAE8-415E7A94AC97}"/>
          </ac:grpSpMkLst>
        </pc:grpChg>
        <pc:grpChg chg="add del mod">
          <ac:chgData name="Merlin Gutter" userId="2abc6f04-74af-430b-bdc8-569c3bfa1dda" providerId="ADAL" clId="{CB1EFBC3-10F5-3048-8961-5969497C0019}" dt="2022-11-16T16:54:00.724" v="57379" actId="478"/>
          <ac:grpSpMkLst>
            <pc:docMk/>
            <pc:sldMk cId="4027274365" sldId="383"/>
            <ac:grpSpMk id="36" creationId="{C30E988F-07FA-D8A0-C674-C8508D2E2462}"/>
          </ac:grpSpMkLst>
        </pc:grpChg>
        <pc:grpChg chg="add del mod">
          <ac:chgData name="Merlin Gutter" userId="2abc6f04-74af-430b-bdc8-569c3bfa1dda" providerId="ADAL" clId="{CB1EFBC3-10F5-3048-8961-5969497C0019}" dt="2022-11-16T16:57:40.033" v="57456" actId="165"/>
          <ac:grpSpMkLst>
            <pc:docMk/>
            <pc:sldMk cId="4027274365" sldId="383"/>
            <ac:grpSpMk id="39" creationId="{BAED6145-F7E3-89D3-765A-880FF9FA9315}"/>
          </ac:grpSpMkLst>
        </pc:grpChg>
        <pc:grpChg chg="add del mod topLvl">
          <ac:chgData name="Merlin Gutter" userId="2abc6f04-74af-430b-bdc8-569c3bfa1dda" providerId="ADAL" clId="{CB1EFBC3-10F5-3048-8961-5969497C0019}" dt="2022-11-16T17:29:52.309" v="57612" actId="165"/>
          <ac:grpSpMkLst>
            <pc:docMk/>
            <pc:sldMk cId="4027274365" sldId="383"/>
            <ac:grpSpMk id="42" creationId="{26CC6718-02B6-B595-9E12-CE3B9134302D}"/>
          </ac:grpSpMkLst>
        </pc:grpChg>
        <pc:grpChg chg="add del mod topLvl">
          <ac:chgData name="Merlin Gutter" userId="2abc6f04-74af-430b-bdc8-569c3bfa1dda" providerId="ADAL" clId="{CB1EFBC3-10F5-3048-8961-5969497C0019}" dt="2022-11-16T17:01:57.847" v="57540" actId="165"/>
          <ac:grpSpMkLst>
            <pc:docMk/>
            <pc:sldMk cId="4027274365" sldId="383"/>
            <ac:grpSpMk id="43" creationId="{FC44567D-8F3F-E79B-8B2C-B876B7165A57}"/>
          </ac:grpSpMkLst>
        </pc:grpChg>
        <pc:grpChg chg="add del mod">
          <ac:chgData name="Merlin Gutter" userId="2abc6f04-74af-430b-bdc8-569c3bfa1dda" providerId="ADAL" clId="{CB1EFBC3-10F5-3048-8961-5969497C0019}" dt="2022-11-16T17:01:57.847" v="57540" actId="165"/>
          <ac:grpSpMkLst>
            <pc:docMk/>
            <pc:sldMk cId="4027274365" sldId="383"/>
            <ac:grpSpMk id="44" creationId="{459F1994-0017-8D63-0BC3-1587962300D5}"/>
          </ac:grpSpMkLst>
        </pc:grpChg>
        <pc:grpChg chg="add del mod">
          <ac:chgData name="Merlin Gutter" userId="2abc6f04-74af-430b-bdc8-569c3bfa1dda" providerId="ADAL" clId="{CB1EFBC3-10F5-3048-8961-5969497C0019}" dt="2022-11-16T17:01:57.847" v="57540" actId="165"/>
          <ac:grpSpMkLst>
            <pc:docMk/>
            <pc:sldMk cId="4027274365" sldId="383"/>
            <ac:grpSpMk id="45" creationId="{90FD3970-9E2C-821B-6CAE-E863FFF082B9}"/>
          </ac:grpSpMkLst>
        </pc:grpChg>
        <pc:grpChg chg="add del mod">
          <ac:chgData name="Merlin Gutter" userId="2abc6f04-74af-430b-bdc8-569c3bfa1dda" providerId="ADAL" clId="{CB1EFBC3-10F5-3048-8961-5969497C0019}" dt="2022-11-16T17:01:57.847" v="57540" actId="165"/>
          <ac:grpSpMkLst>
            <pc:docMk/>
            <pc:sldMk cId="4027274365" sldId="383"/>
            <ac:grpSpMk id="46" creationId="{9B235FAD-0C2B-8C22-4F4F-2530A8C61CAF}"/>
          </ac:grpSpMkLst>
        </pc:grpChg>
        <pc:grpChg chg="add del mod">
          <ac:chgData name="Merlin Gutter" userId="2abc6f04-74af-430b-bdc8-569c3bfa1dda" providerId="ADAL" clId="{CB1EFBC3-10F5-3048-8961-5969497C0019}" dt="2022-11-16T17:01:57.847" v="57540" actId="165"/>
          <ac:grpSpMkLst>
            <pc:docMk/>
            <pc:sldMk cId="4027274365" sldId="383"/>
            <ac:grpSpMk id="47" creationId="{715071D2-9F7A-5680-151B-26B4D2915B6C}"/>
          </ac:grpSpMkLst>
        </pc:grpChg>
        <pc:grpChg chg="add del mod">
          <ac:chgData name="Merlin Gutter" userId="2abc6f04-74af-430b-bdc8-569c3bfa1dda" providerId="ADAL" clId="{CB1EFBC3-10F5-3048-8961-5969497C0019}" dt="2022-11-16T17:01:57.847" v="57540" actId="165"/>
          <ac:grpSpMkLst>
            <pc:docMk/>
            <pc:sldMk cId="4027274365" sldId="383"/>
            <ac:grpSpMk id="48" creationId="{989D6D03-E88A-FCF0-B910-F6FFF423F3CC}"/>
          </ac:grpSpMkLst>
        </pc:grpChg>
        <pc:grpChg chg="add del mod">
          <ac:chgData name="Merlin Gutter" userId="2abc6f04-74af-430b-bdc8-569c3bfa1dda" providerId="ADAL" clId="{CB1EFBC3-10F5-3048-8961-5969497C0019}" dt="2022-11-16T17:01:57.847" v="57540" actId="165"/>
          <ac:grpSpMkLst>
            <pc:docMk/>
            <pc:sldMk cId="4027274365" sldId="383"/>
            <ac:grpSpMk id="49" creationId="{A1E5703B-C04D-F7B2-CFDE-C97665541AFF}"/>
          </ac:grpSpMkLst>
        </pc:grpChg>
        <pc:grpChg chg="add del mod">
          <ac:chgData name="Merlin Gutter" userId="2abc6f04-74af-430b-bdc8-569c3bfa1dda" providerId="ADAL" clId="{CB1EFBC3-10F5-3048-8961-5969497C0019}" dt="2022-11-16T16:59:08.812" v="57487" actId="165"/>
          <ac:grpSpMkLst>
            <pc:docMk/>
            <pc:sldMk cId="4027274365" sldId="383"/>
            <ac:grpSpMk id="52" creationId="{E49FD200-D20E-04F2-2087-2376E20BB69D}"/>
          </ac:grpSpMkLst>
        </pc:grpChg>
        <pc:grpChg chg="add del mod">
          <ac:chgData name="Merlin Gutter" userId="2abc6f04-74af-430b-bdc8-569c3bfa1dda" providerId="ADAL" clId="{CB1EFBC3-10F5-3048-8961-5969497C0019}" dt="2022-11-16T16:59:34.607" v="57491" actId="165"/>
          <ac:grpSpMkLst>
            <pc:docMk/>
            <pc:sldMk cId="4027274365" sldId="383"/>
            <ac:grpSpMk id="53" creationId="{A57B1B95-EBAB-C1A5-8988-B9EA7A278471}"/>
          </ac:grpSpMkLst>
        </pc:grpChg>
        <pc:grpChg chg="add del mod">
          <ac:chgData name="Merlin Gutter" userId="2abc6f04-74af-430b-bdc8-569c3bfa1dda" providerId="ADAL" clId="{CB1EFBC3-10F5-3048-8961-5969497C0019}" dt="2022-11-16T17:02:54.433" v="57560" actId="478"/>
          <ac:grpSpMkLst>
            <pc:docMk/>
            <pc:sldMk cId="4027274365" sldId="383"/>
            <ac:grpSpMk id="54" creationId="{35451F1A-9ECE-7D50-1183-27EBF8FEB3D0}"/>
          </ac:grpSpMkLst>
        </pc:grpChg>
        <pc:grpChg chg="add mod">
          <ac:chgData name="Merlin Gutter" userId="2abc6f04-74af-430b-bdc8-569c3bfa1dda" providerId="ADAL" clId="{CB1EFBC3-10F5-3048-8961-5969497C0019}" dt="2022-11-16T17:02:49.800" v="57559"/>
          <ac:grpSpMkLst>
            <pc:docMk/>
            <pc:sldMk cId="4027274365" sldId="383"/>
            <ac:grpSpMk id="57" creationId="{53EA386B-5231-6711-C5D4-88E87ACF5333}"/>
          </ac:grpSpMkLst>
        </pc:grpChg>
        <pc:grpChg chg="add del mod">
          <ac:chgData name="Merlin Gutter" userId="2abc6f04-74af-430b-bdc8-569c3bfa1dda" providerId="ADAL" clId="{CB1EFBC3-10F5-3048-8961-5969497C0019}" dt="2022-11-16T17:29:54.256" v="57613" actId="165"/>
          <ac:grpSpMkLst>
            <pc:docMk/>
            <pc:sldMk cId="4027274365" sldId="383"/>
            <ac:grpSpMk id="58" creationId="{2EC2AC1C-78FB-252F-FAB9-C7D49FE0AA3C}"/>
          </ac:grpSpMkLst>
        </pc:grpChg>
        <pc:grpChg chg="add mod">
          <ac:chgData name="Merlin Gutter" userId="2abc6f04-74af-430b-bdc8-569c3bfa1dda" providerId="ADAL" clId="{CB1EFBC3-10F5-3048-8961-5969497C0019}" dt="2022-11-16T17:45:08.024" v="57621" actId="408"/>
          <ac:grpSpMkLst>
            <pc:docMk/>
            <pc:sldMk cId="4027274365" sldId="383"/>
            <ac:grpSpMk id="61" creationId="{8D4A68FA-FB0D-DBD5-63EC-BDB469CF6102}"/>
          </ac:grpSpMkLst>
        </pc:grpChg>
        <pc:grpChg chg="add mod">
          <ac:chgData name="Merlin Gutter" userId="2abc6f04-74af-430b-bdc8-569c3bfa1dda" providerId="ADAL" clId="{CB1EFBC3-10F5-3048-8961-5969497C0019}" dt="2022-11-16T17:45:08.024" v="57621" actId="408"/>
          <ac:grpSpMkLst>
            <pc:docMk/>
            <pc:sldMk cId="4027274365" sldId="383"/>
            <ac:grpSpMk id="62" creationId="{F15B306D-E17C-B4F4-ABD5-F9C3C243A83B}"/>
          </ac:grpSpMkLst>
        </pc:grpChg>
        <pc:grpChg chg="add mod">
          <ac:chgData name="Merlin Gutter" userId="2abc6f04-74af-430b-bdc8-569c3bfa1dda" providerId="ADAL" clId="{CB1EFBC3-10F5-3048-8961-5969497C0019}" dt="2022-11-16T17:45:08.024" v="57621" actId="408"/>
          <ac:grpSpMkLst>
            <pc:docMk/>
            <pc:sldMk cId="4027274365" sldId="383"/>
            <ac:grpSpMk id="63" creationId="{120BBE35-28D9-8D4A-BF34-0DC4F3D7FF97}"/>
          </ac:grpSpMkLst>
        </pc:grpChg>
        <pc:grpChg chg="add mod">
          <ac:chgData name="Merlin Gutter" userId="2abc6f04-74af-430b-bdc8-569c3bfa1dda" providerId="ADAL" clId="{CB1EFBC3-10F5-3048-8961-5969497C0019}" dt="2022-11-16T17:45:08.024" v="57621" actId="408"/>
          <ac:grpSpMkLst>
            <pc:docMk/>
            <pc:sldMk cId="4027274365" sldId="383"/>
            <ac:grpSpMk id="64" creationId="{90F98D55-251A-26AD-4BF8-CF682EC57ABB}"/>
          </ac:grpSpMkLst>
        </pc:grpChg>
        <pc:grpChg chg="add mod">
          <ac:chgData name="Merlin Gutter" userId="2abc6f04-74af-430b-bdc8-569c3bfa1dda" providerId="ADAL" clId="{CB1EFBC3-10F5-3048-8961-5969497C0019}" dt="2022-11-16T17:45:08.024" v="57621" actId="408"/>
          <ac:grpSpMkLst>
            <pc:docMk/>
            <pc:sldMk cId="4027274365" sldId="383"/>
            <ac:grpSpMk id="65" creationId="{5772D863-4D4D-2B76-349D-00E4BCEB05BE}"/>
          </ac:grpSpMkLst>
        </pc:grpChg>
        <pc:grpChg chg="add mod">
          <ac:chgData name="Merlin Gutter" userId="2abc6f04-74af-430b-bdc8-569c3bfa1dda" providerId="ADAL" clId="{CB1EFBC3-10F5-3048-8961-5969497C0019}" dt="2022-11-16T17:45:08.024" v="57621" actId="408"/>
          <ac:grpSpMkLst>
            <pc:docMk/>
            <pc:sldMk cId="4027274365" sldId="383"/>
            <ac:grpSpMk id="66" creationId="{E05E6A87-D452-1D47-BC6E-C6341377E469}"/>
          </ac:grpSpMkLst>
        </pc:grpChg>
        <pc:grpChg chg="add mod">
          <ac:chgData name="Merlin Gutter" userId="2abc6f04-74af-430b-bdc8-569c3bfa1dda" providerId="ADAL" clId="{CB1EFBC3-10F5-3048-8961-5969497C0019}" dt="2022-11-16T17:08:36.893" v="57605"/>
          <ac:grpSpMkLst>
            <pc:docMk/>
            <pc:sldMk cId="4027274365" sldId="383"/>
            <ac:grpSpMk id="67" creationId="{7E3C4FB9-3566-2928-3C0A-ACEB070115D7}"/>
          </ac:grpSpMkLst>
        </pc:grpChg>
        <pc:grpChg chg="add del mod">
          <ac:chgData name="Merlin Gutter" userId="2abc6f04-74af-430b-bdc8-569c3bfa1dda" providerId="ADAL" clId="{CB1EFBC3-10F5-3048-8961-5969497C0019}" dt="2022-11-16T17:29:50.239" v="57611" actId="165"/>
          <ac:grpSpMkLst>
            <pc:docMk/>
            <pc:sldMk cId="4027274365" sldId="383"/>
            <ac:grpSpMk id="70" creationId="{4F63393D-2D92-DF81-4C02-B5173AB68D6C}"/>
          </ac:grpSpMkLst>
        </pc:grpChg>
        <pc:grpChg chg="add mod">
          <ac:chgData name="Merlin Gutter" userId="2abc6f04-74af-430b-bdc8-569c3bfa1dda" providerId="ADAL" clId="{CB1EFBC3-10F5-3048-8961-5969497C0019}" dt="2022-11-16T17:45:08.024" v="57621" actId="408"/>
          <ac:grpSpMkLst>
            <pc:docMk/>
            <pc:sldMk cId="4027274365" sldId="383"/>
            <ac:grpSpMk id="73" creationId="{ABDD32CD-7755-3553-7989-DDE78E720942}"/>
          </ac:grpSpMkLst>
        </pc:grpChg>
        <pc:grpChg chg="add mod">
          <ac:chgData name="Merlin Gutter" userId="2abc6f04-74af-430b-bdc8-569c3bfa1dda" providerId="ADAL" clId="{CB1EFBC3-10F5-3048-8961-5969497C0019}" dt="2022-11-16T17:45:08.024" v="57621" actId="408"/>
          <ac:grpSpMkLst>
            <pc:docMk/>
            <pc:sldMk cId="4027274365" sldId="383"/>
            <ac:grpSpMk id="74" creationId="{C3A24121-2926-6219-C1AB-FFEA25BAE88A}"/>
          </ac:grpSpMkLst>
        </pc:grpChg>
        <pc:graphicFrameChg chg="add del mod modGraphic">
          <ac:chgData name="Merlin Gutter" userId="2abc6f04-74af-430b-bdc8-569c3bfa1dda" providerId="ADAL" clId="{CB1EFBC3-10F5-3048-8961-5969497C0019}" dt="2022-11-16T16:24:39.505" v="57129" actId="478"/>
          <ac:graphicFrameMkLst>
            <pc:docMk/>
            <pc:sldMk cId="4027274365" sldId="383"/>
            <ac:graphicFrameMk id="12" creationId="{621E7275-75A5-442C-E56D-11A3836B2216}"/>
          </ac:graphicFrameMkLst>
        </pc:graphicFrameChg>
        <pc:cxnChg chg="add mod topLvl">
          <ac:chgData name="Merlin Gutter" userId="2abc6f04-74af-430b-bdc8-569c3bfa1dda" providerId="ADAL" clId="{CB1EFBC3-10F5-3048-8961-5969497C0019}" dt="2022-11-16T16:59:08.812" v="57487" actId="165"/>
          <ac:cxnSpMkLst>
            <pc:docMk/>
            <pc:sldMk cId="4027274365" sldId="383"/>
            <ac:cxnSpMk id="50" creationId="{238812C8-9B26-83D6-F3A2-54F8274F74F1}"/>
          </ac:cxnSpMkLst>
        </pc:cxnChg>
        <pc:cxnChg chg="add mod">
          <ac:chgData name="Merlin Gutter" userId="2abc6f04-74af-430b-bdc8-569c3bfa1dda" providerId="ADAL" clId="{CB1EFBC3-10F5-3048-8961-5969497C0019}" dt="2022-11-16T16:58:44.076" v="57479"/>
          <ac:cxnSpMkLst>
            <pc:docMk/>
            <pc:sldMk cId="4027274365" sldId="383"/>
            <ac:cxnSpMk id="51" creationId="{07C4A6BA-641E-37EF-345E-052DD6F891B9}"/>
          </ac:cxnSpMkLst>
        </pc:cxnChg>
      </pc:sldChg>
      <pc:sldChg chg="addSp delSp modSp mod chgLayout">
        <pc:chgData name="Merlin Gutter" userId="2abc6f04-74af-430b-bdc8-569c3bfa1dda" providerId="ADAL" clId="{CB1EFBC3-10F5-3048-8961-5969497C0019}" dt="2022-11-24T22:19:57.989" v="152223"/>
        <pc:sldMkLst>
          <pc:docMk/>
          <pc:sldMk cId="1024977953" sldId="384"/>
        </pc:sldMkLst>
        <pc:spChg chg="mod ord">
          <ac:chgData name="Merlin Gutter" userId="2abc6f04-74af-430b-bdc8-569c3bfa1dda" providerId="ADAL" clId="{CB1EFBC3-10F5-3048-8961-5969497C0019}" dt="2022-11-24T22:19:57.989" v="152223"/>
          <ac:spMkLst>
            <pc:docMk/>
            <pc:sldMk cId="1024977953" sldId="384"/>
            <ac:spMk id="2" creationId="{0DDE5476-1677-AAE4-FA7A-9AEC14A837BC}"/>
          </ac:spMkLst>
        </pc:spChg>
        <pc:spChg chg="add del mod replST">
          <ac:chgData name="Merlin Gutter" userId="2abc6f04-74af-430b-bdc8-569c3bfa1dda" providerId="ADAL" clId="{CB1EFBC3-10F5-3048-8961-5969497C0019}" dt="2022-11-23T17:31:39.498" v="96696"/>
          <ac:spMkLst>
            <pc:docMk/>
            <pc:sldMk cId="1024977953" sldId="384"/>
            <ac:spMk id="3" creationId="{EF5E1722-50A2-C199-E3B0-C4662F9919E8}"/>
          </ac:spMkLst>
        </pc:spChg>
        <pc:spChg chg="add del mod modVis">
          <ac:chgData name="Merlin Gutter" userId="2abc6f04-74af-430b-bdc8-569c3bfa1dda" providerId="ADAL" clId="{CB1EFBC3-10F5-3048-8961-5969497C0019}" dt="2022-11-23T17:30:42.788" v="95427"/>
          <ac:spMkLst>
            <pc:docMk/>
            <pc:sldMk cId="1024977953" sldId="384"/>
            <ac:spMk id="4" creationId="{96F32ED2-4158-09EA-ECA8-428810D24034}"/>
          </ac:spMkLst>
        </pc:spChg>
        <pc:spChg chg="mod ord">
          <ac:chgData name="Merlin Gutter" userId="2abc6f04-74af-430b-bdc8-569c3bfa1dda" providerId="ADAL" clId="{CB1EFBC3-10F5-3048-8961-5969497C0019}" dt="2022-11-24T22:19:57.989" v="152223"/>
          <ac:spMkLst>
            <pc:docMk/>
            <pc:sldMk cId="1024977953" sldId="384"/>
            <ac:spMk id="5" creationId="{6F090E6A-8414-5997-AA2D-741B98CF047A}"/>
          </ac:spMkLst>
        </pc:spChg>
        <pc:spChg chg="mod ord">
          <ac:chgData name="Merlin Gutter" userId="2abc6f04-74af-430b-bdc8-569c3bfa1dda" providerId="ADAL" clId="{CB1EFBC3-10F5-3048-8961-5969497C0019}" dt="2022-11-24T22:19:57.989" v="152223"/>
          <ac:spMkLst>
            <pc:docMk/>
            <pc:sldMk cId="1024977953" sldId="384"/>
            <ac:spMk id="6" creationId="{FE8B2556-127D-9404-D7EC-8D05EED15275}"/>
          </ac:spMkLst>
        </pc:spChg>
        <pc:spChg chg="add del mod replST">
          <ac:chgData name="Merlin Gutter" userId="2abc6f04-74af-430b-bdc8-569c3bfa1dda" providerId="ADAL" clId="{CB1EFBC3-10F5-3048-8961-5969497C0019}" dt="2022-11-23T17:35:17.931" v="104498"/>
          <ac:spMkLst>
            <pc:docMk/>
            <pc:sldMk cId="1024977953" sldId="384"/>
            <ac:spMk id="7" creationId="{805C958A-9232-DF90-36B5-A64E360B5EDB}"/>
          </ac:spMkLst>
        </pc:spChg>
        <pc:spChg chg="add mod replST">
          <ac:chgData name="Merlin Gutter" userId="2abc6f04-74af-430b-bdc8-569c3bfa1dda" providerId="ADAL" clId="{CB1EFBC3-10F5-3048-8961-5969497C0019}" dt="2022-11-23T17:37:07.936" v="106926"/>
          <ac:spMkLst>
            <pc:docMk/>
            <pc:sldMk cId="1024977953" sldId="384"/>
            <ac:spMk id="8" creationId="{147EAC99-06FF-7F7B-D045-651690A0539A}"/>
          </ac:spMkLst>
        </pc:spChg>
        <pc:spChg chg="add mod replST">
          <ac:chgData name="Merlin Gutter" userId="2abc6f04-74af-430b-bdc8-569c3bfa1dda" providerId="ADAL" clId="{CB1EFBC3-10F5-3048-8961-5969497C0019}" dt="2022-11-23T17:37:07.935" v="106921"/>
          <ac:spMkLst>
            <pc:docMk/>
            <pc:sldMk cId="1024977953" sldId="384"/>
            <ac:spMk id="9" creationId="{444F3A71-5940-F751-CC54-0A8835499D6A}"/>
          </ac:spMkLst>
        </pc:spChg>
        <pc:spChg chg="add del mod">
          <ac:chgData name="Merlin Gutter" userId="2abc6f04-74af-430b-bdc8-569c3bfa1dda" providerId="ADAL" clId="{CB1EFBC3-10F5-3048-8961-5969497C0019}" dt="2022-11-24T19:14:16.183" v="130459" actId="478"/>
          <ac:spMkLst>
            <pc:docMk/>
            <pc:sldMk cId="1024977953" sldId="384"/>
            <ac:spMk id="10" creationId="{48276BC7-5063-8C09-3C45-D89ABCA94F1B}"/>
          </ac:spMkLst>
        </pc:spChg>
        <pc:spChg chg="add mod replST">
          <ac:chgData name="Merlin Gutter" userId="2abc6f04-74af-430b-bdc8-569c3bfa1dda" providerId="ADAL" clId="{CB1EFBC3-10F5-3048-8961-5969497C0019}" dt="2022-11-23T17:37:07.935" v="106923"/>
          <ac:spMkLst>
            <pc:docMk/>
            <pc:sldMk cId="1024977953" sldId="384"/>
            <ac:spMk id="10" creationId="{90762740-D619-2B2E-2412-2CF8D7A7ED54}"/>
          </ac:spMkLst>
        </pc:spChg>
        <pc:spChg chg="add del mod replST">
          <ac:chgData name="Merlin Gutter" userId="2abc6f04-74af-430b-bdc8-569c3bfa1dda" providerId="ADAL" clId="{CB1EFBC3-10F5-3048-8961-5969497C0019}" dt="2022-11-23T17:31:39.487" v="96695"/>
          <ac:spMkLst>
            <pc:docMk/>
            <pc:sldMk cId="1024977953" sldId="384"/>
            <ac:spMk id="12" creationId="{CD79FADB-7A3B-240B-BBD6-AB6EDC2FBCE2}"/>
          </ac:spMkLst>
        </pc:spChg>
        <pc:spChg chg="add del mod replST">
          <ac:chgData name="Merlin Gutter" userId="2abc6f04-74af-430b-bdc8-569c3bfa1dda" providerId="ADAL" clId="{CB1EFBC3-10F5-3048-8961-5969497C0019}" dt="2022-11-23T17:35:17.920" v="104497"/>
          <ac:spMkLst>
            <pc:docMk/>
            <pc:sldMk cId="1024977953" sldId="384"/>
            <ac:spMk id="13" creationId="{11C7E4DE-2FCE-7492-512A-5C22F8DD5DB2}"/>
          </ac:spMkLst>
        </pc:spChg>
        <pc:spChg chg="del">
          <ac:chgData name="Merlin Gutter" userId="2abc6f04-74af-430b-bdc8-569c3bfa1dda" providerId="ADAL" clId="{CB1EFBC3-10F5-3048-8961-5969497C0019}" dt="2022-11-24T19:22:23.565" v="130547" actId="478"/>
          <ac:spMkLst>
            <pc:docMk/>
            <pc:sldMk cId="1024977953" sldId="384"/>
            <ac:spMk id="13" creationId="{911DC44D-23D0-88EF-735A-B59187964850}"/>
          </ac:spMkLst>
        </pc:spChg>
        <pc:spChg chg="add mod replST">
          <ac:chgData name="Merlin Gutter" userId="2abc6f04-74af-430b-bdc8-569c3bfa1dda" providerId="ADAL" clId="{CB1EFBC3-10F5-3048-8961-5969497C0019}" dt="2022-11-23T17:37:07.936" v="106925"/>
          <ac:spMkLst>
            <pc:docMk/>
            <pc:sldMk cId="1024977953" sldId="384"/>
            <ac:spMk id="15" creationId="{142A50B8-79D0-DB6B-E81F-C6B8BC18DA11}"/>
          </ac:spMkLst>
        </pc:spChg>
        <pc:spChg chg="del mod">
          <ac:chgData name="Merlin Gutter" userId="2abc6f04-74af-430b-bdc8-569c3bfa1dda" providerId="ADAL" clId="{CB1EFBC3-10F5-3048-8961-5969497C0019}" dt="2022-11-24T19:23:53.339" v="130645" actId="478"/>
          <ac:spMkLst>
            <pc:docMk/>
            <pc:sldMk cId="1024977953" sldId="384"/>
            <ac:spMk id="15" creationId="{C07847E3-2959-5EE7-4B28-BAE126384A6C}"/>
          </ac:spMkLst>
        </pc:spChg>
        <pc:spChg chg="add mod replST">
          <ac:chgData name="Merlin Gutter" userId="2abc6f04-74af-430b-bdc8-569c3bfa1dda" providerId="ADAL" clId="{CB1EFBC3-10F5-3048-8961-5969497C0019}" dt="2022-11-23T17:37:07.935" v="106924"/>
          <ac:spMkLst>
            <pc:docMk/>
            <pc:sldMk cId="1024977953" sldId="384"/>
            <ac:spMk id="16" creationId="{434F0C4D-234A-44FB-7BD5-4F27F5D054E0}"/>
          </ac:spMkLst>
        </pc:spChg>
        <pc:spChg chg="mod ord">
          <ac:chgData name="Merlin Gutter" userId="2abc6f04-74af-430b-bdc8-569c3bfa1dda" providerId="ADAL" clId="{CB1EFBC3-10F5-3048-8961-5969497C0019}" dt="2022-11-24T22:19:57.989" v="152223"/>
          <ac:spMkLst>
            <pc:docMk/>
            <pc:sldMk cId="1024977953" sldId="384"/>
            <ac:spMk id="17" creationId="{631624C4-0C6C-628C-34B9-9884F7AEC742}"/>
          </ac:spMkLst>
        </pc:spChg>
        <pc:spChg chg="add mod replST">
          <ac:chgData name="Merlin Gutter" userId="2abc6f04-74af-430b-bdc8-569c3bfa1dda" providerId="ADAL" clId="{CB1EFBC3-10F5-3048-8961-5969497C0019}" dt="2022-11-23T17:37:07.935" v="106922"/>
          <ac:spMkLst>
            <pc:docMk/>
            <pc:sldMk cId="1024977953" sldId="384"/>
            <ac:spMk id="18" creationId="{70F8AB03-6CB9-5596-3338-095F4F424FF8}"/>
          </ac:spMkLst>
        </pc:spChg>
        <pc:spChg chg="add del mod replST">
          <ac:chgData name="Merlin Gutter" userId="2abc6f04-74af-430b-bdc8-569c3bfa1dda" providerId="ADAL" clId="{CB1EFBC3-10F5-3048-8961-5969497C0019}" dt="2022-11-23T17:31:31.014" v="96375"/>
          <ac:spMkLst>
            <pc:docMk/>
            <pc:sldMk cId="1024977953" sldId="384"/>
            <ac:spMk id="19" creationId="{D6C35E91-4103-F5F2-6C27-A170C1A685FF}"/>
          </ac:spMkLst>
        </pc:spChg>
        <pc:spChg chg="add del mod replST">
          <ac:chgData name="Merlin Gutter" userId="2abc6f04-74af-430b-bdc8-569c3bfa1dda" providerId="ADAL" clId="{CB1EFBC3-10F5-3048-8961-5969497C0019}" dt="2022-11-23T17:35:17.934" v="104501"/>
          <ac:spMkLst>
            <pc:docMk/>
            <pc:sldMk cId="1024977953" sldId="384"/>
            <ac:spMk id="20" creationId="{0224EC6C-C9C5-B2D8-61C0-A5AB7309B0AB}"/>
          </ac:spMkLst>
        </pc:spChg>
        <pc:spChg chg="add del mod replST">
          <ac:chgData name="Merlin Gutter" userId="2abc6f04-74af-430b-bdc8-569c3bfa1dda" providerId="ADAL" clId="{CB1EFBC3-10F5-3048-8961-5969497C0019}" dt="2022-11-23T17:35:17.935" v="104504"/>
          <ac:spMkLst>
            <pc:docMk/>
            <pc:sldMk cId="1024977953" sldId="384"/>
            <ac:spMk id="21" creationId="{5B6C7930-E52B-065A-B4D6-DBA57B54BF9C}"/>
          </ac:spMkLst>
        </pc:spChg>
        <pc:spChg chg="add del mod">
          <ac:chgData name="Merlin Gutter" userId="2abc6f04-74af-430b-bdc8-569c3bfa1dda" providerId="ADAL" clId="{CB1EFBC3-10F5-3048-8961-5969497C0019}" dt="2022-11-24T19:21:45.881" v="130538" actId="478"/>
          <ac:spMkLst>
            <pc:docMk/>
            <pc:sldMk cId="1024977953" sldId="384"/>
            <ac:spMk id="21" creationId="{F919A224-9606-310A-A4D4-93E68BA7998A}"/>
          </ac:spMkLst>
        </pc:spChg>
        <pc:spChg chg="add mod">
          <ac:chgData name="Merlin Gutter" userId="2abc6f04-74af-430b-bdc8-569c3bfa1dda" providerId="ADAL" clId="{CB1EFBC3-10F5-3048-8961-5969497C0019}" dt="2022-11-24T19:22:00.144" v="130541"/>
          <ac:spMkLst>
            <pc:docMk/>
            <pc:sldMk cId="1024977953" sldId="384"/>
            <ac:spMk id="22" creationId="{1767D460-74C1-5B80-D892-D592A48217DE}"/>
          </ac:spMkLst>
        </pc:spChg>
        <pc:spChg chg="add del mod replST">
          <ac:chgData name="Merlin Gutter" userId="2abc6f04-74af-430b-bdc8-569c3bfa1dda" providerId="ADAL" clId="{CB1EFBC3-10F5-3048-8961-5969497C0019}" dt="2022-11-23T17:35:17.937" v="104507"/>
          <ac:spMkLst>
            <pc:docMk/>
            <pc:sldMk cId="1024977953" sldId="384"/>
            <ac:spMk id="22" creationId="{20B29CA5-E663-E0FC-0FAE-A95272A16360}"/>
          </ac:spMkLst>
        </pc:spChg>
        <pc:spChg chg="add del mod replST">
          <ac:chgData name="Merlin Gutter" userId="2abc6f04-74af-430b-bdc8-569c3bfa1dda" providerId="ADAL" clId="{CB1EFBC3-10F5-3048-8961-5969497C0019}" dt="2022-11-23T17:35:17.938" v="104510"/>
          <ac:spMkLst>
            <pc:docMk/>
            <pc:sldMk cId="1024977953" sldId="384"/>
            <ac:spMk id="23" creationId="{5C1FFC83-B8A3-769B-3B83-EF9A8AB3F84F}"/>
          </ac:spMkLst>
        </pc:spChg>
        <pc:spChg chg="add mod">
          <ac:chgData name="Merlin Gutter" userId="2abc6f04-74af-430b-bdc8-569c3bfa1dda" providerId="ADAL" clId="{CB1EFBC3-10F5-3048-8961-5969497C0019}" dt="2022-11-24T19:22:34.542" v="130553"/>
          <ac:spMkLst>
            <pc:docMk/>
            <pc:sldMk cId="1024977953" sldId="384"/>
            <ac:spMk id="23" creationId="{B9A991BD-E3D1-73D2-CB2F-C2E5C6284AD6}"/>
          </ac:spMkLst>
        </pc:spChg>
        <pc:spChg chg="add del mod replST">
          <ac:chgData name="Merlin Gutter" userId="2abc6f04-74af-430b-bdc8-569c3bfa1dda" providerId="ADAL" clId="{CB1EFBC3-10F5-3048-8961-5969497C0019}" dt="2022-11-23T17:35:17.939" v="104513"/>
          <ac:spMkLst>
            <pc:docMk/>
            <pc:sldMk cId="1024977953" sldId="384"/>
            <ac:spMk id="24" creationId="{A2BCE058-3BDF-2995-F239-C70D0EB1065E}"/>
          </ac:spMkLst>
        </pc:spChg>
        <pc:spChg chg="add del mod">
          <ac:chgData name="Merlin Gutter" userId="2abc6f04-74af-430b-bdc8-569c3bfa1dda" providerId="ADAL" clId="{CB1EFBC3-10F5-3048-8961-5969497C0019}" dt="2022-11-24T19:22:36.560" v="130555"/>
          <ac:spMkLst>
            <pc:docMk/>
            <pc:sldMk cId="1024977953" sldId="384"/>
            <ac:spMk id="24" creationId="{F6D75478-6FC4-B2F2-9F6F-3E2FCCA13D5E}"/>
          </ac:spMkLst>
        </pc:spChg>
        <pc:spChg chg="add del mod modVis">
          <ac:chgData name="Merlin Gutter" userId="2abc6f04-74af-430b-bdc8-569c3bfa1dda" providerId="ADAL" clId="{CB1EFBC3-10F5-3048-8961-5969497C0019}" dt="2022-11-23T17:31:07.841" v="95995"/>
          <ac:spMkLst>
            <pc:docMk/>
            <pc:sldMk cId="1024977953" sldId="384"/>
            <ac:spMk id="25" creationId="{7A1F402C-558E-7FE5-CAB7-3CE648E56DBE}"/>
          </ac:spMkLst>
        </pc:spChg>
        <pc:spChg chg="add mod">
          <ac:chgData name="Merlin Gutter" userId="2abc6f04-74af-430b-bdc8-569c3bfa1dda" providerId="ADAL" clId="{CB1EFBC3-10F5-3048-8961-5969497C0019}" dt="2022-11-24T19:23:47.724" v="130644"/>
          <ac:spMkLst>
            <pc:docMk/>
            <pc:sldMk cId="1024977953" sldId="384"/>
            <ac:spMk id="26" creationId="{A75897ED-FBF4-1438-A824-0BC0B3484DC8}"/>
          </ac:spMkLst>
        </pc:spChg>
        <pc:spChg chg="add mod ord">
          <ac:chgData name="Merlin Gutter" userId="2abc6f04-74af-430b-bdc8-569c3bfa1dda" providerId="ADAL" clId="{CB1EFBC3-10F5-3048-8961-5969497C0019}" dt="2022-11-24T22:19:57.989" v="152223"/>
          <ac:spMkLst>
            <pc:docMk/>
            <pc:sldMk cId="1024977953" sldId="384"/>
            <ac:spMk id="27" creationId="{A69E3645-4E23-F78C-E281-C80CDCB738EF}"/>
          </ac:spMkLst>
        </pc:spChg>
        <pc:spChg chg="add del mod replST">
          <ac:chgData name="Merlin Gutter" userId="2abc6f04-74af-430b-bdc8-569c3bfa1dda" providerId="ADAL" clId="{CB1EFBC3-10F5-3048-8961-5969497C0019}" dt="2022-11-23T17:35:17.933" v="104500"/>
          <ac:spMkLst>
            <pc:docMk/>
            <pc:sldMk cId="1024977953" sldId="384"/>
            <ac:spMk id="28" creationId="{297601A1-2750-AF93-0287-7CC3D9DDE0AF}"/>
          </ac:spMkLst>
        </pc:spChg>
        <pc:spChg chg="add del mod replST">
          <ac:chgData name="Merlin Gutter" userId="2abc6f04-74af-430b-bdc8-569c3bfa1dda" providerId="ADAL" clId="{CB1EFBC3-10F5-3048-8961-5969497C0019}" dt="2022-11-23T17:35:17.935" v="104503"/>
          <ac:spMkLst>
            <pc:docMk/>
            <pc:sldMk cId="1024977953" sldId="384"/>
            <ac:spMk id="29" creationId="{F21035F9-D67C-82B0-3746-F12D67901BF6}"/>
          </ac:spMkLst>
        </pc:spChg>
        <pc:spChg chg="add del mod replST">
          <ac:chgData name="Merlin Gutter" userId="2abc6f04-74af-430b-bdc8-569c3bfa1dda" providerId="ADAL" clId="{CB1EFBC3-10F5-3048-8961-5969497C0019}" dt="2022-11-23T17:35:17.936" v="104506"/>
          <ac:spMkLst>
            <pc:docMk/>
            <pc:sldMk cId="1024977953" sldId="384"/>
            <ac:spMk id="30" creationId="{F79E1D9E-A3A3-F59B-9749-E24B33A2C71A}"/>
          </ac:spMkLst>
        </pc:spChg>
        <pc:spChg chg="add del mod replST">
          <ac:chgData name="Merlin Gutter" userId="2abc6f04-74af-430b-bdc8-569c3bfa1dda" providerId="ADAL" clId="{CB1EFBC3-10F5-3048-8961-5969497C0019}" dt="2022-11-23T17:35:17.938" v="104509"/>
          <ac:spMkLst>
            <pc:docMk/>
            <pc:sldMk cId="1024977953" sldId="384"/>
            <ac:spMk id="31" creationId="{4940C7DA-E1F5-BAF2-19FE-F84C76BD529C}"/>
          </ac:spMkLst>
        </pc:spChg>
        <pc:spChg chg="add del mod replST">
          <ac:chgData name="Merlin Gutter" userId="2abc6f04-74af-430b-bdc8-569c3bfa1dda" providerId="ADAL" clId="{CB1EFBC3-10F5-3048-8961-5969497C0019}" dt="2022-11-23T17:35:17.939" v="104512"/>
          <ac:spMkLst>
            <pc:docMk/>
            <pc:sldMk cId="1024977953" sldId="384"/>
            <ac:spMk id="32" creationId="{D0A7E770-5B3B-FCA8-0F2B-6933AB9F9F23}"/>
          </ac:spMkLst>
        </pc:spChg>
        <pc:spChg chg="add del mod modVis">
          <ac:chgData name="Merlin Gutter" userId="2abc6f04-74af-430b-bdc8-569c3bfa1dda" providerId="ADAL" clId="{CB1EFBC3-10F5-3048-8961-5969497C0019}" dt="2022-11-23T17:31:25.555" v="96250"/>
          <ac:spMkLst>
            <pc:docMk/>
            <pc:sldMk cId="1024977953" sldId="384"/>
            <ac:spMk id="34" creationId="{F08285C6-E29A-937D-B316-FDAD452A5D42}"/>
          </ac:spMkLst>
        </pc:spChg>
        <pc:spChg chg="add del mod modVis">
          <ac:chgData name="Merlin Gutter" userId="2abc6f04-74af-430b-bdc8-569c3bfa1dda" providerId="ADAL" clId="{CB1EFBC3-10F5-3048-8961-5969497C0019}" dt="2022-11-23T17:31:31.050" v="96439"/>
          <ac:spMkLst>
            <pc:docMk/>
            <pc:sldMk cId="1024977953" sldId="384"/>
            <ac:spMk id="36" creationId="{E2C95E15-1EF7-EF29-5003-4B42AA5ED2E1}"/>
          </ac:spMkLst>
        </pc:spChg>
        <pc:spChg chg="add del mod modVis">
          <ac:chgData name="Merlin Gutter" userId="2abc6f04-74af-430b-bdc8-569c3bfa1dda" providerId="ADAL" clId="{CB1EFBC3-10F5-3048-8961-5969497C0019}" dt="2022-11-23T17:31:36.670" v="96691"/>
          <ac:spMkLst>
            <pc:docMk/>
            <pc:sldMk cId="1024977953" sldId="384"/>
            <ac:spMk id="39" creationId="{D69ACB8A-09B6-C616-B8C0-7A14E4415DDA}"/>
          </ac:spMkLst>
        </pc:spChg>
        <pc:spChg chg="add del mod replST">
          <ac:chgData name="Merlin Gutter" userId="2abc6f04-74af-430b-bdc8-569c3bfa1dda" providerId="ADAL" clId="{CB1EFBC3-10F5-3048-8961-5969497C0019}" dt="2022-11-23T17:31:53.882" v="97575"/>
          <ac:spMkLst>
            <pc:docMk/>
            <pc:sldMk cId="1024977953" sldId="384"/>
            <ac:spMk id="42" creationId="{3E56F842-1820-2268-D87D-7F68F934D2A6}"/>
          </ac:spMkLst>
        </pc:spChg>
        <pc:spChg chg="add del mod modVis">
          <ac:chgData name="Merlin Gutter" userId="2abc6f04-74af-430b-bdc8-569c3bfa1dda" providerId="ADAL" clId="{CB1EFBC3-10F5-3048-8961-5969497C0019}" dt="2022-11-23T17:31:52.070" v="97550"/>
          <ac:spMkLst>
            <pc:docMk/>
            <pc:sldMk cId="1024977953" sldId="384"/>
            <ac:spMk id="43" creationId="{543817F8-52F1-5058-E15F-F8F019F54CF7}"/>
          </ac:spMkLst>
        </pc:spChg>
        <pc:spChg chg="add del mod replST">
          <ac:chgData name="Merlin Gutter" userId="2abc6f04-74af-430b-bdc8-569c3bfa1dda" providerId="ADAL" clId="{CB1EFBC3-10F5-3048-8961-5969497C0019}" dt="2022-11-23T17:31:55.985" v="97686"/>
          <ac:spMkLst>
            <pc:docMk/>
            <pc:sldMk cId="1024977953" sldId="384"/>
            <ac:spMk id="44" creationId="{2BB522D0-F137-9C45-E2C8-CEAB6BFFA690}"/>
          </ac:spMkLst>
        </pc:spChg>
        <pc:spChg chg="add del mod replST">
          <ac:chgData name="Merlin Gutter" userId="2abc6f04-74af-430b-bdc8-569c3bfa1dda" providerId="ADAL" clId="{CB1EFBC3-10F5-3048-8961-5969497C0019}" dt="2022-11-23T17:31:53.884" v="97583"/>
          <ac:spMkLst>
            <pc:docMk/>
            <pc:sldMk cId="1024977953" sldId="384"/>
            <ac:spMk id="45" creationId="{9C8D8E1C-E2AE-34BD-2624-BA0AF68BA397}"/>
          </ac:spMkLst>
        </pc:spChg>
        <pc:spChg chg="add del mod replST">
          <ac:chgData name="Merlin Gutter" userId="2abc6f04-74af-430b-bdc8-569c3bfa1dda" providerId="ADAL" clId="{CB1EFBC3-10F5-3048-8961-5969497C0019}" dt="2022-11-23T17:31:55.986" v="97690"/>
          <ac:spMkLst>
            <pc:docMk/>
            <pc:sldMk cId="1024977953" sldId="384"/>
            <ac:spMk id="46" creationId="{79324FB0-187E-094D-3935-DCC3960CDEBA}"/>
          </ac:spMkLst>
        </pc:spChg>
        <pc:spChg chg="add del mod replST">
          <ac:chgData name="Merlin Gutter" userId="2abc6f04-74af-430b-bdc8-569c3bfa1dda" providerId="ADAL" clId="{CB1EFBC3-10F5-3048-8961-5969497C0019}" dt="2022-11-23T17:31:55.986" v="97692"/>
          <ac:spMkLst>
            <pc:docMk/>
            <pc:sldMk cId="1024977953" sldId="384"/>
            <ac:spMk id="47" creationId="{C9FC8078-AC7D-1B95-0771-720B5145AA22}"/>
          </ac:spMkLst>
        </pc:spChg>
        <pc:spChg chg="add del mod replST">
          <ac:chgData name="Merlin Gutter" userId="2abc6f04-74af-430b-bdc8-569c3bfa1dda" providerId="ADAL" clId="{CB1EFBC3-10F5-3048-8961-5969497C0019}" dt="2022-11-23T17:31:53.887" v="97597"/>
          <ac:spMkLst>
            <pc:docMk/>
            <pc:sldMk cId="1024977953" sldId="384"/>
            <ac:spMk id="48" creationId="{AA55AA13-B68F-2981-0A12-51A309BC5C48}"/>
          </ac:spMkLst>
        </pc:spChg>
        <pc:spChg chg="add del mod replST">
          <ac:chgData name="Merlin Gutter" userId="2abc6f04-74af-430b-bdc8-569c3bfa1dda" providerId="ADAL" clId="{CB1EFBC3-10F5-3048-8961-5969497C0019}" dt="2022-11-23T17:31:55.987" v="97696"/>
          <ac:spMkLst>
            <pc:docMk/>
            <pc:sldMk cId="1024977953" sldId="384"/>
            <ac:spMk id="49" creationId="{18A5ED91-E14C-DD6B-816B-6A67C31333FD}"/>
          </ac:spMkLst>
        </pc:spChg>
        <pc:spChg chg="add del mod replST">
          <ac:chgData name="Merlin Gutter" userId="2abc6f04-74af-430b-bdc8-569c3bfa1dda" providerId="ADAL" clId="{CB1EFBC3-10F5-3048-8961-5969497C0019}" dt="2022-11-23T17:31:53.889" v="97605"/>
          <ac:spMkLst>
            <pc:docMk/>
            <pc:sldMk cId="1024977953" sldId="384"/>
            <ac:spMk id="50" creationId="{6D4E378C-2EEC-4B3E-87EC-0A1D4399A5BE}"/>
          </ac:spMkLst>
        </pc:spChg>
        <pc:spChg chg="add del mod replST">
          <ac:chgData name="Merlin Gutter" userId="2abc6f04-74af-430b-bdc8-569c3bfa1dda" providerId="ADAL" clId="{CB1EFBC3-10F5-3048-8961-5969497C0019}" dt="2022-11-23T17:31:55.989" v="97702"/>
          <ac:spMkLst>
            <pc:docMk/>
            <pc:sldMk cId="1024977953" sldId="384"/>
            <ac:spMk id="51" creationId="{B4CC736E-DD61-A7F8-BB51-77E2120AB201}"/>
          </ac:spMkLst>
        </pc:spChg>
        <pc:spChg chg="add del mod modVis">
          <ac:chgData name="Merlin Gutter" userId="2abc6f04-74af-430b-bdc8-569c3bfa1dda" providerId="ADAL" clId="{CB1EFBC3-10F5-3048-8961-5969497C0019}" dt="2022-11-23T17:33:55.053" v="99059"/>
          <ac:spMkLst>
            <pc:docMk/>
            <pc:sldMk cId="1024977953" sldId="384"/>
            <ac:spMk id="68" creationId="{39348105-5AED-5A95-B1E4-2DAB2880978B}"/>
          </ac:spMkLst>
        </pc:spChg>
        <pc:spChg chg="add del mod modVis">
          <ac:chgData name="Merlin Gutter" userId="2abc6f04-74af-430b-bdc8-569c3bfa1dda" providerId="ADAL" clId="{CB1EFBC3-10F5-3048-8961-5969497C0019}" dt="2022-11-23T17:33:56.330" v="99516"/>
          <ac:spMkLst>
            <pc:docMk/>
            <pc:sldMk cId="1024977953" sldId="384"/>
            <ac:spMk id="70" creationId="{F8FA06CB-D69B-C25B-8F82-CB958AFE6180}"/>
          </ac:spMkLst>
        </pc:spChg>
        <pc:spChg chg="add del mod replST">
          <ac:chgData name="Merlin Gutter" userId="2abc6f04-74af-430b-bdc8-569c3bfa1dda" providerId="ADAL" clId="{CB1EFBC3-10F5-3048-8961-5969497C0019}" dt="2022-11-23T17:34:07.532" v="99826"/>
          <ac:spMkLst>
            <pc:docMk/>
            <pc:sldMk cId="1024977953" sldId="384"/>
            <ac:spMk id="72" creationId="{84B989B3-8B46-7B16-2EFC-DFBEC11B4453}"/>
          </ac:spMkLst>
        </pc:spChg>
        <pc:spChg chg="add del mod modVis">
          <ac:chgData name="Merlin Gutter" userId="2abc6f04-74af-430b-bdc8-569c3bfa1dda" providerId="ADAL" clId="{CB1EFBC3-10F5-3048-8961-5969497C0019}" dt="2022-11-23T17:34:05.928" v="99724"/>
          <ac:spMkLst>
            <pc:docMk/>
            <pc:sldMk cId="1024977953" sldId="384"/>
            <ac:spMk id="73" creationId="{CC89009A-BDAD-7FB0-658A-AC5C1B39D9A5}"/>
          </ac:spMkLst>
        </pc:spChg>
        <pc:spChg chg="add del mod replST">
          <ac:chgData name="Merlin Gutter" userId="2abc6f04-74af-430b-bdc8-569c3bfa1dda" providerId="ADAL" clId="{CB1EFBC3-10F5-3048-8961-5969497C0019}" dt="2022-11-23T17:34:09.956" v="99990"/>
          <ac:spMkLst>
            <pc:docMk/>
            <pc:sldMk cId="1024977953" sldId="384"/>
            <ac:spMk id="75" creationId="{F2BC3018-B5A7-47D9-2CD6-5E200610799A}"/>
          </ac:spMkLst>
        </pc:spChg>
        <pc:spChg chg="add del mod modVis">
          <ac:chgData name="Merlin Gutter" userId="2abc6f04-74af-430b-bdc8-569c3bfa1dda" providerId="ADAL" clId="{CB1EFBC3-10F5-3048-8961-5969497C0019}" dt="2022-11-23T17:34:07.570" v="99876"/>
          <ac:spMkLst>
            <pc:docMk/>
            <pc:sldMk cId="1024977953" sldId="384"/>
            <ac:spMk id="76" creationId="{24616B84-3925-501F-E961-AD9866ED4F02}"/>
          </ac:spMkLst>
        </pc:spChg>
        <pc:spChg chg="add del mod replST">
          <ac:chgData name="Merlin Gutter" userId="2abc6f04-74af-430b-bdc8-569c3bfa1dda" providerId="ADAL" clId="{CB1EFBC3-10F5-3048-8961-5969497C0019}" dt="2022-11-23T17:34:12.030" v="100130"/>
          <ac:spMkLst>
            <pc:docMk/>
            <pc:sldMk cId="1024977953" sldId="384"/>
            <ac:spMk id="78" creationId="{35B2BCFB-8CA1-7155-4A11-4759ECC7A447}"/>
          </ac:spMkLst>
        </pc:spChg>
        <pc:spChg chg="add del mod modVis">
          <ac:chgData name="Merlin Gutter" userId="2abc6f04-74af-430b-bdc8-569c3bfa1dda" providerId="ADAL" clId="{CB1EFBC3-10F5-3048-8961-5969497C0019}" dt="2022-11-23T17:34:09.992" v="100028"/>
          <ac:spMkLst>
            <pc:docMk/>
            <pc:sldMk cId="1024977953" sldId="384"/>
            <ac:spMk id="79" creationId="{C41457FC-E857-EFEC-06BE-4D87F83A6EB2}"/>
          </ac:spMkLst>
        </pc:spChg>
        <pc:spChg chg="add del mod replST">
          <ac:chgData name="Merlin Gutter" userId="2abc6f04-74af-430b-bdc8-569c3bfa1dda" providerId="ADAL" clId="{CB1EFBC3-10F5-3048-8961-5969497C0019}" dt="2022-11-23T17:34:14.095" v="100196"/>
          <ac:spMkLst>
            <pc:docMk/>
            <pc:sldMk cId="1024977953" sldId="384"/>
            <ac:spMk id="81" creationId="{8ED2FF54-0FC2-C510-17E0-891A8FA04B63}"/>
          </ac:spMkLst>
        </pc:spChg>
        <pc:spChg chg="add del mod modVis">
          <ac:chgData name="Merlin Gutter" userId="2abc6f04-74af-430b-bdc8-569c3bfa1dda" providerId="ADAL" clId="{CB1EFBC3-10F5-3048-8961-5969497C0019}" dt="2022-11-23T17:34:12.086" v="100180"/>
          <ac:spMkLst>
            <pc:docMk/>
            <pc:sldMk cId="1024977953" sldId="384"/>
            <ac:spMk id="82" creationId="{EB0F8DEB-787E-C884-B990-E6408D712F3D}"/>
          </ac:spMkLst>
        </pc:spChg>
        <pc:spChg chg="add del mod replST">
          <ac:chgData name="Merlin Gutter" userId="2abc6f04-74af-430b-bdc8-569c3bfa1dda" providerId="ADAL" clId="{CB1EFBC3-10F5-3048-8961-5969497C0019}" dt="2022-11-23T17:35:56.970" v="105699"/>
          <ac:spMkLst>
            <pc:docMk/>
            <pc:sldMk cId="1024977953" sldId="384"/>
            <ac:spMk id="87" creationId="{53D04A87-FCAF-5A8A-7263-A52500A6C3B1}"/>
          </ac:spMkLst>
        </pc:spChg>
        <pc:spChg chg="add del mod replST">
          <ac:chgData name="Merlin Gutter" userId="2abc6f04-74af-430b-bdc8-569c3bfa1dda" providerId="ADAL" clId="{CB1EFBC3-10F5-3048-8961-5969497C0019}" dt="2022-11-23T17:35:56.976" v="105700"/>
          <ac:spMkLst>
            <pc:docMk/>
            <pc:sldMk cId="1024977953" sldId="384"/>
            <ac:spMk id="88" creationId="{5B3DC2CB-F005-0286-D251-0198AEE8B06C}"/>
          </ac:spMkLst>
        </pc:spChg>
        <pc:spChg chg="add del mod replST">
          <ac:chgData name="Merlin Gutter" userId="2abc6f04-74af-430b-bdc8-569c3bfa1dda" providerId="ADAL" clId="{CB1EFBC3-10F5-3048-8961-5969497C0019}" dt="2022-11-23T17:35:56.977" v="105701"/>
          <ac:spMkLst>
            <pc:docMk/>
            <pc:sldMk cId="1024977953" sldId="384"/>
            <ac:spMk id="89" creationId="{A90EB6AD-702E-A6D2-0137-A9C991F2745C}"/>
          </ac:spMkLst>
        </pc:spChg>
        <pc:spChg chg="add del mod replST">
          <ac:chgData name="Merlin Gutter" userId="2abc6f04-74af-430b-bdc8-569c3bfa1dda" providerId="ADAL" clId="{CB1EFBC3-10F5-3048-8961-5969497C0019}" dt="2022-11-23T17:35:56.978" v="105702"/>
          <ac:spMkLst>
            <pc:docMk/>
            <pc:sldMk cId="1024977953" sldId="384"/>
            <ac:spMk id="90" creationId="{CBE9862C-A204-8483-BCE2-81BB17ED10A0}"/>
          </ac:spMkLst>
        </pc:spChg>
        <pc:spChg chg="add mod replST">
          <ac:chgData name="Merlin Gutter" userId="2abc6f04-74af-430b-bdc8-569c3bfa1dda" providerId="ADAL" clId="{CB1EFBC3-10F5-3048-8961-5969497C0019}" dt="2022-11-23T17:47:24.441" v="108387"/>
          <ac:spMkLst>
            <pc:docMk/>
            <pc:sldMk cId="1024977953" sldId="384"/>
            <ac:spMk id="91" creationId="{2488374E-1A7F-6CB7-2306-E180F3E2B984}"/>
          </ac:spMkLst>
        </pc:spChg>
        <pc:spChg chg="add mod replST">
          <ac:chgData name="Merlin Gutter" userId="2abc6f04-74af-430b-bdc8-569c3bfa1dda" providerId="ADAL" clId="{CB1EFBC3-10F5-3048-8961-5969497C0019}" dt="2022-11-23T17:47:24.445" v="108401"/>
          <ac:spMkLst>
            <pc:docMk/>
            <pc:sldMk cId="1024977953" sldId="384"/>
            <ac:spMk id="92" creationId="{92413BEF-81F9-6798-C703-840CEB8F3E4A}"/>
          </ac:spMkLst>
        </pc:spChg>
        <pc:spChg chg="add mod replST">
          <ac:chgData name="Merlin Gutter" userId="2abc6f04-74af-430b-bdc8-569c3bfa1dda" providerId="ADAL" clId="{CB1EFBC3-10F5-3048-8961-5969497C0019}" dt="2022-11-23T17:47:24.448" v="108415"/>
          <ac:spMkLst>
            <pc:docMk/>
            <pc:sldMk cId="1024977953" sldId="384"/>
            <ac:spMk id="93" creationId="{E653F816-EA88-1C4E-B74F-058BEA9E2F26}"/>
          </ac:spMkLst>
        </pc:spChg>
        <pc:spChg chg="add mod replST">
          <ac:chgData name="Merlin Gutter" userId="2abc6f04-74af-430b-bdc8-569c3bfa1dda" providerId="ADAL" clId="{CB1EFBC3-10F5-3048-8961-5969497C0019}" dt="2022-11-23T17:47:24.451" v="108429"/>
          <ac:spMkLst>
            <pc:docMk/>
            <pc:sldMk cId="1024977953" sldId="384"/>
            <ac:spMk id="94" creationId="{7F96FD82-83CF-9E22-0D70-30F35672B873}"/>
          </ac:spMkLst>
        </pc:spChg>
        <pc:spChg chg="add mod replST">
          <ac:chgData name="Merlin Gutter" userId="2abc6f04-74af-430b-bdc8-569c3bfa1dda" providerId="ADAL" clId="{CB1EFBC3-10F5-3048-8961-5969497C0019}" dt="2022-11-23T17:47:24.454" v="108443"/>
          <ac:spMkLst>
            <pc:docMk/>
            <pc:sldMk cId="1024977953" sldId="384"/>
            <ac:spMk id="95" creationId="{59917969-F0A1-476D-E236-5BE0D29869AB}"/>
          </ac:spMkLst>
        </pc:spChg>
        <pc:spChg chg="add mod replST">
          <ac:chgData name="Merlin Gutter" userId="2abc6f04-74af-430b-bdc8-569c3bfa1dda" providerId="ADAL" clId="{CB1EFBC3-10F5-3048-8961-5969497C0019}" dt="2022-11-23T17:47:24.457" v="108457"/>
          <ac:spMkLst>
            <pc:docMk/>
            <pc:sldMk cId="1024977953" sldId="384"/>
            <ac:spMk id="96" creationId="{7727C674-B1E7-0476-EA43-E187048C5C89}"/>
          </ac:spMkLst>
        </pc:spChg>
        <pc:spChg chg="add del mod replST">
          <ac:chgData name="Merlin Gutter" userId="2abc6f04-74af-430b-bdc8-569c3bfa1dda" providerId="ADAL" clId="{CB1EFBC3-10F5-3048-8961-5969497C0019}" dt="2022-11-23T17:35:48.507" v="105358"/>
          <ac:spMkLst>
            <pc:docMk/>
            <pc:sldMk cId="1024977953" sldId="384"/>
            <ac:spMk id="97" creationId="{048591EE-7D45-4E91-DF83-B31C0C82DB86}"/>
          </ac:spMkLst>
        </pc:spChg>
        <pc:spChg chg="add del mod replST">
          <ac:chgData name="Merlin Gutter" userId="2abc6f04-74af-430b-bdc8-569c3bfa1dda" providerId="ADAL" clId="{CB1EFBC3-10F5-3048-8961-5969497C0019}" dt="2022-11-23T17:35:48.509" v="105361"/>
          <ac:spMkLst>
            <pc:docMk/>
            <pc:sldMk cId="1024977953" sldId="384"/>
            <ac:spMk id="98" creationId="{38B89A47-F58A-F90B-B0FE-BA3CC5EA09B7}"/>
          </ac:spMkLst>
        </pc:spChg>
        <pc:spChg chg="add del mod replST">
          <ac:chgData name="Merlin Gutter" userId="2abc6f04-74af-430b-bdc8-569c3bfa1dda" providerId="ADAL" clId="{CB1EFBC3-10F5-3048-8961-5969497C0019}" dt="2022-11-23T17:35:48.511" v="105364"/>
          <ac:spMkLst>
            <pc:docMk/>
            <pc:sldMk cId="1024977953" sldId="384"/>
            <ac:spMk id="99" creationId="{9B9D1248-995F-C156-058C-1BCD05C2AB03}"/>
          </ac:spMkLst>
        </pc:spChg>
        <pc:spChg chg="add del mod replST">
          <ac:chgData name="Merlin Gutter" userId="2abc6f04-74af-430b-bdc8-569c3bfa1dda" providerId="ADAL" clId="{CB1EFBC3-10F5-3048-8961-5969497C0019}" dt="2022-11-23T17:35:48.514" v="105367"/>
          <ac:spMkLst>
            <pc:docMk/>
            <pc:sldMk cId="1024977953" sldId="384"/>
            <ac:spMk id="100" creationId="{FC70B620-7730-8B95-1F2B-B4D03E582629}"/>
          </ac:spMkLst>
        </pc:spChg>
        <pc:spChg chg="add del mod replST">
          <ac:chgData name="Merlin Gutter" userId="2abc6f04-74af-430b-bdc8-569c3bfa1dda" providerId="ADAL" clId="{CB1EFBC3-10F5-3048-8961-5969497C0019}" dt="2022-11-23T17:35:02.259" v="103005"/>
          <ac:spMkLst>
            <pc:docMk/>
            <pc:sldMk cId="1024977953" sldId="384"/>
            <ac:spMk id="101" creationId="{EC7A201C-AD3F-9761-D60E-3AA29F1F18F4}"/>
          </ac:spMkLst>
        </pc:spChg>
        <pc:spChg chg="add del mod replST">
          <ac:chgData name="Merlin Gutter" userId="2abc6f04-74af-430b-bdc8-569c3bfa1dda" providerId="ADAL" clId="{CB1EFBC3-10F5-3048-8961-5969497C0019}" dt="2022-11-23T17:35:02.261" v="103008"/>
          <ac:spMkLst>
            <pc:docMk/>
            <pc:sldMk cId="1024977953" sldId="384"/>
            <ac:spMk id="102" creationId="{DC20C49B-ABF4-E098-7E9F-138481F045DA}"/>
          </ac:spMkLst>
        </pc:spChg>
        <pc:spChg chg="add del mod replST">
          <ac:chgData name="Merlin Gutter" userId="2abc6f04-74af-430b-bdc8-569c3bfa1dda" providerId="ADAL" clId="{CB1EFBC3-10F5-3048-8961-5969497C0019}" dt="2022-11-23T17:35:02.262" v="103011"/>
          <ac:spMkLst>
            <pc:docMk/>
            <pc:sldMk cId="1024977953" sldId="384"/>
            <ac:spMk id="103" creationId="{4A3FBD4E-1CB8-3E30-EF45-7D0A3BF22842}"/>
          </ac:spMkLst>
        </pc:spChg>
        <pc:spChg chg="add del mod replST">
          <ac:chgData name="Merlin Gutter" userId="2abc6f04-74af-430b-bdc8-569c3bfa1dda" providerId="ADAL" clId="{CB1EFBC3-10F5-3048-8961-5969497C0019}" dt="2022-11-23T17:35:02.263" v="103014"/>
          <ac:spMkLst>
            <pc:docMk/>
            <pc:sldMk cId="1024977953" sldId="384"/>
            <ac:spMk id="104" creationId="{200EFDF1-DB05-A577-A29A-87B4C69552F9}"/>
          </ac:spMkLst>
        </pc:spChg>
        <pc:spChg chg="add del mod replST">
          <ac:chgData name="Merlin Gutter" userId="2abc6f04-74af-430b-bdc8-569c3bfa1dda" providerId="ADAL" clId="{CB1EFBC3-10F5-3048-8961-5969497C0019}" dt="2022-11-23T17:35:02.264" v="103017"/>
          <ac:spMkLst>
            <pc:docMk/>
            <pc:sldMk cId="1024977953" sldId="384"/>
            <ac:spMk id="105" creationId="{35AD14D7-606E-41E1-B108-908F34156504}"/>
          </ac:spMkLst>
        </pc:spChg>
        <pc:spChg chg="add del mod modVis">
          <ac:chgData name="Merlin Gutter" userId="2abc6f04-74af-430b-bdc8-569c3bfa1dda" providerId="ADAL" clId="{CB1EFBC3-10F5-3048-8961-5969497C0019}" dt="2022-11-23T17:35:00.787" v="103000"/>
          <ac:spMkLst>
            <pc:docMk/>
            <pc:sldMk cId="1024977953" sldId="384"/>
            <ac:spMk id="106" creationId="{F80E1823-8E63-7C8B-82DA-0B75C822545A}"/>
          </ac:spMkLst>
        </pc:spChg>
        <pc:spChg chg="add del mod replST">
          <ac:chgData name="Merlin Gutter" userId="2abc6f04-74af-430b-bdc8-569c3bfa1dda" providerId="ADAL" clId="{CB1EFBC3-10F5-3048-8961-5969497C0019}" dt="2022-11-23T17:35:02.763" v="103814"/>
          <ac:spMkLst>
            <pc:docMk/>
            <pc:sldMk cId="1024977953" sldId="384"/>
            <ac:spMk id="107" creationId="{913DF8A7-BC01-B8B4-0384-8A25BBD832CD}"/>
          </ac:spMkLst>
        </pc:spChg>
        <pc:spChg chg="add del mod replST">
          <ac:chgData name="Merlin Gutter" userId="2abc6f04-74af-430b-bdc8-569c3bfa1dda" providerId="ADAL" clId="{CB1EFBC3-10F5-3048-8961-5969497C0019}" dt="2022-11-23T17:35:17.940" v="104515"/>
          <ac:spMkLst>
            <pc:docMk/>
            <pc:sldMk cId="1024977953" sldId="384"/>
            <ac:spMk id="108" creationId="{6F522847-06E0-31A1-906E-B853CE2795F0}"/>
          </ac:spMkLst>
        </pc:spChg>
        <pc:spChg chg="add del mod replST">
          <ac:chgData name="Merlin Gutter" userId="2abc6f04-74af-430b-bdc8-569c3bfa1dda" providerId="ADAL" clId="{CB1EFBC3-10F5-3048-8961-5969497C0019}" dt="2022-11-23T17:35:17.942" v="104519"/>
          <ac:spMkLst>
            <pc:docMk/>
            <pc:sldMk cId="1024977953" sldId="384"/>
            <ac:spMk id="109" creationId="{775186B2-2D1D-B9A2-6F06-313F4FF27C9B}"/>
          </ac:spMkLst>
        </pc:spChg>
        <pc:spChg chg="add del mod replST">
          <ac:chgData name="Merlin Gutter" userId="2abc6f04-74af-430b-bdc8-569c3bfa1dda" providerId="ADAL" clId="{CB1EFBC3-10F5-3048-8961-5969497C0019}" dt="2022-11-23T17:35:02.766" v="103824"/>
          <ac:spMkLst>
            <pc:docMk/>
            <pc:sldMk cId="1024977953" sldId="384"/>
            <ac:spMk id="110" creationId="{F84F5A5F-752A-B276-5269-009EEDD3FDA3}"/>
          </ac:spMkLst>
        </pc:spChg>
        <pc:spChg chg="add del mod replST">
          <ac:chgData name="Merlin Gutter" userId="2abc6f04-74af-430b-bdc8-569c3bfa1dda" providerId="ADAL" clId="{CB1EFBC3-10F5-3048-8961-5969497C0019}" dt="2022-11-23T17:35:17.941" v="104517"/>
          <ac:spMkLst>
            <pc:docMk/>
            <pc:sldMk cId="1024977953" sldId="384"/>
            <ac:spMk id="111" creationId="{56DDB077-C038-F3A2-ABD5-8643FCABDF57}"/>
          </ac:spMkLst>
        </pc:spChg>
        <pc:spChg chg="add del mod replST">
          <ac:chgData name="Merlin Gutter" userId="2abc6f04-74af-430b-bdc8-569c3bfa1dda" providerId="ADAL" clId="{CB1EFBC3-10F5-3048-8961-5969497C0019}" dt="2022-11-23T17:35:17.944" v="104525"/>
          <ac:spMkLst>
            <pc:docMk/>
            <pc:sldMk cId="1024977953" sldId="384"/>
            <ac:spMk id="112" creationId="{F6277925-CCDF-5E4A-B68F-494B4BC619AD}"/>
          </ac:spMkLst>
        </pc:spChg>
        <pc:spChg chg="add del mod replST">
          <ac:chgData name="Merlin Gutter" userId="2abc6f04-74af-430b-bdc8-569c3bfa1dda" providerId="ADAL" clId="{CB1EFBC3-10F5-3048-8961-5969497C0019}" dt="2022-11-23T17:35:02.784" v="103876"/>
          <ac:spMkLst>
            <pc:docMk/>
            <pc:sldMk cId="1024977953" sldId="384"/>
            <ac:spMk id="113" creationId="{336DB1C7-0A04-58F3-587E-4B8DEC7296C9}"/>
          </ac:spMkLst>
        </pc:spChg>
        <pc:spChg chg="add del mod replST">
          <ac:chgData name="Merlin Gutter" userId="2abc6f04-74af-430b-bdc8-569c3bfa1dda" providerId="ADAL" clId="{CB1EFBC3-10F5-3048-8961-5969497C0019}" dt="2022-11-23T17:35:17.942" v="104521"/>
          <ac:spMkLst>
            <pc:docMk/>
            <pc:sldMk cId="1024977953" sldId="384"/>
            <ac:spMk id="114" creationId="{AB52B925-E7E1-2A45-D588-8FACF42ADD52}"/>
          </ac:spMkLst>
        </pc:spChg>
        <pc:spChg chg="add del mod replST">
          <ac:chgData name="Merlin Gutter" userId="2abc6f04-74af-430b-bdc8-569c3bfa1dda" providerId="ADAL" clId="{CB1EFBC3-10F5-3048-8961-5969497C0019}" dt="2022-11-23T17:35:17.947" v="104533"/>
          <ac:spMkLst>
            <pc:docMk/>
            <pc:sldMk cId="1024977953" sldId="384"/>
            <ac:spMk id="115" creationId="{404AEC7D-D4DB-E875-02D0-E79F3CC2CD71}"/>
          </ac:spMkLst>
        </pc:spChg>
        <pc:spChg chg="add del mod replST">
          <ac:chgData name="Merlin Gutter" userId="2abc6f04-74af-430b-bdc8-569c3bfa1dda" providerId="ADAL" clId="{CB1EFBC3-10F5-3048-8961-5969497C0019}" dt="2022-11-23T17:35:17.946" v="104531"/>
          <ac:spMkLst>
            <pc:docMk/>
            <pc:sldMk cId="1024977953" sldId="384"/>
            <ac:spMk id="116" creationId="{A91367A0-1C37-90ED-4BBB-596869F6387E}"/>
          </ac:spMkLst>
        </pc:spChg>
        <pc:spChg chg="add del mod replST">
          <ac:chgData name="Merlin Gutter" userId="2abc6f04-74af-430b-bdc8-569c3bfa1dda" providerId="ADAL" clId="{CB1EFBC3-10F5-3048-8961-5969497C0019}" dt="2022-11-23T17:35:17.945" v="104529"/>
          <ac:spMkLst>
            <pc:docMk/>
            <pc:sldMk cId="1024977953" sldId="384"/>
            <ac:spMk id="117" creationId="{A15317E8-B690-136F-A81A-2737C7D71081}"/>
          </ac:spMkLst>
        </pc:spChg>
        <pc:spChg chg="add del mod replST">
          <ac:chgData name="Merlin Gutter" userId="2abc6f04-74af-430b-bdc8-569c3bfa1dda" providerId="ADAL" clId="{CB1EFBC3-10F5-3048-8961-5969497C0019}" dt="2022-11-23T17:35:17.948" v="104537"/>
          <ac:spMkLst>
            <pc:docMk/>
            <pc:sldMk cId="1024977953" sldId="384"/>
            <ac:spMk id="118" creationId="{96AE0237-000B-8120-F5A6-5AD82439BB9D}"/>
          </ac:spMkLst>
        </pc:spChg>
        <pc:spChg chg="add del mod replST">
          <ac:chgData name="Merlin Gutter" userId="2abc6f04-74af-430b-bdc8-569c3bfa1dda" providerId="ADAL" clId="{CB1EFBC3-10F5-3048-8961-5969497C0019}" dt="2022-11-23T17:35:02.265" v="103021"/>
          <ac:spMkLst>
            <pc:docMk/>
            <pc:sldMk cId="1024977953" sldId="384"/>
            <ac:spMk id="119" creationId="{CD313076-8C11-ED89-396D-D3BE6E590CC5}"/>
          </ac:spMkLst>
        </pc:spChg>
        <pc:spChg chg="add del mod replST">
          <ac:chgData name="Merlin Gutter" userId="2abc6f04-74af-430b-bdc8-569c3bfa1dda" providerId="ADAL" clId="{CB1EFBC3-10F5-3048-8961-5969497C0019}" dt="2022-11-23T17:35:02.264" v="103019"/>
          <ac:spMkLst>
            <pc:docMk/>
            <pc:sldMk cId="1024977953" sldId="384"/>
            <ac:spMk id="120" creationId="{706F298B-8AB1-3E89-AEF4-1EACA0468933}"/>
          </ac:spMkLst>
        </pc:spChg>
        <pc:spChg chg="add del mod replST">
          <ac:chgData name="Merlin Gutter" userId="2abc6f04-74af-430b-bdc8-569c3bfa1dda" providerId="ADAL" clId="{CB1EFBC3-10F5-3048-8961-5969497C0019}" dt="2022-11-23T17:35:17.950" v="104543"/>
          <ac:spMkLst>
            <pc:docMk/>
            <pc:sldMk cId="1024977953" sldId="384"/>
            <ac:spMk id="121" creationId="{799CD71B-432D-C2A2-6616-EC79C5F1EBBA}"/>
          </ac:spMkLst>
        </pc:spChg>
        <pc:spChg chg="add del mod replST">
          <ac:chgData name="Merlin Gutter" userId="2abc6f04-74af-430b-bdc8-569c3bfa1dda" providerId="ADAL" clId="{CB1EFBC3-10F5-3048-8961-5969497C0019}" dt="2022-11-23T17:35:17.949" v="104541"/>
          <ac:spMkLst>
            <pc:docMk/>
            <pc:sldMk cId="1024977953" sldId="384"/>
            <ac:spMk id="122" creationId="{A0F0574E-6AAD-5AE5-5D60-088DD625F5BE}"/>
          </ac:spMkLst>
        </pc:spChg>
        <pc:spChg chg="add del mod replST">
          <ac:chgData name="Merlin Gutter" userId="2abc6f04-74af-430b-bdc8-569c3bfa1dda" providerId="ADAL" clId="{CB1EFBC3-10F5-3048-8961-5969497C0019}" dt="2022-11-23T17:35:02.266" v="103023"/>
          <ac:spMkLst>
            <pc:docMk/>
            <pc:sldMk cId="1024977953" sldId="384"/>
            <ac:spMk id="123" creationId="{4C5CDE32-B997-841F-F2F6-6AEFE8995382}"/>
          </ac:spMkLst>
        </pc:spChg>
        <pc:spChg chg="add del mod replST">
          <ac:chgData name="Merlin Gutter" userId="2abc6f04-74af-430b-bdc8-569c3bfa1dda" providerId="ADAL" clId="{CB1EFBC3-10F5-3048-8961-5969497C0019}" dt="2022-11-23T17:35:02.267" v="103027"/>
          <ac:spMkLst>
            <pc:docMk/>
            <pc:sldMk cId="1024977953" sldId="384"/>
            <ac:spMk id="124" creationId="{1B7E88EE-C738-750A-82DA-8C34D2BDDC6E}"/>
          </ac:spMkLst>
        </pc:spChg>
        <pc:spChg chg="add del mod replST">
          <ac:chgData name="Merlin Gutter" userId="2abc6f04-74af-430b-bdc8-569c3bfa1dda" providerId="ADAL" clId="{CB1EFBC3-10F5-3048-8961-5969497C0019}" dt="2022-11-23T17:35:02.267" v="103025"/>
          <ac:spMkLst>
            <pc:docMk/>
            <pc:sldMk cId="1024977953" sldId="384"/>
            <ac:spMk id="125" creationId="{311CAAD4-7CDD-59D6-AFD3-0ADA82A83E98}"/>
          </ac:spMkLst>
        </pc:spChg>
        <pc:spChg chg="add del mod replST">
          <ac:chgData name="Merlin Gutter" userId="2abc6f04-74af-430b-bdc8-569c3bfa1dda" providerId="ADAL" clId="{CB1EFBC3-10F5-3048-8961-5969497C0019}" dt="2022-11-23T17:35:02.268" v="103031"/>
          <ac:spMkLst>
            <pc:docMk/>
            <pc:sldMk cId="1024977953" sldId="384"/>
            <ac:spMk id="126" creationId="{D3F243DE-6A7D-7529-9EB8-87C7B254D73B}"/>
          </ac:spMkLst>
        </pc:spChg>
        <pc:spChg chg="add del mod replST">
          <ac:chgData name="Merlin Gutter" userId="2abc6f04-74af-430b-bdc8-569c3bfa1dda" providerId="ADAL" clId="{CB1EFBC3-10F5-3048-8961-5969497C0019}" dt="2022-11-23T17:35:02.268" v="103029"/>
          <ac:spMkLst>
            <pc:docMk/>
            <pc:sldMk cId="1024977953" sldId="384"/>
            <ac:spMk id="127" creationId="{4D164C34-0A97-FEDC-0E32-39581CEA6925}"/>
          </ac:spMkLst>
        </pc:spChg>
        <pc:spChg chg="add del mod replST">
          <ac:chgData name="Merlin Gutter" userId="2abc6f04-74af-430b-bdc8-569c3bfa1dda" providerId="ADAL" clId="{CB1EFBC3-10F5-3048-8961-5969497C0019}" dt="2022-11-23T17:35:02.269" v="103033"/>
          <ac:spMkLst>
            <pc:docMk/>
            <pc:sldMk cId="1024977953" sldId="384"/>
            <ac:spMk id="128" creationId="{2EA9C8AF-6F61-3A34-0FAA-79B75367BA8B}"/>
          </ac:spMkLst>
        </pc:spChg>
        <pc:spChg chg="add del mod replST">
          <ac:chgData name="Merlin Gutter" userId="2abc6f04-74af-430b-bdc8-569c3bfa1dda" providerId="ADAL" clId="{CB1EFBC3-10F5-3048-8961-5969497C0019}" dt="2022-11-23T17:35:02.270" v="103037"/>
          <ac:spMkLst>
            <pc:docMk/>
            <pc:sldMk cId="1024977953" sldId="384"/>
            <ac:spMk id="129" creationId="{EC7CD490-F869-EA9D-F350-3ACB2E72A1E6}"/>
          </ac:spMkLst>
        </pc:spChg>
        <pc:spChg chg="add del mod replST">
          <ac:chgData name="Merlin Gutter" userId="2abc6f04-74af-430b-bdc8-569c3bfa1dda" providerId="ADAL" clId="{CB1EFBC3-10F5-3048-8961-5969497C0019}" dt="2022-11-23T17:35:02.270" v="103035"/>
          <ac:spMkLst>
            <pc:docMk/>
            <pc:sldMk cId="1024977953" sldId="384"/>
            <ac:spMk id="130" creationId="{D47BECE4-AC49-0539-FE9D-C0EEE39A9FBF}"/>
          </ac:spMkLst>
        </pc:spChg>
        <pc:spChg chg="add mod replST">
          <ac:chgData name="Merlin Gutter" userId="2abc6f04-74af-430b-bdc8-569c3bfa1dda" providerId="ADAL" clId="{CB1EFBC3-10F5-3048-8961-5969497C0019}" dt="2022-11-23T17:47:24.440" v="108383" actId="208"/>
          <ac:spMkLst>
            <pc:docMk/>
            <pc:sldMk cId="1024977953" sldId="384"/>
            <ac:spMk id="135" creationId="{28C08581-463A-7CFB-A735-BEF12C74D770}"/>
          </ac:spMkLst>
        </pc:spChg>
        <pc:spChg chg="add mod replST">
          <ac:chgData name="Merlin Gutter" userId="2abc6f04-74af-430b-bdc8-569c3bfa1dda" providerId="ADAL" clId="{CB1EFBC3-10F5-3048-8961-5969497C0019}" dt="2022-11-23T17:47:24.444" v="108397" actId="208"/>
          <ac:spMkLst>
            <pc:docMk/>
            <pc:sldMk cId="1024977953" sldId="384"/>
            <ac:spMk id="136" creationId="{A2A9D9C2-AFA5-CE18-5E15-A2EFAE51B007}"/>
          </ac:spMkLst>
        </pc:spChg>
        <pc:spChg chg="add mod replST">
          <ac:chgData name="Merlin Gutter" userId="2abc6f04-74af-430b-bdc8-569c3bfa1dda" providerId="ADAL" clId="{CB1EFBC3-10F5-3048-8961-5969497C0019}" dt="2022-11-23T17:47:24.447" v="108411" actId="208"/>
          <ac:spMkLst>
            <pc:docMk/>
            <pc:sldMk cId="1024977953" sldId="384"/>
            <ac:spMk id="137" creationId="{795A536F-1AAF-E534-F3D8-86EE7FFAF7D8}"/>
          </ac:spMkLst>
        </pc:spChg>
        <pc:spChg chg="add mod replST">
          <ac:chgData name="Merlin Gutter" userId="2abc6f04-74af-430b-bdc8-569c3bfa1dda" providerId="ADAL" clId="{CB1EFBC3-10F5-3048-8961-5969497C0019}" dt="2022-11-23T17:47:24.450" v="108425" actId="208"/>
          <ac:spMkLst>
            <pc:docMk/>
            <pc:sldMk cId="1024977953" sldId="384"/>
            <ac:spMk id="138" creationId="{957E9661-3509-0936-AA4C-52D1F7ECA60A}"/>
          </ac:spMkLst>
        </pc:spChg>
        <pc:spChg chg="add mod replST">
          <ac:chgData name="Merlin Gutter" userId="2abc6f04-74af-430b-bdc8-569c3bfa1dda" providerId="ADAL" clId="{CB1EFBC3-10F5-3048-8961-5969497C0019}" dt="2022-11-23T17:47:24.453" v="108439" actId="208"/>
          <ac:spMkLst>
            <pc:docMk/>
            <pc:sldMk cId="1024977953" sldId="384"/>
            <ac:spMk id="139" creationId="{38AD364F-4E04-C80E-C14C-9E432FCCD468}"/>
          </ac:spMkLst>
        </pc:spChg>
        <pc:spChg chg="add mod replST">
          <ac:chgData name="Merlin Gutter" userId="2abc6f04-74af-430b-bdc8-569c3bfa1dda" providerId="ADAL" clId="{CB1EFBC3-10F5-3048-8961-5969497C0019}" dt="2022-11-23T17:47:24.456" v="108453" actId="208"/>
          <ac:spMkLst>
            <pc:docMk/>
            <pc:sldMk cId="1024977953" sldId="384"/>
            <ac:spMk id="140" creationId="{9116A221-2209-9521-974A-856C36EB0B07}"/>
          </ac:spMkLst>
        </pc:spChg>
        <pc:spChg chg="add del mod replST">
          <ac:chgData name="Merlin Gutter" userId="2abc6f04-74af-430b-bdc8-569c3bfa1dda" providerId="ADAL" clId="{CB1EFBC3-10F5-3048-8961-5969497C0019}" dt="2022-11-23T17:35:48.499" v="105357"/>
          <ac:spMkLst>
            <pc:docMk/>
            <pc:sldMk cId="1024977953" sldId="384"/>
            <ac:spMk id="141" creationId="{3A96350F-5652-FEBC-C3B0-EE436E0810F3}"/>
          </ac:spMkLst>
        </pc:spChg>
        <pc:spChg chg="add del mod replST">
          <ac:chgData name="Merlin Gutter" userId="2abc6f04-74af-430b-bdc8-569c3bfa1dda" providerId="ADAL" clId="{CB1EFBC3-10F5-3048-8961-5969497C0019}" dt="2022-11-23T17:35:48.508" v="105360"/>
          <ac:spMkLst>
            <pc:docMk/>
            <pc:sldMk cId="1024977953" sldId="384"/>
            <ac:spMk id="142" creationId="{3FC19851-104F-2D18-2C16-73CA976CC14D}"/>
          </ac:spMkLst>
        </pc:spChg>
        <pc:spChg chg="add del mod replST">
          <ac:chgData name="Merlin Gutter" userId="2abc6f04-74af-430b-bdc8-569c3bfa1dda" providerId="ADAL" clId="{CB1EFBC3-10F5-3048-8961-5969497C0019}" dt="2022-11-23T17:35:48.511" v="105363"/>
          <ac:spMkLst>
            <pc:docMk/>
            <pc:sldMk cId="1024977953" sldId="384"/>
            <ac:spMk id="143" creationId="{8C2F2181-1595-3078-7F2B-E073EDEAEC34}"/>
          </ac:spMkLst>
        </pc:spChg>
        <pc:spChg chg="add del mod replST">
          <ac:chgData name="Merlin Gutter" userId="2abc6f04-74af-430b-bdc8-569c3bfa1dda" providerId="ADAL" clId="{CB1EFBC3-10F5-3048-8961-5969497C0019}" dt="2022-11-23T17:35:48.513" v="105366"/>
          <ac:spMkLst>
            <pc:docMk/>
            <pc:sldMk cId="1024977953" sldId="384"/>
            <ac:spMk id="144" creationId="{04DB30C4-B1C3-A5FB-BF3A-88E9813D8162}"/>
          </ac:spMkLst>
        </pc:spChg>
        <pc:spChg chg="add del mod replST">
          <ac:chgData name="Merlin Gutter" userId="2abc6f04-74af-430b-bdc8-569c3bfa1dda" providerId="ADAL" clId="{CB1EFBC3-10F5-3048-8961-5969497C0019}" dt="2022-11-23T17:35:02.254" v="103004"/>
          <ac:spMkLst>
            <pc:docMk/>
            <pc:sldMk cId="1024977953" sldId="384"/>
            <ac:spMk id="145" creationId="{F485AAC3-4F52-F60F-13F6-C2FCBFA3C427}"/>
          </ac:spMkLst>
        </pc:spChg>
        <pc:spChg chg="add del mod replST">
          <ac:chgData name="Merlin Gutter" userId="2abc6f04-74af-430b-bdc8-569c3bfa1dda" providerId="ADAL" clId="{CB1EFBC3-10F5-3048-8961-5969497C0019}" dt="2022-11-23T17:35:02.260" v="103007"/>
          <ac:spMkLst>
            <pc:docMk/>
            <pc:sldMk cId="1024977953" sldId="384"/>
            <ac:spMk id="146" creationId="{D141827F-0E06-9E65-4AAA-0F70082F6BF9}"/>
          </ac:spMkLst>
        </pc:spChg>
        <pc:spChg chg="add del mod replST">
          <ac:chgData name="Merlin Gutter" userId="2abc6f04-74af-430b-bdc8-569c3bfa1dda" providerId="ADAL" clId="{CB1EFBC3-10F5-3048-8961-5969497C0019}" dt="2022-11-23T17:35:02.261" v="103010"/>
          <ac:spMkLst>
            <pc:docMk/>
            <pc:sldMk cId="1024977953" sldId="384"/>
            <ac:spMk id="147" creationId="{ABE9BA6F-F82E-4E7A-C796-A3D30E54B595}"/>
          </ac:spMkLst>
        </pc:spChg>
        <pc:spChg chg="add del mod replST">
          <ac:chgData name="Merlin Gutter" userId="2abc6f04-74af-430b-bdc8-569c3bfa1dda" providerId="ADAL" clId="{CB1EFBC3-10F5-3048-8961-5969497C0019}" dt="2022-11-23T17:35:02.262" v="103013"/>
          <ac:spMkLst>
            <pc:docMk/>
            <pc:sldMk cId="1024977953" sldId="384"/>
            <ac:spMk id="148" creationId="{D2FFAAEE-EF1C-2E94-8814-01C8E21FAD12}"/>
          </ac:spMkLst>
        </pc:spChg>
        <pc:spChg chg="add del mod replST">
          <ac:chgData name="Merlin Gutter" userId="2abc6f04-74af-430b-bdc8-569c3bfa1dda" providerId="ADAL" clId="{CB1EFBC3-10F5-3048-8961-5969497C0019}" dt="2022-11-23T17:35:02.263" v="103016"/>
          <ac:spMkLst>
            <pc:docMk/>
            <pc:sldMk cId="1024977953" sldId="384"/>
            <ac:spMk id="149" creationId="{CA24F0E4-7D0B-4BFD-8325-4FD1C4EA154F}"/>
          </ac:spMkLst>
        </pc:spChg>
        <pc:spChg chg="add del mod modVis">
          <ac:chgData name="Merlin Gutter" userId="2abc6f04-74af-430b-bdc8-569c3bfa1dda" providerId="ADAL" clId="{CB1EFBC3-10F5-3048-8961-5969497C0019}" dt="2022-11-23T17:35:02.891" v="104161"/>
          <ac:spMkLst>
            <pc:docMk/>
            <pc:sldMk cId="1024977953" sldId="384"/>
            <ac:spMk id="150" creationId="{59660863-1198-C2A2-8770-FBF399F0D837}"/>
          </ac:spMkLst>
        </pc:spChg>
        <pc:spChg chg="add del mod replST">
          <ac:chgData name="Merlin Gutter" userId="2abc6f04-74af-430b-bdc8-569c3bfa1dda" providerId="ADAL" clId="{CB1EFBC3-10F5-3048-8961-5969497C0019}" dt="2022-11-23T17:35:48.515" v="105369"/>
          <ac:spMkLst>
            <pc:docMk/>
            <pc:sldMk cId="1024977953" sldId="384"/>
            <ac:spMk id="151" creationId="{1A17824E-978D-DCDE-4044-6F86EE13C678}"/>
          </ac:spMkLst>
        </pc:spChg>
        <pc:spChg chg="add del mod replST">
          <ac:chgData name="Merlin Gutter" userId="2abc6f04-74af-430b-bdc8-569c3bfa1dda" providerId="ADAL" clId="{CB1EFBC3-10F5-3048-8961-5969497C0019}" dt="2022-11-23T17:35:18.028" v="104664"/>
          <ac:spMkLst>
            <pc:docMk/>
            <pc:sldMk cId="1024977953" sldId="384"/>
            <ac:spMk id="152" creationId="{F6C3A085-7753-81A8-0016-54705AA3250B}"/>
          </ac:spMkLst>
        </pc:spChg>
        <pc:spChg chg="add del mod replST">
          <ac:chgData name="Merlin Gutter" userId="2abc6f04-74af-430b-bdc8-569c3bfa1dda" providerId="ADAL" clId="{CB1EFBC3-10F5-3048-8961-5969497C0019}" dt="2022-11-23T17:35:17.945" v="104527"/>
          <ac:spMkLst>
            <pc:docMk/>
            <pc:sldMk cId="1024977953" sldId="384"/>
            <ac:spMk id="153" creationId="{106D9D09-1D38-70D9-2DE1-A2832DC9F836}"/>
          </ac:spMkLst>
        </pc:spChg>
        <pc:spChg chg="add del mod replST">
          <ac:chgData name="Merlin Gutter" userId="2abc6f04-74af-430b-bdc8-569c3bfa1dda" providerId="ADAL" clId="{CB1EFBC3-10F5-3048-8961-5969497C0019}" dt="2022-11-23T17:35:48.516" v="105371"/>
          <ac:spMkLst>
            <pc:docMk/>
            <pc:sldMk cId="1024977953" sldId="384"/>
            <ac:spMk id="154" creationId="{87E11E07-5174-D9DA-A93C-2E2D416FE9F4}"/>
          </ac:spMkLst>
        </pc:spChg>
        <pc:spChg chg="add del mod replST">
          <ac:chgData name="Merlin Gutter" userId="2abc6f04-74af-430b-bdc8-569c3bfa1dda" providerId="ADAL" clId="{CB1EFBC3-10F5-3048-8961-5969497C0019}" dt="2022-11-23T17:35:17.947" v="104535"/>
          <ac:spMkLst>
            <pc:docMk/>
            <pc:sldMk cId="1024977953" sldId="384"/>
            <ac:spMk id="155" creationId="{0E1F0AD4-6B17-F0C1-00FF-565ADCE0BDF6}"/>
          </ac:spMkLst>
        </pc:spChg>
        <pc:spChg chg="add del mod replST">
          <ac:chgData name="Merlin Gutter" userId="2abc6f04-74af-430b-bdc8-569c3bfa1dda" providerId="ADAL" clId="{CB1EFBC3-10F5-3048-8961-5969497C0019}" dt="2022-11-23T17:35:48.518" v="105375"/>
          <ac:spMkLst>
            <pc:docMk/>
            <pc:sldMk cId="1024977953" sldId="384"/>
            <ac:spMk id="156" creationId="{5E394E75-C9B6-D34D-E49B-B064FBC1EABE}"/>
          </ac:spMkLst>
        </pc:spChg>
        <pc:spChg chg="add del mod replST">
          <ac:chgData name="Merlin Gutter" userId="2abc6f04-74af-430b-bdc8-569c3bfa1dda" providerId="ADAL" clId="{CB1EFBC3-10F5-3048-8961-5969497C0019}" dt="2022-11-23T17:35:18.035" v="104688"/>
          <ac:spMkLst>
            <pc:docMk/>
            <pc:sldMk cId="1024977953" sldId="384"/>
            <ac:spMk id="157" creationId="{13002D55-345D-50A3-8F7A-D9DFDFC6B0EF}"/>
          </ac:spMkLst>
        </pc:spChg>
        <pc:spChg chg="add del mod replST">
          <ac:chgData name="Merlin Gutter" userId="2abc6f04-74af-430b-bdc8-569c3bfa1dda" providerId="ADAL" clId="{CB1EFBC3-10F5-3048-8961-5969497C0019}" dt="2022-11-23T17:35:17.949" v="104539"/>
          <ac:spMkLst>
            <pc:docMk/>
            <pc:sldMk cId="1024977953" sldId="384"/>
            <ac:spMk id="158" creationId="{FF809389-A3BC-2F6D-C171-0910F7217841}"/>
          </ac:spMkLst>
        </pc:spChg>
        <pc:spChg chg="add del mod replST">
          <ac:chgData name="Merlin Gutter" userId="2abc6f04-74af-430b-bdc8-569c3bfa1dda" providerId="ADAL" clId="{CB1EFBC3-10F5-3048-8961-5969497C0019}" dt="2022-11-23T17:35:48.519" v="105377"/>
          <ac:spMkLst>
            <pc:docMk/>
            <pc:sldMk cId="1024977953" sldId="384"/>
            <ac:spMk id="159" creationId="{3FFA96E4-CC7E-193F-B429-57CF71BC9784}"/>
          </ac:spMkLst>
        </pc:spChg>
        <pc:spChg chg="add del mod replST">
          <ac:chgData name="Merlin Gutter" userId="2abc6f04-74af-430b-bdc8-569c3bfa1dda" providerId="ADAL" clId="{CB1EFBC3-10F5-3048-8961-5969497C0019}" dt="2022-11-23T17:35:48.717" v="105614"/>
          <ac:spMkLst>
            <pc:docMk/>
            <pc:sldMk cId="1024977953" sldId="384"/>
            <ac:spMk id="160" creationId="{B4F76E01-D26E-9970-8CB0-6336C777AF0D}"/>
          </ac:spMkLst>
        </pc:spChg>
        <pc:spChg chg="add del mod replST">
          <ac:chgData name="Merlin Gutter" userId="2abc6f04-74af-430b-bdc8-569c3bfa1dda" providerId="ADAL" clId="{CB1EFBC3-10F5-3048-8961-5969497C0019}" dt="2022-11-23T17:35:48.521" v="105381"/>
          <ac:spMkLst>
            <pc:docMk/>
            <pc:sldMk cId="1024977953" sldId="384"/>
            <ac:spMk id="161" creationId="{54842474-2A03-5A2E-27BB-F79B1D16DB63}"/>
          </ac:spMkLst>
        </pc:spChg>
        <pc:spChg chg="add del mod replST">
          <ac:chgData name="Merlin Gutter" userId="2abc6f04-74af-430b-bdc8-569c3bfa1dda" providerId="ADAL" clId="{CB1EFBC3-10F5-3048-8961-5969497C0019}" dt="2022-11-23T17:35:48.520" v="105379"/>
          <ac:spMkLst>
            <pc:docMk/>
            <pc:sldMk cId="1024977953" sldId="384"/>
            <ac:spMk id="162" creationId="{C859FFEF-D4B2-46B1-99D0-7B1850A0448A}"/>
          </ac:spMkLst>
        </pc:spChg>
        <pc:spChg chg="add del mod replST">
          <ac:chgData name="Merlin Gutter" userId="2abc6f04-74af-430b-bdc8-569c3bfa1dda" providerId="ADAL" clId="{CB1EFBC3-10F5-3048-8961-5969497C0019}" dt="2022-11-23T17:35:48.517" v="105373"/>
          <ac:spMkLst>
            <pc:docMk/>
            <pc:sldMk cId="1024977953" sldId="384"/>
            <ac:spMk id="166" creationId="{7B014DEC-65DC-16B1-7BD1-3E94E9EA3A18}"/>
          </ac:spMkLst>
        </pc:spChg>
        <pc:spChg chg="add del mod modVis">
          <ac:chgData name="Merlin Gutter" userId="2abc6f04-74af-430b-bdc8-569c3bfa1dda" providerId="ADAL" clId="{CB1EFBC3-10F5-3048-8961-5969497C0019}" dt="2022-11-23T17:35:18.096" v="104897"/>
          <ac:spMkLst>
            <pc:docMk/>
            <pc:sldMk cId="1024977953" sldId="384"/>
            <ac:spMk id="167" creationId="{D3EA8A92-8BBA-823F-DB6E-BCC798704202}"/>
          </ac:spMkLst>
        </pc:spChg>
        <pc:spChg chg="add del mod modVis">
          <ac:chgData name="Merlin Gutter" userId="2abc6f04-74af-430b-bdc8-569c3bfa1dda" providerId="ADAL" clId="{CB1EFBC3-10F5-3048-8961-5969497C0019}" dt="2022-11-23T17:35:41.011" v="105353"/>
          <ac:spMkLst>
            <pc:docMk/>
            <pc:sldMk cId="1024977953" sldId="384"/>
            <ac:spMk id="172" creationId="{4CC6D0AA-9B2F-05D8-6AF1-2A85C6E45083}"/>
          </ac:spMkLst>
        </pc:spChg>
        <pc:spChg chg="add del mod modVis">
          <ac:chgData name="Merlin Gutter" userId="2abc6f04-74af-430b-bdc8-569c3bfa1dda" providerId="ADAL" clId="{CB1EFBC3-10F5-3048-8961-5969497C0019}" dt="2022-11-23T17:35:48.760" v="105696"/>
          <ac:spMkLst>
            <pc:docMk/>
            <pc:sldMk cId="1024977953" sldId="384"/>
            <ac:spMk id="174" creationId="{91CA5D99-C48C-7BB8-F34B-B3E5BBE82D62}"/>
          </ac:spMkLst>
        </pc:spChg>
        <pc:spChg chg="add del mod modVis">
          <ac:chgData name="Merlin Gutter" userId="2abc6f04-74af-430b-bdc8-569c3bfa1dda" providerId="ADAL" clId="{CB1EFBC3-10F5-3048-8961-5969497C0019}" dt="2022-11-23T17:36:44.956" v="106454"/>
          <ac:spMkLst>
            <pc:docMk/>
            <pc:sldMk cId="1024977953" sldId="384"/>
            <ac:spMk id="183" creationId="{659A7D68-E533-BDF2-D416-2D467DD32D42}"/>
          </ac:spMkLst>
        </pc:spChg>
        <pc:spChg chg="add del mod modVis">
          <ac:chgData name="Merlin Gutter" userId="2abc6f04-74af-430b-bdc8-569c3bfa1dda" providerId="ADAL" clId="{CB1EFBC3-10F5-3048-8961-5969497C0019}" dt="2022-11-23T17:36:45.994" v="106604"/>
          <ac:spMkLst>
            <pc:docMk/>
            <pc:sldMk cId="1024977953" sldId="384"/>
            <ac:spMk id="185" creationId="{E08A511A-9B50-0D0F-ABC4-AAE8AD67D259}"/>
          </ac:spMkLst>
        </pc:spChg>
        <pc:spChg chg="add mod">
          <ac:chgData name="Merlin Gutter" userId="2abc6f04-74af-430b-bdc8-569c3bfa1dda" providerId="ADAL" clId="{CB1EFBC3-10F5-3048-8961-5969497C0019}" dt="2022-11-23T17:37:39.848" v="107013" actId="1076"/>
          <ac:spMkLst>
            <pc:docMk/>
            <pc:sldMk cId="1024977953" sldId="384"/>
            <ac:spMk id="191" creationId="{F424A6DD-59C7-2A25-419A-6A2B086AB2B8}"/>
          </ac:spMkLst>
        </pc:spChg>
        <pc:spChg chg="add mod">
          <ac:chgData name="Merlin Gutter" userId="2abc6f04-74af-430b-bdc8-569c3bfa1dda" providerId="ADAL" clId="{CB1EFBC3-10F5-3048-8961-5969497C0019}" dt="2022-11-23T17:37:47.369" v="107034" actId="1076"/>
          <ac:spMkLst>
            <pc:docMk/>
            <pc:sldMk cId="1024977953" sldId="384"/>
            <ac:spMk id="192" creationId="{EA776EC6-D39D-2188-D84A-E0757F86B55F}"/>
          </ac:spMkLst>
        </pc:spChg>
        <pc:spChg chg="add mod">
          <ac:chgData name="Merlin Gutter" userId="2abc6f04-74af-430b-bdc8-569c3bfa1dda" providerId="ADAL" clId="{CB1EFBC3-10F5-3048-8961-5969497C0019}" dt="2022-11-23T17:37:52.880" v="107046" actId="1076"/>
          <ac:spMkLst>
            <pc:docMk/>
            <pc:sldMk cId="1024977953" sldId="384"/>
            <ac:spMk id="193" creationId="{8F56C84C-431C-CFF9-60EA-07F4B64D9DE7}"/>
          </ac:spMkLst>
        </pc:spChg>
        <pc:grpChg chg="del">
          <ac:chgData name="Merlin Gutter" userId="2abc6f04-74af-430b-bdc8-569c3bfa1dda" providerId="ADAL" clId="{CB1EFBC3-10F5-3048-8961-5969497C0019}" dt="2022-11-23T23:12:33.304" v="130376" actId="478"/>
          <ac:grpSpMkLst>
            <pc:docMk/>
            <pc:sldMk cId="1024977953" sldId="384"/>
            <ac:grpSpMk id="4" creationId="{5502B5AF-C3F0-30A2-8874-08D1EF355B71}"/>
          </ac:grpSpMkLst>
        </pc:grpChg>
        <pc:graphicFrameChg chg="mod">
          <ac:chgData name="Merlin Gutter" userId="2abc6f04-74af-430b-bdc8-569c3bfa1dda" providerId="ADAL" clId="{CB1EFBC3-10F5-3048-8961-5969497C0019}" dt="2022-11-24T19:22:59.294" v="130560" actId="14100"/>
          <ac:graphicFrameMkLst>
            <pc:docMk/>
            <pc:sldMk cId="1024977953" sldId="384"/>
            <ac:graphicFrameMk id="9" creationId="{21F7432A-F56F-B337-F4C4-88633C2D2EC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07.791" v="95852"/>
          <ac:graphicFrameMkLst>
            <pc:docMk/>
            <pc:sldMk cId="1024977953" sldId="384"/>
            <ac:graphicFrameMk id="11" creationId="{9DC576AD-207E-EDD0-4DA7-E661BE732BAE}"/>
          </ac:graphicFrameMkLst>
        </pc:graphicFrameChg>
        <pc:graphicFrameChg chg="add mod modVis replST">
          <ac:chgData name="Merlin Gutter" userId="2abc6f04-74af-430b-bdc8-569c3bfa1dda" providerId="ADAL" clId="{CB1EFBC3-10F5-3048-8961-5969497C0019}" dt="2022-11-23T17:47:24.462" v="108461"/>
          <ac:graphicFrameMkLst>
            <pc:docMk/>
            <pc:sldMk cId="1024977953" sldId="384"/>
            <ac:graphicFrameMk id="14" creationId="{7ADEEFC3-B3E4-BF5D-EF14-81FFBC319FD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20.175" v="96013"/>
          <ac:graphicFrameMkLst>
            <pc:docMk/>
            <pc:sldMk cId="1024977953" sldId="384"/>
            <ac:graphicFrameMk id="27" creationId="{135B7D6A-CDC8-1365-4E13-391C5780B42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25.523" v="96187"/>
          <ac:graphicFrameMkLst>
            <pc:docMk/>
            <pc:sldMk cId="1024977953" sldId="384"/>
            <ac:graphicFrameMk id="33" creationId="{75E25E11-241A-E6F5-B172-8C204907524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31.021" v="96389"/>
          <ac:graphicFrameMkLst>
            <pc:docMk/>
            <pc:sldMk cId="1024977953" sldId="384"/>
            <ac:graphicFrameMk id="35" creationId="{2D47657F-B262-F6AD-6BDD-E80E607989B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32.312" v="96456"/>
          <ac:graphicFrameMkLst>
            <pc:docMk/>
            <pc:sldMk cId="1024977953" sldId="384"/>
            <ac:graphicFrameMk id="37" creationId="{FD1DD23F-7FFA-05AF-BDE1-5238CA46952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36.642" v="96642"/>
          <ac:graphicFrameMkLst>
            <pc:docMk/>
            <pc:sldMk cId="1024977953" sldId="384"/>
            <ac:graphicFrameMk id="38" creationId="{8D78C0F1-687D-96DE-2514-BEA29EB9BEC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39.515" v="96718"/>
          <ac:graphicFrameMkLst>
            <pc:docMk/>
            <pc:sldMk cId="1024977953" sldId="384"/>
            <ac:graphicFrameMk id="40" creationId="{2823E109-09A1-B9EB-1973-F82EE053D3A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52.036" v="97460"/>
          <ac:graphicFrameMkLst>
            <pc:docMk/>
            <pc:sldMk cId="1024977953" sldId="384"/>
            <ac:graphicFrameMk id="41" creationId="{3373F445-B539-CD2C-31F5-02C0025782F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53.892" v="97615"/>
          <ac:graphicFrameMkLst>
            <pc:docMk/>
            <pc:sldMk cId="1024977953" sldId="384"/>
            <ac:graphicFrameMk id="52" creationId="{5F692146-500F-73CE-1D28-C3168C63422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55.991" v="97706"/>
          <ac:graphicFrameMkLst>
            <pc:docMk/>
            <pc:sldMk cId="1024977953" sldId="384"/>
            <ac:graphicFrameMk id="53" creationId="{9A673461-1581-45C0-4284-B1BC44C8442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57.672" v="97765"/>
          <ac:graphicFrameMkLst>
            <pc:docMk/>
            <pc:sldMk cId="1024977953" sldId="384"/>
            <ac:graphicFrameMk id="54" creationId="{5E802CE8-F0B0-91B6-6425-6077F5BF6B7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1:58.915" v="97824"/>
          <ac:graphicFrameMkLst>
            <pc:docMk/>
            <pc:sldMk cId="1024977953" sldId="384"/>
            <ac:graphicFrameMk id="55" creationId="{FD8D9961-14DF-02C8-C29D-CCE139DB1C1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2:12.692" v="98047"/>
          <ac:graphicFrameMkLst>
            <pc:docMk/>
            <pc:sldMk cId="1024977953" sldId="384"/>
            <ac:graphicFrameMk id="56" creationId="{39D07806-63B5-961E-213B-CBC5712A5AE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2:26.510" v="98109"/>
          <ac:graphicFrameMkLst>
            <pc:docMk/>
            <pc:sldMk cId="1024977953" sldId="384"/>
            <ac:graphicFrameMk id="57" creationId="{014CB198-9F19-752B-41AA-78874B687C7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2:30.775" v="98171"/>
          <ac:graphicFrameMkLst>
            <pc:docMk/>
            <pc:sldMk cId="1024977953" sldId="384"/>
            <ac:graphicFrameMk id="58" creationId="{71C0BD44-BADB-8E03-7418-B3975FC0D86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2:35.431" v="98233"/>
          <ac:graphicFrameMkLst>
            <pc:docMk/>
            <pc:sldMk cId="1024977953" sldId="384"/>
            <ac:graphicFrameMk id="59" creationId="{2AF821AE-9178-3878-5B40-A283D9F2C37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2:40.107" v="98295"/>
          <ac:graphicFrameMkLst>
            <pc:docMk/>
            <pc:sldMk cId="1024977953" sldId="384"/>
            <ac:graphicFrameMk id="60" creationId="{496BA962-46C7-52ED-24A2-A938407638C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2:49.814" v="98357"/>
          <ac:graphicFrameMkLst>
            <pc:docMk/>
            <pc:sldMk cId="1024977953" sldId="384"/>
            <ac:graphicFrameMk id="61" creationId="{7F4E62C0-50B5-B9D8-DF07-F09C8634AF5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3:22.709" v="98419"/>
          <ac:graphicFrameMkLst>
            <pc:docMk/>
            <pc:sldMk cId="1024977953" sldId="384"/>
            <ac:graphicFrameMk id="62" creationId="{51B310E8-CFD3-8862-EBF2-945E52B7C00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3:34.827" v="98492"/>
          <ac:graphicFrameMkLst>
            <pc:docMk/>
            <pc:sldMk cId="1024977953" sldId="384"/>
            <ac:graphicFrameMk id="63" creationId="{5058C63E-ABC7-D08B-1A65-99DF0B6B057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3:45.230" v="98553"/>
          <ac:graphicFrameMkLst>
            <pc:docMk/>
            <pc:sldMk cId="1024977953" sldId="384"/>
            <ac:graphicFrameMk id="64" creationId="{9BB0CE87-1B3F-EE29-C95D-DD2B6F8777E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3:55.026" v="99012"/>
          <ac:graphicFrameMkLst>
            <pc:docMk/>
            <pc:sldMk cId="1024977953" sldId="384"/>
            <ac:graphicFrameMk id="67" creationId="{E331A8A9-5FEB-BBDD-06B8-4048D429562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3:56.291" v="99397"/>
          <ac:graphicFrameMkLst>
            <pc:docMk/>
            <pc:sldMk cId="1024977953" sldId="384"/>
            <ac:graphicFrameMk id="69" creationId="{43325141-8BC1-ADD3-BC2C-A74DBE7D0E0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4:05.906" v="99688"/>
          <ac:graphicFrameMkLst>
            <pc:docMk/>
            <pc:sldMk cId="1024977953" sldId="384"/>
            <ac:graphicFrameMk id="71" creationId="{D64C5087-08B0-3BE9-3CF7-CF957F7732C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4:07.541" v="99840"/>
          <ac:graphicFrameMkLst>
            <pc:docMk/>
            <pc:sldMk cId="1024977953" sldId="384"/>
            <ac:graphicFrameMk id="74" creationId="{E3C1EB38-7EAB-4E3A-88AC-D3CAA7FD776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4:09.958" v="99992"/>
          <ac:graphicFrameMkLst>
            <pc:docMk/>
            <pc:sldMk cId="1024977953" sldId="384"/>
            <ac:graphicFrameMk id="77" creationId="{AD33BDCF-D777-E1FF-3F1A-A7E51268EF8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4:12.044" v="100144"/>
          <ac:graphicFrameMkLst>
            <pc:docMk/>
            <pc:sldMk cId="1024977953" sldId="384"/>
            <ac:graphicFrameMk id="80" creationId="{D5A1F560-D745-BE8D-90F2-4F4DB3FA0F2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4:14.097" v="100198"/>
          <ac:graphicFrameMkLst>
            <pc:docMk/>
            <pc:sldMk cId="1024977953" sldId="384"/>
            <ac:graphicFrameMk id="83" creationId="{4809D9F7-1930-2633-7638-6FE03A47F71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4:44.894" v="100247"/>
          <ac:graphicFrameMkLst>
            <pc:docMk/>
            <pc:sldMk cId="1024977953" sldId="384"/>
            <ac:graphicFrameMk id="84" creationId="{845BCDC0-4B8E-DFCF-7065-84528B16446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4:48.090" v="100308"/>
          <ac:graphicFrameMkLst>
            <pc:docMk/>
            <pc:sldMk cId="1024977953" sldId="384"/>
            <ac:graphicFrameMk id="85" creationId="{FCC4BB78-6BF0-905C-0CE0-FE4853FF7B4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00.640" v="102568"/>
          <ac:graphicFrameMkLst>
            <pc:docMk/>
            <pc:sldMk cId="1024977953" sldId="384"/>
            <ac:graphicFrameMk id="86" creationId="{591DE5D7-9E82-988C-6D01-A7073981256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02.843" v="104046"/>
          <ac:graphicFrameMkLst>
            <pc:docMk/>
            <pc:sldMk cId="1024977953" sldId="384"/>
            <ac:graphicFrameMk id="134" creationId="{F0436992-2BC6-0306-0AE9-C83DAF83BED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10.779" v="104214"/>
          <ac:graphicFrameMkLst>
            <pc:docMk/>
            <pc:sldMk cId="1024977953" sldId="384"/>
            <ac:graphicFrameMk id="163" creationId="{9CF3C059-F2F7-26E3-C2C8-9E6165A31E4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13.419" v="104380"/>
          <ac:graphicFrameMkLst>
            <pc:docMk/>
            <pc:sldMk cId="1024977953" sldId="384"/>
            <ac:graphicFrameMk id="164" creationId="{FBA08B78-AFFE-A2DC-3B10-CBE7D47B76C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18.039" v="104706"/>
          <ac:graphicFrameMkLst>
            <pc:docMk/>
            <pc:sldMk cId="1024977953" sldId="384"/>
            <ac:graphicFrameMk id="165" creationId="{CB1E4965-39D4-9356-30C9-368E609956C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34.633" v="104930"/>
          <ac:graphicFrameMkLst>
            <pc:docMk/>
            <pc:sldMk cId="1024977953" sldId="384"/>
            <ac:graphicFrameMk id="168" creationId="{20D356A7-A067-B045-89CC-A28857C273CB}"/>
          </ac:graphicFrameMkLst>
        </pc:graphicFrameChg>
        <pc:graphicFrameChg chg="add del mod">
          <ac:chgData name="Merlin Gutter" userId="2abc6f04-74af-430b-bdc8-569c3bfa1dda" providerId="ADAL" clId="{CB1EFBC3-10F5-3048-8961-5969497C0019}" dt="2022-11-23T17:36:03.181" v="105784" actId="478"/>
          <ac:graphicFrameMkLst>
            <pc:docMk/>
            <pc:sldMk cId="1024977953" sldId="384"/>
            <ac:graphicFrameMk id="169" creationId="{33B726BC-AC09-9CFA-56CB-8EB3126E2CC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36.058" v="105036"/>
          <ac:graphicFrameMkLst>
            <pc:docMk/>
            <pc:sldMk cId="1024977953" sldId="384"/>
            <ac:graphicFrameMk id="170" creationId="{F1753E84-33B6-02DA-E182-7696B9DB322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40.975" v="105277"/>
          <ac:graphicFrameMkLst>
            <pc:docMk/>
            <pc:sldMk cId="1024977953" sldId="384"/>
            <ac:graphicFrameMk id="171" creationId="{318E815E-5600-7421-5835-3271D80DAE8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48.718" v="105616"/>
          <ac:graphicFrameMkLst>
            <pc:docMk/>
            <pc:sldMk cId="1024977953" sldId="384"/>
            <ac:graphicFrameMk id="173" creationId="{F64B90EF-A0F9-8595-DF40-32EF8EF75B5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5:57.021" v="105734"/>
          <ac:graphicFrameMkLst>
            <pc:docMk/>
            <pc:sldMk cId="1024977953" sldId="384"/>
            <ac:graphicFrameMk id="175" creationId="{99A4410F-2B21-8B54-B7C5-C872E69B675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12.283" v="105798"/>
          <ac:graphicFrameMkLst>
            <pc:docMk/>
            <pc:sldMk cId="1024977953" sldId="384"/>
            <ac:graphicFrameMk id="176" creationId="{C5C653F6-15CD-4441-5EAC-8D09D56F3AE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18.718" v="105862"/>
          <ac:graphicFrameMkLst>
            <pc:docMk/>
            <pc:sldMk cId="1024977953" sldId="384"/>
            <ac:graphicFrameMk id="177" creationId="{EB305616-0658-2CD3-7DCD-0AD20BDB788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23.164" v="105926"/>
          <ac:graphicFrameMkLst>
            <pc:docMk/>
            <pc:sldMk cId="1024977953" sldId="384"/>
            <ac:graphicFrameMk id="178" creationId="{21E6B198-8461-17FD-3CF2-AFBE4855540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27.513" v="105990"/>
          <ac:graphicFrameMkLst>
            <pc:docMk/>
            <pc:sldMk cId="1024977953" sldId="384"/>
            <ac:graphicFrameMk id="179" creationId="{4D0E6630-56AA-E0BC-F24B-6559BA64BA4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33.551" v="106054"/>
          <ac:graphicFrameMkLst>
            <pc:docMk/>
            <pc:sldMk cId="1024977953" sldId="384"/>
            <ac:graphicFrameMk id="180" creationId="{E763FF57-F48C-01F9-AD3C-8014AD5110F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36.921" v="106117"/>
          <ac:graphicFrameMkLst>
            <pc:docMk/>
            <pc:sldMk cId="1024977953" sldId="384"/>
            <ac:graphicFrameMk id="181" creationId="{61E6901A-A850-0029-6A64-BAA71E73B16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44.930" v="106407"/>
          <ac:graphicFrameMkLst>
            <pc:docMk/>
            <pc:sldMk cId="1024977953" sldId="384"/>
            <ac:graphicFrameMk id="182" creationId="{21CCF674-0667-A9EC-28F8-D439A637968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45.969" v="106557"/>
          <ac:graphicFrameMkLst>
            <pc:docMk/>
            <pc:sldMk cId="1024977953" sldId="384"/>
            <ac:graphicFrameMk id="184" creationId="{1E67A4A5-DE01-BBA5-BB12-2B9B2CFE7F2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53.083" v="106632"/>
          <ac:graphicFrameMkLst>
            <pc:docMk/>
            <pc:sldMk cId="1024977953" sldId="384"/>
            <ac:graphicFrameMk id="186" creationId="{270ED47A-DA00-8771-AE4D-CCDDD3E9094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6:55.768" v="106693"/>
          <ac:graphicFrameMkLst>
            <pc:docMk/>
            <pc:sldMk cId="1024977953" sldId="384"/>
            <ac:graphicFrameMk id="187" creationId="{25741F14-84AD-FE53-FBB5-B8776DCCBFD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7:06.129" v="106848"/>
          <ac:graphicFrameMkLst>
            <pc:docMk/>
            <pc:sldMk cId="1024977953" sldId="384"/>
            <ac:graphicFrameMk id="188" creationId="{643E668E-30B1-3C58-52CF-307620435CC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7:07.915" v="106909"/>
          <ac:graphicFrameMkLst>
            <pc:docMk/>
            <pc:sldMk cId="1024977953" sldId="384"/>
            <ac:graphicFrameMk id="189" creationId="{62759286-FBC9-9758-DD24-1161D6F5A05D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3T17:37:07.935" v="106920"/>
          <ac:graphicFrameMkLst>
            <pc:docMk/>
            <pc:sldMk cId="1024977953" sldId="384"/>
            <ac:graphicFrameMk id="190" creationId="{1D5C1865-93DB-892F-8C85-4CAF5218A503}"/>
          </ac:graphicFrameMkLst>
        </pc:graphicFrameChg>
        <pc:picChg chg="del">
          <ac:chgData name="Merlin Gutter" userId="2abc6f04-74af-430b-bdc8-569c3bfa1dda" providerId="ADAL" clId="{CB1EFBC3-10F5-3048-8961-5969497C0019}" dt="2022-11-24T19:22:42.740" v="130556" actId="478"/>
          <ac:picMkLst>
            <pc:docMk/>
            <pc:sldMk cId="1024977953" sldId="384"/>
            <ac:picMk id="3" creationId="{86A2DC86-D9F5-26CF-C7AF-59F7A9B3B42B}"/>
          </ac:picMkLst>
        </pc:picChg>
        <pc:picChg chg="add mod">
          <ac:chgData name="Merlin Gutter" userId="2abc6f04-74af-430b-bdc8-569c3bfa1dda" providerId="ADAL" clId="{CB1EFBC3-10F5-3048-8961-5969497C0019}" dt="2022-11-24T19:22:53.741" v="130559"/>
          <ac:picMkLst>
            <pc:docMk/>
            <pc:sldMk cId="1024977953" sldId="384"/>
            <ac:picMk id="25" creationId="{8721EE94-BBF9-AD17-8656-C31B95BF522F}"/>
          </ac:picMkLst>
        </pc:picChg>
        <pc:cxnChg chg="add del mod replST">
          <ac:chgData name="Merlin Gutter" userId="2abc6f04-74af-430b-bdc8-569c3bfa1dda" providerId="ADAL" clId="{CB1EFBC3-10F5-3048-8961-5969497C0019}" dt="2022-11-23T17:31:36.640" v="96634"/>
          <ac:cxnSpMkLst>
            <pc:docMk/>
            <pc:sldMk cId="1024977953" sldId="384"/>
            <ac:cxnSpMk id="26" creationId="{9C191011-3572-C27D-37D6-F1C45A797893}"/>
          </ac:cxnSpMkLst>
        </pc:cxnChg>
        <pc:cxnChg chg="add mod">
          <ac:chgData name="Merlin Gutter" userId="2abc6f04-74af-430b-bdc8-569c3bfa1dda" providerId="ADAL" clId="{CB1EFBC3-10F5-3048-8961-5969497C0019}" dt="2022-11-23T17:37:07.938" v="106939"/>
          <ac:cxnSpMkLst>
            <pc:docMk/>
            <pc:sldMk cId="1024977953" sldId="384"/>
            <ac:cxnSpMk id="65" creationId="{33DA2818-8755-227C-1964-EC87ABF015AA}"/>
          </ac:cxnSpMkLst>
        </pc:cxnChg>
        <pc:cxnChg chg="add mod">
          <ac:chgData name="Merlin Gutter" userId="2abc6f04-74af-430b-bdc8-569c3bfa1dda" providerId="ADAL" clId="{CB1EFBC3-10F5-3048-8961-5969497C0019}" dt="2022-11-23T17:37:07.938" v="106940"/>
          <ac:cxnSpMkLst>
            <pc:docMk/>
            <pc:sldMk cId="1024977953" sldId="384"/>
            <ac:cxnSpMk id="66" creationId="{53FA8D9D-498F-A51B-511A-B467E1B6861D}"/>
          </ac:cxnSpMkLst>
        </pc:cxnChg>
        <pc:cxnChg chg="add del mod replST">
          <ac:chgData name="Merlin Gutter" userId="2abc6f04-74af-430b-bdc8-569c3bfa1dda" providerId="ADAL" clId="{CB1EFBC3-10F5-3048-8961-5969497C0019}" dt="2022-11-23T17:35:02.785" v="103878"/>
          <ac:cxnSpMkLst>
            <pc:docMk/>
            <pc:sldMk cId="1024977953" sldId="384"/>
            <ac:cxnSpMk id="131" creationId="{BD5628C3-6A37-8A66-9835-615FA579F675}"/>
          </ac:cxnSpMkLst>
        </pc:cxnChg>
        <pc:cxnChg chg="add del mod replST">
          <ac:chgData name="Merlin Gutter" userId="2abc6f04-74af-430b-bdc8-569c3bfa1dda" providerId="ADAL" clId="{CB1EFBC3-10F5-3048-8961-5969497C0019}" dt="2022-11-23T17:35:17.943" v="104523"/>
          <ac:cxnSpMkLst>
            <pc:docMk/>
            <pc:sldMk cId="1024977953" sldId="384"/>
            <ac:cxnSpMk id="132" creationId="{3F278C15-C579-F88D-9180-6D3096BB108E}"/>
          </ac:cxnSpMkLst>
        </pc:cxnChg>
        <pc:cxnChg chg="add del mod replST">
          <ac:chgData name="Merlin Gutter" userId="2abc6f04-74af-430b-bdc8-569c3bfa1dda" providerId="ADAL" clId="{CB1EFBC3-10F5-3048-8961-5969497C0019}" dt="2022-11-23T17:35:02.271" v="103039"/>
          <ac:cxnSpMkLst>
            <pc:docMk/>
            <pc:sldMk cId="1024977953" sldId="384"/>
            <ac:cxnSpMk id="133" creationId="{E3AFE6E8-1D03-CE2E-5515-DE89F6D78F02}"/>
          </ac:cxnSpMkLst>
        </pc:cxnChg>
      </pc:sldChg>
      <pc:sldChg chg="addSp delSp modSp mod">
        <pc:chgData name="Merlin Gutter" userId="2abc6f04-74af-430b-bdc8-569c3bfa1dda" providerId="ADAL" clId="{CB1EFBC3-10F5-3048-8961-5969497C0019}" dt="2022-11-23T17:27:38.972" v="92810"/>
        <pc:sldMkLst>
          <pc:docMk/>
          <pc:sldMk cId="306393785" sldId="388"/>
        </pc:sldMkLst>
        <pc:spChg chg="mod">
          <ac:chgData name="Merlin Gutter" userId="2abc6f04-74af-430b-bdc8-569c3bfa1dda" providerId="ADAL" clId="{CB1EFBC3-10F5-3048-8961-5969497C0019}" dt="2022-11-23T17:27:38.943" v="92700"/>
          <ac:spMkLst>
            <pc:docMk/>
            <pc:sldMk cId="306393785" sldId="388"/>
            <ac:spMk id="2" creationId="{EBDD7A3D-4F52-3DE2-F933-8449D83DCF02}"/>
          </ac:spMkLst>
        </pc:spChg>
        <pc:spChg chg="mod">
          <ac:chgData name="Merlin Gutter" userId="2abc6f04-74af-430b-bdc8-569c3bfa1dda" providerId="ADAL" clId="{CB1EFBC3-10F5-3048-8961-5969497C0019}" dt="2022-11-23T17:27:38.943" v="92701"/>
          <ac:spMkLst>
            <pc:docMk/>
            <pc:sldMk cId="306393785" sldId="388"/>
            <ac:spMk id="3" creationId="{4B23F066-78F6-ED99-A2E1-FCA243435AA8}"/>
          </ac:spMkLst>
        </pc:spChg>
        <pc:spChg chg="mod">
          <ac:chgData name="Merlin Gutter" userId="2abc6f04-74af-430b-bdc8-569c3bfa1dda" providerId="ADAL" clId="{CB1EFBC3-10F5-3048-8961-5969497C0019}" dt="2022-11-23T17:27:38.943" v="92702"/>
          <ac:spMkLst>
            <pc:docMk/>
            <pc:sldMk cId="306393785" sldId="388"/>
            <ac:spMk id="4" creationId="{419A56F2-33FC-B13B-F824-5320C14683F0}"/>
          </ac:spMkLst>
        </pc:spChg>
        <pc:spChg chg="mod">
          <ac:chgData name="Merlin Gutter" userId="2abc6f04-74af-430b-bdc8-569c3bfa1dda" providerId="ADAL" clId="{CB1EFBC3-10F5-3048-8961-5969497C0019}" dt="2022-11-23T17:27:38.944" v="92703"/>
          <ac:spMkLst>
            <pc:docMk/>
            <pc:sldMk cId="306393785" sldId="388"/>
            <ac:spMk id="5" creationId="{64E62B09-B628-9390-D8F1-925831825F25}"/>
          </ac:spMkLst>
        </pc:spChg>
        <pc:spChg chg="mod">
          <ac:chgData name="Merlin Gutter" userId="2abc6f04-74af-430b-bdc8-569c3bfa1dda" providerId="ADAL" clId="{CB1EFBC3-10F5-3048-8961-5969497C0019}" dt="2022-11-23T17:27:38.944" v="92704"/>
          <ac:spMkLst>
            <pc:docMk/>
            <pc:sldMk cId="306393785" sldId="388"/>
            <ac:spMk id="6" creationId="{5CD15DEF-BD86-6BAD-F618-0FCA1640781D}"/>
          </ac:spMkLst>
        </pc:spChg>
        <pc:spChg chg="mod">
          <ac:chgData name="Merlin Gutter" userId="2abc6f04-74af-430b-bdc8-569c3bfa1dda" providerId="ADAL" clId="{CB1EFBC3-10F5-3048-8961-5969497C0019}" dt="2022-11-23T17:27:38.944" v="92707"/>
          <ac:spMkLst>
            <pc:docMk/>
            <pc:sldMk cId="306393785" sldId="388"/>
            <ac:spMk id="9" creationId="{A288F178-0675-D978-CFEB-B90888260247}"/>
          </ac:spMkLst>
        </pc:spChg>
        <pc:spChg chg="mod">
          <ac:chgData name="Merlin Gutter" userId="2abc6f04-74af-430b-bdc8-569c3bfa1dda" providerId="ADAL" clId="{CB1EFBC3-10F5-3048-8961-5969497C0019}" dt="2022-11-23T17:27:38.945" v="92708"/>
          <ac:spMkLst>
            <pc:docMk/>
            <pc:sldMk cId="306393785" sldId="388"/>
            <ac:spMk id="10" creationId="{3513C323-AA77-5AAC-35F0-36BA584819D2}"/>
          </ac:spMkLst>
        </pc:spChg>
        <pc:spChg chg="del">
          <ac:chgData name="Merlin Gutter" userId="2abc6f04-74af-430b-bdc8-569c3bfa1dda" providerId="ADAL" clId="{CB1EFBC3-10F5-3048-8961-5969497C0019}" dt="2022-11-22T22:36:51.231" v="58356"/>
          <ac:spMkLst>
            <pc:docMk/>
            <pc:sldMk cId="306393785" sldId="388"/>
            <ac:spMk id="11" creationId="{A53FEEEA-7C1F-95E2-9F1D-826981E30A99}"/>
          </ac:spMkLst>
        </pc:spChg>
        <pc:spChg chg="del">
          <ac:chgData name="Merlin Gutter" userId="2abc6f04-74af-430b-bdc8-569c3bfa1dda" providerId="ADAL" clId="{CB1EFBC3-10F5-3048-8961-5969497C0019}" dt="2022-11-22T22:36:51.237" v="58372"/>
          <ac:spMkLst>
            <pc:docMk/>
            <pc:sldMk cId="306393785" sldId="388"/>
            <ac:spMk id="12" creationId="{ADDE32B0-4671-19EE-14EC-7DB8A8F0E55A}"/>
          </ac:spMkLst>
        </pc:spChg>
        <pc:spChg chg="del">
          <ac:chgData name="Merlin Gutter" userId="2abc6f04-74af-430b-bdc8-569c3bfa1dda" providerId="ADAL" clId="{CB1EFBC3-10F5-3048-8961-5969497C0019}" dt="2022-11-22T22:36:51.241" v="58389"/>
          <ac:spMkLst>
            <pc:docMk/>
            <pc:sldMk cId="306393785" sldId="388"/>
            <ac:spMk id="13" creationId="{0E67283A-44CA-8FAF-8B7B-725B81291DE0}"/>
          </ac:spMkLst>
        </pc:spChg>
        <pc:spChg chg="mod">
          <ac:chgData name="Merlin Gutter" userId="2abc6f04-74af-430b-bdc8-569c3bfa1dda" providerId="ADAL" clId="{CB1EFBC3-10F5-3048-8961-5969497C0019}" dt="2022-11-23T17:27:38.945" v="92709"/>
          <ac:spMkLst>
            <pc:docMk/>
            <pc:sldMk cId="306393785" sldId="388"/>
            <ac:spMk id="14" creationId="{775E6129-CE40-CE53-483F-31C2A4E0E393}"/>
          </ac:spMkLst>
        </pc:spChg>
        <pc:spChg chg="add del mod modVis">
          <ac:chgData name="Merlin Gutter" userId="2abc6f04-74af-430b-bdc8-569c3bfa1dda" providerId="ADAL" clId="{CB1EFBC3-10F5-3048-8961-5969497C0019}" dt="2022-11-22T22:36:51.432" v="58835"/>
          <ac:spMkLst>
            <pc:docMk/>
            <pc:sldMk cId="306393785" sldId="388"/>
            <ac:spMk id="15" creationId="{35ED4060-9F5B-8AD3-5511-8DF51E078B19}"/>
          </ac:spMkLst>
        </pc:spChg>
        <pc:spChg chg="mod">
          <ac:chgData name="Merlin Gutter" userId="2abc6f04-74af-430b-bdc8-569c3bfa1dda" providerId="ADAL" clId="{CB1EFBC3-10F5-3048-8961-5969497C0019}" dt="2022-11-23T17:27:38.945" v="92710"/>
          <ac:spMkLst>
            <pc:docMk/>
            <pc:sldMk cId="306393785" sldId="388"/>
            <ac:spMk id="16" creationId="{D4666405-0DEC-22DB-2237-F38001FEA6BB}"/>
          </ac:spMkLst>
        </pc:spChg>
        <pc:spChg chg="mod">
          <ac:chgData name="Merlin Gutter" userId="2abc6f04-74af-430b-bdc8-569c3bfa1dda" providerId="ADAL" clId="{CB1EFBC3-10F5-3048-8961-5969497C0019}" dt="2022-11-23T17:27:38.945" v="92711"/>
          <ac:spMkLst>
            <pc:docMk/>
            <pc:sldMk cId="306393785" sldId="388"/>
            <ac:spMk id="17" creationId="{34E038AF-DDEF-0A5B-EAF2-DBC810385899}"/>
          </ac:spMkLst>
        </pc:spChg>
        <pc:spChg chg="mod">
          <ac:chgData name="Merlin Gutter" userId="2abc6f04-74af-430b-bdc8-569c3bfa1dda" providerId="ADAL" clId="{CB1EFBC3-10F5-3048-8961-5969497C0019}" dt="2022-11-23T17:27:38.945" v="92712"/>
          <ac:spMkLst>
            <pc:docMk/>
            <pc:sldMk cId="306393785" sldId="388"/>
            <ac:spMk id="18" creationId="{91208E23-534B-121B-DBB1-328ED92971B1}"/>
          </ac:spMkLst>
        </pc:spChg>
        <pc:spChg chg="mod">
          <ac:chgData name="Merlin Gutter" userId="2abc6f04-74af-430b-bdc8-569c3bfa1dda" providerId="ADAL" clId="{CB1EFBC3-10F5-3048-8961-5969497C0019}" dt="2022-11-23T17:27:38.946" v="92713"/>
          <ac:spMkLst>
            <pc:docMk/>
            <pc:sldMk cId="306393785" sldId="388"/>
            <ac:spMk id="19" creationId="{620CF26C-BE92-3B3A-423F-17C90E292ED8}"/>
          </ac:spMkLst>
        </pc:spChg>
        <pc:spChg chg="add del mod replST">
          <ac:chgData name="Merlin Gutter" userId="2abc6f04-74af-430b-bdc8-569c3bfa1dda" providerId="ADAL" clId="{CB1EFBC3-10F5-3048-8961-5969497C0019}" dt="2022-11-22T22:37:00.893" v="59707"/>
          <ac:spMkLst>
            <pc:docMk/>
            <pc:sldMk cId="306393785" sldId="388"/>
            <ac:spMk id="21" creationId="{E120E9F6-0045-43E3-DCAD-98B36020EC57}"/>
          </ac:spMkLst>
        </pc:spChg>
        <pc:spChg chg="add del mod replST">
          <ac:chgData name="Merlin Gutter" userId="2abc6f04-74af-430b-bdc8-569c3bfa1dda" providerId="ADAL" clId="{CB1EFBC3-10F5-3048-8961-5969497C0019}" dt="2022-11-22T22:37:00.892" v="59706"/>
          <ac:spMkLst>
            <pc:docMk/>
            <pc:sldMk cId="306393785" sldId="388"/>
            <ac:spMk id="22" creationId="{410E7F4C-FF5B-AAB4-9B8A-F84E694DC018}"/>
          </ac:spMkLst>
        </pc:spChg>
        <pc:spChg chg="add del mod replST">
          <ac:chgData name="Merlin Gutter" userId="2abc6f04-74af-430b-bdc8-569c3bfa1dda" providerId="ADAL" clId="{CB1EFBC3-10F5-3048-8961-5969497C0019}" dt="2022-11-22T22:37:00.892" v="59705"/>
          <ac:spMkLst>
            <pc:docMk/>
            <pc:sldMk cId="306393785" sldId="388"/>
            <ac:spMk id="23" creationId="{291E85A1-233E-0DDF-8CA0-297935DF3AE9}"/>
          </ac:spMkLst>
        </pc:spChg>
        <pc:spChg chg="add del mod modVis">
          <ac:chgData name="Merlin Gutter" userId="2abc6f04-74af-430b-bdc8-569c3bfa1dda" providerId="ADAL" clId="{CB1EFBC3-10F5-3048-8961-5969497C0019}" dt="2022-11-22T22:36:54.663" v="59093"/>
          <ac:spMkLst>
            <pc:docMk/>
            <pc:sldMk cId="306393785" sldId="388"/>
            <ac:spMk id="25" creationId="{82ED82DA-8E35-CB0C-DFAA-A9DF3F263BF7}"/>
          </ac:spMkLst>
        </pc:spChg>
        <pc:spChg chg="add del mod modVis">
          <ac:chgData name="Merlin Gutter" userId="2abc6f04-74af-430b-bdc8-569c3bfa1dda" providerId="ADAL" clId="{CB1EFBC3-10F5-3048-8961-5969497C0019}" dt="2022-11-22T22:36:56.662" v="59340"/>
          <ac:spMkLst>
            <pc:docMk/>
            <pc:sldMk cId="306393785" sldId="388"/>
            <ac:spMk id="27" creationId="{2F2B7719-9283-6F06-9401-F86EF4F3F480}"/>
          </ac:spMkLst>
        </pc:spChg>
        <pc:spChg chg="add del mod modVis">
          <ac:chgData name="Merlin Gutter" userId="2abc6f04-74af-430b-bdc8-569c3bfa1dda" providerId="ADAL" clId="{CB1EFBC3-10F5-3048-8961-5969497C0019}" dt="2022-11-22T22:36:58.870" v="59581"/>
          <ac:spMkLst>
            <pc:docMk/>
            <pc:sldMk cId="306393785" sldId="388"/>
            <ac:spMk id="29" creationId="{F4FED96A-BE5D-E072-1048-C1F75AE939B8}"/>
          </ac:spMkLst>
        </pc:spChg>
        <pc:spChg chg="add mod replST">
          <ac:chgData name="Merlin Gutter" userId="2abc6f04-74af-430b-bdc8-569c3bfa1dda" providerId="ADAL" clId="{CB1EFBC3-10F5-3048-8961-5969497C0019}" dt="2022-11-23T17:27:38.950" v="92737"/>
          <ac:spMkLst>
            <pc:docMk/>
            <pc:sldMk cId="306393785" sldId="388"/>
            <ac:spMk id="48" creationId="{2D6B3B8D-1FC7-053B-9C39-E6C228AF06F1}"/>
          </ac:spMkLst>
        </pc:spChg>
        <pc:spChg chg="add mod replST">
          <ac:chgData name="Merlin Gutter" userId="2abc6f04-74af-430b-bdc8-569c3bfa1dda" providerId="ADAL" clId="{CB1EFBC3-10F5-3048-8961-5969497C0019}" dt="2022-11-23T17:27:38.949" v="92731"/>
          <ac:spMkLst>
            <pc:docMk/>
            <pc:sldMk cId="306393785" sldId="388"/>
            <ac:spMk id="49" creationId="{67202597-0609-C9B1-D4F2-D92BC76205E2}"/>
          </ac:spMkLst>
        </pc:spChg>
        <pc:spChg chg="add mod replST">
          <ac:chgData name="Merlin Gutter" userId="2abc6f04-74af-430b-bdc8-569c3bfa1dda" providerId="ADAL" clId="{CB1EFBC3-10F5-3048-8961-5969497C0019}" dt="2022-11-23T17:27:38.950" v="92733"/>
          <ac:spMkLst>
            <pc:docMk/>
            <pc:sldMk cId="306393785" sldId="388"/>
            <ac:spMk id="50" creationId="{D3FB3644-F130-9F8D-85E6-958079239011}"/>
          </ac:spMkLst>
        </pc:spChg>
        <pc:spChg chg="add mod replST">
          <ac:chgData name="Merlin Gutter" userId="2abc6f04-74af-430b-bdc8-569c3bfa1dda" providerId="ADAL" clId="{CB1EFBC3-10F5-3048-8961-5969497C0019}" dt="2022-11-23T17:27:38.950" v="92736"/>
          <ac:spMkLst>
            <pc:docMk/>
            <pc:sldMk cId="306393785" sldId="388"/>
            <ac:spMk id="51" creationId="{A3ABC8BC-0B81-EB5E-6DA9-5CE6FDD15AC0}"/>
          </ac:spMkLst>
        </pc:spChg>
        <pc:spChg chg="add mod replST">
          <ac:chgData name="Merlin Gutter" userId="2abc6f04-74af-430b-bdc8-569c3bfa1dda" providerId="ADAL" clId="{CB1EFBC3-10F5-3048-8961-5969497C0019}" dt="2022-11-23T17:27:38.949" v="92732"/>
          <ac:spMkLst>
            <pc:docMk/>
            <pc:sldMk cId="306393785" sldId="388"/>
            <ac:spMk id="52" creationId="{706919A8-C502-169C-2901-502D95D9DC72}"/>
          </ac:spMkLst>
        </pc:spChg>
        <pc:spChg chg="add mod replST">
          <ac:chgData name="Merlin Gutter" userId="2abc6f04-74af-430b-bdc8-569c3bfa1dda" providerId="ADAL" clId="{CB1EFBC3-10F5-3048-8961-5969497C0019}" dt="2022-11-23T17:27:38.950" v="92734"/>
          <ac:spMkLst>
            <pc:docMk/>
            <pc:sldMk cId="306393785" sldId="388"/>
            <ac:spMk id="53" creationId="{C535897C-0E51-A7F0-EFF9-1AFA935DAA8D}"/>
          </ac:spMkLst>
        </pc:spChg>
        <pc:spChg chg="add mod replST">
          <ac:chgData name="Merlin Gutter" userId="2abc6f04-74af-430b-bdc8-569c3bfa1dda" providerId="ADAL" clId="{CB1EFBC3-10F5-3048-8961-5969497C0019}" dt="2022-11-23T17:27:38.949" v="92730"/>
          <ac:spMkLst>
            <pc:docMk/>
            <pc:sldMk cId="306393785" sldId="388"/>
            <ac:spMk id="54" creationId="{F1CB8086-45BB-EBC3-A196-B7AFBE1BB234}"/>
          </ac:spMkLst>
        </pc:spChg>
        <pc:spChg chg="add mod replST">
          <ac:chgData name="Merlin Gutter" userId="2abc6f04-74af-430b-bdc8-569c3bfa1dda" providerId="ADAL" clId="{CB1EFBC3-10F5-3048-8961-5969497C0019}" dt="2022-11-23T17:27:38.950" v="92735"/>
          <ac:spMkLst>
            <pc:docMk/>
            <pc:sldMk cId="306393785" sldId="388"/>
            <ac:spMk id="55" creationId="{2230DF80-00E9-F611-3BCE-8A635AB11447}"/>
          </ac:spMkLst>
        </pc:spChg>
        <pc:spChg chg="add mod replST">
          <ac:chgData name="Merlin Gutter" userId="2abc6f04-74af-430b-bdc8-569c3bfa1dda" providerId="ADAL" clId="{CB1EFBC3-10F5-3048-8961-5969497C0019}" dt="2022-11-23T17:27:38.951" v="92738"/>
          <ac:spMkLst>
            <pc:docMk/>
            <pc:sldMk cId="306393785" sldId="388"/>
            <ac:spMk id="56" creationId="{64A69D84-38D2-E97D-73B4-0BAC2FF100C2}"/>
          </ac:spMkLst>
        </pc:spChg>
        <pc:spChg chg="add mod replST">
          <ac:chgData name="Merlin Gutter" userId="2abc6f04-74af-430b-bdc8-569c3bfa1dda" providerId="ADAL" clId="{CB1EFBC3-10F5-3048-8961-5969497C0019}" dt="2022-11-23T17:27:38.951" v="92740"/>
          <ac:spMkLst>
            <pc:docMk/>
            <pc:sldMk cId="306393785" sldId="388"/>
            <ac:spMk id="57" creationId="{F842C416-DC53-281E-D2A6-0E7E7D75BBCA}"/>
          </ac:spMkLst>
        </pc:spChg>
        <pc:spChg chg="add mod replST">
          <ac:chgData name="Merlin Gutter" userId="2abc6f04-74af-430b-bdc8-569c3bfa1dda" providerId="ADAL" clId="{CB1EFBC3-10F5-3048-8961-5969497C0019}" dt="2022-11-23T17:27:38.951" v="92739"/>
          <ac:spMkLst>
            <pc:docMk/>
            <pc:sldMk cId="306393785" sldId="388"/>
            <ac:spMk id="58" creationId="{BCE57827-382D-0067-CEF2-557642FC7B28}"/>
          </ac:spMkLst>
        </pc:spChg>
        <pc:spChg chg="add mod replST">
          <ac:chgData name="Merlin Gutter" userId="2abc6f04-74af-430b-bdc8-569c3bfa1dda" providerId="ADAL" clId="{CB1EFBC3-10F5-3048-8961-5969497C0019}" dt="2022-11-23T17:27:38.957" v="92770"/>
          <ac:spMkLst>
            <pc:docMk/>
            <pc:sldMk cId="306393785" sldId="388"/>
            <ac:spMk id="68" creationId="{856F74EE-76E3-96FF-4DBF-CFDFA560F496}"/>
          </ac:spMkLst>
        </pc:spChg>
        <pc:spChg chg="add mod replST">
          <ac:chgData name="Merlin Gutter" userId="2abc6f04-74af-430b-bdc8-569c3bfa1dda" providerId="ADAL" clId="{CB1EFBC3-10F5-3048-8961-5969497C0019}" dt="2022-11-23T17:27:38.954" v="92753"/>
          <ac:spMkLst>
            <pc:docMk/>
            <pc:sldMk cId="306393785" sldId="388"/>
            <ac:spMk id="69" creationId="{E3BD3BBB-3158-B471-1043-2192A00F2E6B}"/>
          </ac:spMkLst>
        </pc:spChg>
        <pc:spChg chg="add mod replST">
          <ac:chgData name="Merlin Gutter" userId="2abc6f04-74af-430b-bdc8-569c3bfa1dda" providerId="ADAL" clId="{CB1EFBC3-10F5-3048-8961-5969497C0019}" dt="2022-11-23T17:27:38.958" v="92771"/>
          <ac:spMkLst>
            <pc:docMk/>
            <pc:sldMk cId="306393785" sldId="388"/>
            <ac:spMk id="70" creationId="{A5F3BCFC-3A01-D4F5-4625-E8980AA6024E}"/>
          </ac:spMkLst>
        </pc:spChg>
        <pc:spChg chg="add mod replST">
          <ac:chgData name="Merlin Gutter" userId="2abc6f04-74af-430b-bdc8-569c3bfa1dda" providerId="ADAL" clId="{CB1EFBC3-10F5-3048-8961-5969497C0019}" dt="2022-11-23T17:27:38.953" v="92748"/>
          <ac:spMkLst>
            <pc:docMk/>
            <pc:sldMk cId="306393785" sldId="388"/>
            <ac:spMk id="71" creationId="{377DE607-7D11-8EDD-A170-6AE834828544}"/>
          </ac:spMkLst>
        </pc:spChg>
        <pc:spChg chg="add mod replST">
          <ac:chgData name="Merlin Gutter" userId="2abc6f04-74af-430b-bdc8-569c3bfa1dda" providerId="ADAL" clId="{CB1EFBC3-10F5-3048-8961-5969497C0019}" dt="2022-11-23T17:27:38.953" v="92750"/>
          <ac:spMkLst>
            <pc:docMk/>
            <pc:sldMk cId="306393785" sldId="388"/>
            <ac:spMk id="72" creationId="{57B5F680-6EE5-8D64-B799-2F38DF3BC320}"/>
          </ac:spMkLst>
        </pc:spChg>
        <pc:spChg chg="add mod replST">
          <ac:chgData name="Merlin Gutter" userId="2abc6f04-74af-430b-bdc8-569c3bfa1dda" providerId="ADAL" clId="{CB1EFBC3-10F5-3048-8961-5969497C0019}" dt="2022-11-23T17:27:38.959" v="92776"/>
          <ac:spMkLst>
            <pc:docMk/>
            <pc:sldMk cId="306393785" sldId="388"/>
            <ac:spMk id="73" creationId="{F83A08C1-B5F5-8485-32B1-063268F52256}"/>
          </ac:spMkLst>
        </pc:spChg>
        <pc:spChg chg="add mod replST">
          <ac:chgData name="Merlin Gutter" userId="2abc6f04-74af-430b-bdc8-569c3bfa1dda" providerId="ADAL" clId="{CB1EFBC3-10F5-3048-8961-5969497C0019}" dt="2022-11-23T17:27:38.952" v="92744"/>
          <ac:spMkLst>
            <pc:docMk/>
            <pc:sldMk cId="306393785" sldId="388"/>
            <ac:spMk id="74" creationId="{1A5D0C51-E52B-67C6-CFDD-216D5B082E40}"/>
          </ac:spMkLst>
        </pc:spChg>
        <pc:spChg chg="add mod replST">
          <ac:chgData name="Merlin Gutter" userId="2abc6f04-74af-430b-bdc8-569c3bfa1dda" providerId="ADAL" clId="{CB1EFBC3-10F5-3048-8961-5969497C0019}" dt="2022-11-23T17:27:38.956" v="92764"/>
          <ac:spMkLst>
            <pc:docMk/>
            <pc:sldMk cId="306393785" sldId="388"/>
            <ac:spMk id="75" creationId="{4B7C803F-4251-6458-191B-174D7259C30B}"/>
          </ac:spMkLst>
        </pc:spChg>
        <pc:spChg chg="add mod replST">
          <ac:chgData name="Merlin Gutter" userId="2abc6f04-74af-430b-bdc8-569c3bfa1dda" providerId="ADAL" clId="{CB1EFBC3-10F5-3048-8961-5969497C0019}" dt="2022-11-23T17:27:38.958" v="92773"/>
          <ac:spMkLst>
            <pc:docMk/>
            <pc:sldMk cId="306393785" sldId="388"/>
            <ac:spMk id="76" creationId="{7097D0E7-2899-1D83-6F21-50E74487697F}"/>
          </ac:spMkLst>
        </pc:spChg>
        <pc:spChg chg="add mod replST">
          <ac:chgData name="Merlin Gutter" userId="2abc6f04-74af-430b-bdc8-569c3bfa1dda" providerId="ADAL" clId="{CB1EFBC3-10F5-3048-8961-5969497C0019}" dt="2022-11-23T17:27:38.960" v="92782"/>
          <ac:spMkLst>
            <pc:docMk/>
            <pc:sldMk cId="306393785" sldId="388"/>
            <ac:spMk id="77" creationId="{2CA824FE-9BBE-1C43-5361-814CA70D6B25}"/>
          </ac:spMkLst>
        </pc:spChg>
        <pc:spChg chg="add mod replST">
          <ac:chgData name="Merlin Gutter" userId="2abc6f04-74af-430b-bdc8-569c3bfa1dda" providerId="ADAL" clId="{CB1EFBC3-10F5-3048-8961-5969497C0019}" dt="2022-11-23T17:27:38.959" v="92779"/>
          <ac:spMkLst>
            <pc:docMk/>
            <pc:sldMk cId="306393785" sldId="388"/>
            <ac:spMk id="78" creationId="{85158988-A147-70F9-1876-EF8A1930A741}"/>
          </ac:spMkLst>
        </pc:spChg>
        <pc:spChg chg="add mod replST">
          <ac:chgData name="Merlin Gutter" userId="2abc6f04-74af-430b-bdc8-569c3bfa1dda" providerId="ADAL" clId="{CB1EFBC3-10F5-3048-8961-5969497C0019}" dt="2022-11-23T17:27:38.955" v="92758"/>
          <ac:spMkLst>
            <pc:docMk/>
            <pc:sldMk cId="306393785" sldId="388"/>
            <ac:spMk id="79" creationId="{1A000F68-C049-D61B-2CAD-2A730604507C}"/>
          </ac:spMkLst>
        </pc:spChg>
        <pc:spChg chg="add mod replST">
          <ac:chgData name="Merlin Gutter" userId="2abc6f04-74af-430b-bdc8-569c3bfa1dda" providerId="ADAL" clId="{CB1EFBC3-10F5-3048-8961-5969497C0019}" dt="2022-11-23T17:27:38.957" v="92766"/>
          <ac:spMkLst>
            <pc:docMk/>
            <pc:sldMk cId="306393785" sldId="388"/>
            <ac:spMk id="80" creationId="{55D7F4F5-8EDF-C324-BED1-062758B4CA16}"/>
          </ac:spMkLst>
        </pc:spChg>
        <pc:spChg chg="add mod replST">
          <ac:chgData name="Merlin Gutter" userId="2abc6f04-74af-430b-bdc8-569c3bfa1dda" providerId="ADAL" clId="{CB1EFBC3-10F5-3048-8961-5969497C0019}" dt="2022-11-23T17:27:38.952" v="92746"/>
          <ac:spMkLst>
            <pc:docMk/>
            <pc:sldMk cId="306393785" sldId="388"/>
            <ac:spMk id="81" creationId="{B98E873D-F3B4-EFEF-37FD-4E74F021BF9B}"/>
          </ac:spMkLst>
        </pc:spChg>
        <pc:spChg chg="add mod replST">
          <ac:chgData name="Merlin Gutter" userId="2abc6f04-74af-430b-bdc8-569c3bfa1dda" providerId="ADAL" clId="{CB1EFBC3-10F5-3048-8961-5969497C0019}" dt="2022-11-23T17:27:38.960" v="92783"/>
          <ac:spMkLst>
            <pc:docMk/>
            <pc:sldMk cId="306393785" sldId="388"/>
            <ac:spMk id="82" creationId="{AFD0B361-410A-0105-7AF4-1F7B42D083DE}"/>
          </ac:spMkLst>
        </pc:spChg>
        <pc:spChg chg="add mod replST">
          <ac:chgData name="Merlin Gutter" userId="2abc6f04-74af-430b-bdc8-569c3bfa1dda" providerId="ADAL" clId="{CB1EFBC3-10F5-3048-8961-5969497C0019}" dt="2022-11-23T17:27:38.959" v="92777"/>
          <ac:spMkLst>
            <pc:docMk/>
            <pc:sldMk cId="306393785" sldId="388"/>
            <ac:spMk id="83" creationId="{C2C5D62C-EFE0-D3D2-AB38-A5B6CA9BC1A0}"/>
          </ac:spMkLst>
        </pc:spChg>
        <pc:spChg chg="add mod replST">
          <ac:chgData name="Merlin Gutter" userId="2abc6f04-74af-430b-bdc8-569c3bfa1dda" providerId="ADAL" clId="{CB1EFBC3-10F5-3048-8961-5969497C0019}" dt="2022-11-23T17:27:38.959" v="92778"/>
          <ac:spMkLst>
            <pc:docMk/>
            <pc:sldMk cId="306393785" sldId="388"/>
            <ac:spMk id="84" creationId="{E22E3C65-1E61-7CE5-0D05-86B54644434E}"/>
          </ac:spMkLst>
        </pc:spChg>
        <pc:spChg chg="add mod replST">
          <ac:chgData name="Merlin Gutter" userId="2abc6f04-74af-430b-bdc8-569c3bfa1dda" providerId="ADAL" clId="{CB1EFBC3-10F5-3048-8961-5969497C0019}" dt="2022-11-23T17:27:38.953" v="92749"/>
          <ac:spMkLst>
            <pc:docMk/>
            <pc:sldMk cId="306393785" sldId="388"/>
            <ac:spMk id="85" creationId="{A40A1764-158A-FE9F-5D19-3C552DA34B8F}"/>
          </ac:spMkLst>
        </pc:spChg>
        <pc:spChg chg="add mod replST">
          <ac:chgData name="Merlin Gutter" userId="2abc6f04-74af-430b-bdc8-569c3bfa1dda" providerId="ADAL" clId="{CB1EFBC3-10F5-3048-8961-5969497C0019}" dt="2022-11-23T17:27:38.953" v="92751"/>
          <ac:spMkLst>
            <pc:docMk/>
            <pc:sldMk cId="306393785" sldId="388"/>
            <ac:spMk id="86" creationId="{CD4911DE-6575-DAA9-EC77-4EE297F4E3C0}"/>
          </ac:spMkLst>
        </pc:spChg>
        <pc:spChg chg="add mod replST">
          <ac:chgData name="Merlin Gutter" userId="2abc6f04-74af-430b-bdc8-569c3bfa1dda" providerId="ADAL" clId="{CB1EFBC3-10F5-3048-8961-5969497C0019}" dt="2022-11-23T17:27:38.952" v="92745"/>
          <ac:spMkLst>
            <pc:docMk/>
            <pc:sldMk cId="306393785" sldId="388"/>
            <ac:spMk id="87" creationId="{3BF16E5B-3771-FC1E-D127-502830D461C4}"/>
          </ac:spMkLst>
        </pc:spChg>
        <pc:spChg chg="add mod replST">
          <ac:chgData name="Merlin Gutter" userId="2abc6f04-74af-430b-bdc8-569c3bfa1dda" providerId="ADAL" clId="{CB1EFBC3-10F5-3048-8961-5969497C0019}" dt="2022-11-23T17:27:38.955" v="92757"/>
          <ac:spMkLst>
            <pc:docMk/>
            <pc:sldMk cId="306393785" sldId="388"/>
            <ac:spMk id="88" creationId="{2CA56456-5398-378F-BECA-52C18E97D21B}"/>
          </ac:spMkLst>
        </pc:spChg>
        <pc:spChg chg="add mod replST">
          <ac:chgData name="Merlin Gutter" userId="2abc6f04-74af-430b-bdc8-569c3bfa1dda" providerId="ADAL" clId="{CB1EFBC3-10F5-3048-8961-5969497C0019}" dt="2022-11-23T17:27:38.957" v="92768"/>
          <ac:spMkLst>
            <pc:docMk/>
            <pc:sldMk cId="306393785" sldId="388"/>
            <ac:spMk id="89" creationId="{FFB8E32D-81FE-AE1F-9D32-E71060A541DE}"/>
          </ac:spMkLst>
        </pc:spChg>
        <pc:spChg chg="add mod replST">
          <ac:chgData name="Merlin Gutter" userId="2abc6f04-74af-430b-bdc8-569c3bfa1dda" providerId="ADAL" clId="{CB1EFBC3-10F5-3048-8961-5969497C0019}" dt="2022-11-23T17:27:38.958" v="92775"/>
          <ac:spMkLst>
            <pc:docMk/>
            <pc:sldMk cId="306393785" sldId="388"/>
            <ac:spMk id="90" creationId="{07A90CD8-986E-E250-EB28-2A434970DAAA}"/>
          </ac:spMkLst>
        </pc:spChg>
        <pc:spChg chg="add mod replST">
          <ac:chgData name="Merlin Gutter" userId="2abc6f04-74af-430b-bdc8-569c3bfa1dda" providerId="ADAL" clId="{CB1EFBC3-10F5-3048-8961-5969497C0019}" dt="2022-11-23T17:27:38.959" v="92780"/>
          <ac:spMkLst>
            <pc:docMk/>
            <pc:sldMk cId="306393785" sldId="388"/>
            <ac:spMk id="91" creationId="{9E609816-A1ED-3573-3663-13F638855992}"/>
          </ac:spMkLst>
        </pc:spChg>
        <pc:spChg chg="add mod replST">
          <ac:chgData name="Merlin Gutter" userId="2abc6f04-74af-430b-bdc8-569c3bfa1dda" providerId="ADAL" clId="{CB1EFBC3-10F5-3048-8961-5969497C0019}" dt="2022-11-23T17:27:38.961" v="92787"/>
          <ac:spMkLst>
            <pc:docMk/>
            <pc:sldMk cId="306393785" sldId="388"/>
            <ac:spMk id="92" creationId="{C5E63C95-9497-8157-FAE7-5426A76A00C1}"/>
          </ac:spMkLst>
        </pc:spChg>
        <pc:spChg chg="add mod replST">
          <ac:chgData name="Merlin Gutter" userId="2abc6f04-74af-430b-bdc8-569c3bfa1dda" providerId="ADAL" clId="{CB1EFBC3-10F5-3048-8961-5969497C0019}" dt="2022-11-23T17:27:38.960" v="92781"/>
          <ac:spMkLst>
            <pc:docMk/>
            <pc:sldMk cId="306393785" sldId="388"/>
            <ac:spMk id="93" creationId="{BF4CD779-EFC2-50D1-411F-7A348D1C30D5}"/>
          </ac:spMkLst>
        </pc:spChg>
        <pc:spChg chg="add mod replST">
          <ac:chgData name="Merlin Gutter" userId="2abc6f04-74af-430b-bdc8-569c3bfa1dda" providerId="ADAL" clId="{CB1EFBC3-10F5-3048-8961-5969497C0019}" dt="2022-11-23T17:27:38.962" v="92790"/>
          <ac:spMkLst>
            <pc:docMk/>
            <pc:sldMk cId="306393785" sldId="388"/>
            <ac:spMk id="94" creationId="{1180E0A1-D270-2203-821E-333050039E90}"/>
          </ac:spMkLst>
        </pc:spChg>
        <pc:spChg chg="add mod replST">
          <ac:chgData name="Merlin Gutter" userId="2abc6f04-74af-430b-bdc8-569c3bfa1dda" providerId="ADAL" clId="{CB1EFBC3-10F5-3048-8961-5969497C0019}" dt="2022-11-23T17:27:38.961" v="92789"/>
          <ac:spMkLst>
            <pc:docMk/>
            <pc:sldMk cId="306393785" sldId="388"/>
            <ac:spMk id="95" creationId="{52A834AF-3B23-58BD-9356-548DC19A3B76}"/>
          </ac:spMkLst>
        </pc:spChg>
        <pc:spChg chg="add mod replST">
          <ac:chgData name="Merlin Gutter" userId="2abc6f04-74af-430b-bdc8-569c3bfa1dda" providerId="ADAL" clId="{CB1EFBC3-10F5-3048-8961-5969497C0019}" dt="2022-11-23T17:27:38.961" v="92786"/>
          <ac:spMkLst>
            <pc:docMk/>
            <pc:sldMk cId="306393785" sldId="388"/>
            <ac:spMk id="96" creationId="{2FF53911-F606-6A92-4E72-4BDF463B0CBA}"/>
          </ac:spMkLst>
        </pc:spChg>
        <pc:spChg chg="add mod replST">
          <ac:chgData name="Merlin Gutter" userId="2abc6f04-74af-430b-bdc8-569c3bfa1dda" providerId="ADAL" clId="{CB1EFBC3-10F5-3048-8961-5969497C0019}" dt="2022-11-23T17:27:38.955" v="92759"/>
          <ac:spMkLst>
            <pc:docMk/>
            <pc:sldMk cId="306393785" sldId="388"/>
            <ac:spMk id="97" creationId="{D1FD381A-A710-D5B3-1F10-B27BD09123E7}"/>
          </ac:spMkLst>
        </pc:spChg>
        <pc:spChg chg="add mod replST">
          <ac:chgData name="Merlin Gutter" userId="2abc6f04-74af-430b-bdc8-569c3bfa1dda" providerId="ADAL" clId="{CB1EFBC3-10F5-3048-8961-5969497C0019}" dt="2022-11-23T17:27:38.951" v="92742"/>
          <ac:spMkLst>
            <pc:docMk/>
            <pc:sldMk cId="306393785" sldId="388"/>
            <ac:spMk id="98" creationId="{B12694A4-F904-29EA-BE29-0929CBDEE926}"/>
          </ac:spMkLst>
        </pc:spChg>
        <pc:spChg chg="add mod replST">
          <ac:chgData name="Merlin Gutter" userId="2abc6f04-74af-430b-bdc8-569c3bfa1dda" providerId="ADAL" clId="{CB1EFBC3-10F5-3048-8961-5969497C0019}" dt="2022-11-23T17:27:38.957" v="92767"/>
          <ac:spMkLst>
            <pc:docMk/>
            <pc:sldMk cId="306393785" sldId="388"/>
            <ac:spMk id="99" creationId="{95E392F5-626F-E55C-9E75-F8B9CF156C8B}"/>
          </ac:spMkLst>
        </pc:spChg>
        <pc:spChg chg="add mod replST">
          <ac:chgData name="Merlin Gutter" userId="2abc6f04-74af-430b-bdc8-569c3bfa1dda" providerId="ADAL" clId="{CB1EFBC3-10F5-3048-8961-5969497C0019}" dt="2022-11-23T17:27:38.962" v="92791"/>
          <ac:spMkLst>
            <pc:docMk/>
            <pc:sldMk cId="306393785" sldId="388"/>
            <ac:spMk id="100" creationId="{332DB5F2-6387-2E77-464C-A8C6B9F6186A}"/>
          </ac:spMkLst>
        </pc:spChg>
        <pc:spChg chg="add mod replST">
          <ac:chgData name="Merlin Gutter" userId="2abc6f04-74af-430b-bdc8-569c3bfa1dda" providerId="ADAL" clId="{CB1EFBC3-10F5-3048-8961-5969497C0019}" dt="2022-11-23T17:27:38.961" v="92788"/>
          <ac:spMkLst>
            <pc:docMk/>
            <pc:sldMk cId="306393785" sldId="388"/>
            <ac:spMk id="101" creationId="{FF349D65-DF2F-6EA3-448B-8182FE5DB3DE}"/>
          </ac:spMkLst>
        </pc:spChg>
        <pc:spChg chg="add mod replST">
          <ac:chgData name="Merlin Gutter" userId="2abc6f04-74af-430b-bdc8-569c3bfa1dda" providerId="ADAL" clId="{CB1EFBC3-10F5-3048-8961-5969497C0019}" dt="2022-11-23T17:27:38.954" v="92752"/>
          <ac:spMkLst>
            <pc:docMk/>
            <pc:sldMk cId="306393785" sldId="388"/>
            <ac:spMk id="102" creationId="{8EB646D2-1610-A0CD-4389-B74CC6B0DBE6}"/>
          </ac:spMkLst>
        </pc:spChg>
        <pc:spChg chg="add mod replST">
          <ac:chgData name="Merlin Gutter" userId="2abc6f04-74af-430b-bdc8-569c3bfa1dda" providerId="ADAL" clId="{CB1EFBC3-10F5-3048-8961-5969497C0019}" dt="2022-11-23T17:27:38.952" v="92743"/>
          <ac:spMkLst>
            <pc:docMk/>
            <pc:sldMk cId="306393785" sldId="388"/>
            <ac:spMk id="103" creationId="{13A5F7F0-FCC7-4EC3-4E14-DB184D9297EB}"/>
          </ac:spMkLst>
        </pc:spChg>
        <pc:spChg chg="add mod replST">
          <ac:chgData name="Merlin Gutter" userId="2abc6f04-74af-430b-bdc8-569c3bfa1dda" providerId="ADAL" clId="{CB1EFBC3-10F5-3048-8961-5969497C0019}" dt="2022-11-23T17:27:38.954" v="92756"/>
          <ac:spMkLst>
            <pc:docMk/>
            <pc:sldMk cId="306393785" sldId="388"/>
            <ac:spMk id="104" creationId="{F9DC4014-650F-2838-2974-FD6B5F6EC984}"/>
          </ac:spMkLst>
        </pc:spChg>
        <pc:spChg chg="add mod replST">
          <ac:chgData name="Merlin Gutter" userId="2abc6f04-74af-430b-bdc8-569c3bfa1dda" providerId="ADAL" clId="{CB1EFBC3-10F5-3048-8961-5969497C0019}" dt="2022-11-23T17:27:38.961" v="92785"/>
          <ac:spMkLst>
            <pc:docMk/>
            <pc:sldMk cId="306393785" sldId="388"/>
            <ac:spMk id="105" creationId="{17C833DC-F6A7-DD2B-619A-CF4223A6218F}"/>
          </ac:spMkLst>
        </pc:spChg>
        <pc:spChg chg="add mod replST">
          <ac:chgData name="Merlin Gutter" userId="2abc6f04-74af-430b-bdc8-569c3bfa1dda" providerId="ADAL" clId="{CB1EFBC3-10F5-3048-8961-5969497C0019}" dt="2022-11-23T17:27:38.956" v="92765"/>
          <ac:spMkLst>
            <pc:docMk/>
            <pc:sldMk cId="306393785" sldId="388"/>
            <ac:spMk id="106" creationId="{28FD76D9-8570-9948-04B4-ED0C84DBBA9C}"/>
          </ac:spMkLst>
        </pc:spChg>
        <pc:spChg chg="add mod replST">
          <ac:chgData name="Merlin Gutter" userId="2abc6f04-74af-430b-bdc8-569c3bfa1dda" providerId="ADAL" clId="{CB1EFBC3-10F5-3048-8961-5969497C0019}" dt="2022-11-23T17:27:38.954" v="92754"/>
          <ac:spMkLst>
            <pc:docMk/>
            <pc:sldMk cId="306393785" sldId="388"/>
            <ac:spMk id="107" creationId="{393A8C2C-FE5B-0A57-C73D-A3AFA75622A4}"/>
          </ac:spMkLst>
        </pc:spChg>
        <pc:spChg chg="add mod replST">
          <ac:chgData name="Merlin Gutter" userId="2abc6f04-74af-430b-bdc8-569c3bfa1dda" providerId="ADAL" clId="{CB1EFBC3-10F5-3048-8961-5969497C0019}" dt="2022-11-23T17:27:38.955" v="92761"/>
          <ac:spMkLst>
            <pc:docMk/>
            <pc:sldMk cId="306393785" sldId="388"/>
            <ac:spMk id="108" creationId="{BD466D2B-165A-4AE7-4FB9-6CB886EB8864}"/>
          </ac:spMkLst>
        </pc:spChg>
        <pc:spChg chg="add mod replST">
          <ac:chgData name="Merlin Gutter" userId="2abc6f04-74af-430b-bdc8-569c3bfa1dda" providerId="ADAL" clId="{CB1EFBC3-10F5-3048-8961-5969497C0019}" dt="2022-11-23T17:27:38.955" v="92760"/>
          <ac:spMkLst>
            <pc:docMk/>
            <pc:sldMk cId="306393785" sldId="388"/>
            <ac:spMk id="109" creationId="{29643BFB-59CC-6B64-E663-D92E04171ED5}"/>
          </ac:spMkLst>
        </pc:spChg>
        <pc:spChg chg="add mod replST">
          <ac:chgData name="Merlin Gutter" userId="2abc6f04-74af-430b-bdc8-569c3bfa1dda" providerId="ADAL" clId="{CB1EFBC3-10F5-3048-8961-5969497C0019}" dt="2022-11-23T17:27:38.956" v="92762"/>
          <ac:spMkLst>
            <pc:docMk/>
            <pc:sldMk cId="306393785" sldId="388"/>
            <ac:spMk id="110" creationId="{789799F8-2C21-C4C8-95F6-A7EA6EC0AB36}"/>
          </ac:spMkLst>
        </pc:spChg>
        <pc:spChg chg="add mod replST">
          <ac:chgData name="Merlin Gutter" userId="2abc6f04-74af-430b-bdc8-569c3bfa1dda" providerId="ADAL" clId="{CB1EFBC3-10F5-3048-8961-5969497C0019}" dt="2022-11-23T17:27:38.958" v="92774"/>
          <ac:spMkLst>
            <pc:docMk/>
            <pc:sldMk cId="306393785" sldId="388"/>
            <ac:spMk id="111" creationId="{8C4E1D0B-E93F-2151-7935-E908337A3621}"/>
          </ac:spMkLst>
        </pc:spChg>
        <pc:spChg chg="add mod replST">
          <ac:chgData name="Merlin Gutter" userId="2abc6f04-74af-430b-bdc8-569c3bfa1dda" providerId="ADAL" clId="{CB1EFBC3-10F5-3048-8961-5969497C0019}" dt="2022-11-23T17:27:38.956" v="92763"/>
          <ac:spMkLst>
            <pc:docMk/>
            <pc:sldMk cId="306393785" sldId="388"/>
            <ac:spMk id="112" creationId="{DD9E423A-6953-D778-BC6B-704AF31653D5}"/>
          </ac:spMkLst>
        </pc:spChg>
        <pc:spChg chg="add mod replST">
          <ac:chgData name="Merlin Gutter" userId="2abc6f04-74af-430b-bdc8-569c3bfa1dda" providerId="ADAL" clId="{CB1EFBC3-10F5-3048-8961-5969497C0019}" dt="2022-11-23T17:27:38.952" v="92747"/>
          <ac:spMkLst>
            <pc:docMk/>
            <pc:sldMk cId="306393785" sldId="388"/>
            <ac:spMk id="113" creationId="{F7F6EF03-CA95-3CFB-D370-F2F4EAB1BB48}"/>
          </ac:spMkLst>
        </pc:spChg>
        <pc:spChg chg="add mod replST">
          <ac:chgData name="Merlin Gutter" userId="2abc6f04-74af-430b-bdc8-569c3bfa1dda" providerId="ADAL" clId="{CB1EFBC3-10F5-3048-8961-5969497C0019}" dt="2022-11-23T17:27:38.960" v="92784"/>
          <ac:spMkLst>
            <pc:docMk/>
            <pc:sldMk cId="306393785" sldId="388"/>
            <ac:spMk id="114" creationId="{CD099C73-70CA-2A04-1192-8A28C03BA00B}"/>
          </ac:spMkLst>
        </pc:spChg>
        <pc:spChg chg="add mod replST">
          <ac:chgData name="Merlin Gutter" userId="2abc6f04-74af-430b-bdc8-569c3bfa1dda" providerId="ADAL" clId="{CB1EFBC3-10F5-3048-8961-5969497C0019}" dt="2022-11-23T17:27:38.957" v="92769"/>
          <ac:spMkLst>
            <pc:docMk/>
            <pc:sldMk cId="306393785" sldId="388"/>
            <ac:spMk id="115" creationId="{AEE54A90-2853-AB4A-0A91-B5A5CDC689C0}"/>
          </ac:spMkLst>
        </pc:spChg>
        <pc:spChg chg="add mod replST">
          <ac:chgData name="Merlin Gutter" userId="2abc6f04-74af-430b-bdc8-569c3bfa1dda" providerId="ADAL" clId="{CB1EFBC3-10F5-3048-8961-5969497C0019}" dt="2022-11-23T17:27:38.958" v="92772"/>
          <ac:spMkLst>
            <pc:docMk/>
            <pc:sldMk cId="306393785" sldId="388"/>
            <ac:spMk id="116" creationId="{2F307EDD-84F9-6D35-67CC-FCB04E9B957F}"/>
          </ac:spMkLst>
        </pc:spChg>
        <pc:spChg chg="add mod replST">
          <ac:chgData name="Merlin Gutter" userId="2abc6f04-74af-430b-bdc8-569c3bfa1dda" providerId="ADAL" clId="{CB1EFBC3-10F5-3048-8961-5969497C0019}" dt="2022-11-23T17:27:38.954" v="92755"/>
          <ac:spMkLst>
            <pc:docMk/>
            <pc:sldMk cId="306393785" sldId="388"/>
            <ac:spMk id="117" creationId="{ABB9BFF2-7DB7-45C7-FAC9-F04A19A6916A}"/>
          </ac:spMkLst>
        </pc:spChg>
        <pc:spChg chg="add del mod replST">
          <ac:chgData name="Merlin Gutter" userId="2abc6f04-74af-430b-bdc8-569c3bfa1dda" providerId="ADAL" clId="{CB1EFBC3-10F5-3048-8961-5969497C0019}" dt="2022-11-22T22:37:15.688" v="61721"/>
          <ac:spMkLst>
            <pc:docMk/>
            <pc:sldMk cId="306393785" sldId="388"/>
            <ac:spMk id="118" creationId="{76F0EFF5-DF00-EA5D-1632-EB67A1986EDA}"/>
          </ac:spMkLst>
        </pc:spChg>
        <pc:spChg chg="add del mod replST">
          <ac:chgData name="Merlin Gutter" userId="2abc6f04-74af-430b-bdc8-569c3bfa1dda" providerId="ADAL" clId="{CB1EFBC3-10F5-3048-8961-5969497C0019}" dt="2022-11-22T22:37:15.790" v="61879"/>
          <ac:spMkLst>
            <pc:docMk/>
            <pc:sldMk cId="306393785" sldId="388"/>
            <ac:spMk id="119" creationId="{3CC8AF65-FB6D-5805-AD36-7A5AE234EE24}"/>
          </ac:spMkLst>
        </pc:spChg>
        <pc:spChg chg="add del mod replST">
          <ac:chgData name="Merlin Gutter" userId="2abc6f04-74af-430b-bdc8-569c3bfa1dda" providerId="ADAL" clId="{CB1EFBC3-10F5-3048-8961-5969497C0019}" dt="2022-11-22T22:37:23.102" v="62628"/>
          <ac:spMkLst>
            <pc:docMk/>
            <pc:sldMk cId="306393785" sldId="388"/>
            <ac:spMk id="120" creationId="{FDE0D8E9-51B5-B84B-B6F6-927C6503F224}"/>
          </ac:spMkLst>
        </pc:spChg>
        <pc:spChg chg="add del mod replST">
          <ac:chgData name="Merlin Gutter" userId="2abc6f04-74af-430b-bdc8-569c3bfa1dda" providerId="ADAL" clId="{CB1EFBC3-10F5-3048-8961-5969497C0019}" dt="2022-11-23T17:26:35.031" v="91621"/>
          <ac:spMkLst>
            <pc:docMk/>
            <pc:sldMk cId="306393785" sldId="388"/>
            <ac:spMk id="121" creationId="{10850182-A9FC-1887-1DE0-7D091C5D453E}"/>
          </ac:spMkLst>
        </pc:spChg>
        <pc:spChg chg="add del mod replST">
          <ac:chgData name="Merlin Gutter" userId="2abc6f04-74af-430b-bdc8-569c3bfa1dda" providerId="ADAL" clId="{CB1EFBC3-10F5-3048-8961-5969497C0019}" dt="2022-11-23T17:26:35.034" v="91624"/>
          <ac:spMkLst>
            <pc:docMk/>
            <pc:sldMk cId="306393785" sldId="388"/>
            <ac:spMk id="122" creationId="{8AA7409E-A483-E125-FA46-63E6DD2903D1}"/>
          </ac:spMkLst>
        </pc:spChg>
        <pc:spChg chg="add del mod replST">
          <ac:chgData name="Merlin Gutter" userId="2abc6f04-74af-430b-bdc8-569c3bfa1dda" providerId="ADAL" clId="{CB1EFBC3-10F5-3048-8961-5969497C0019}" dt="2022-11-23T17:26:35.036" v="91633"/>
          <ac:spMkLst>
            <pc:docMk/>
            <pc:sldMk cId="306393785" sldId="388"/>
            <ac:spMk id="123" creationId="{E50DE5DB-0838-05EA-3E1C-8C30F8F90865}"/>
          </ac:spMkLst>
        </pc:spChg>
        <pc:spChg chg="add del mod replST">
          <ac:chgData name="Merlin Gutter" userId="2abc6f04-74af-430b-bdc8-569c3bfa1dda" providerId="ADAL" clId="{CB1EFBC3-10F5-3048-8961-5969497C0019}" dt="2022-11-23T17:26:35.035" v="91630"/>
          <ac:spMkLst>
            <pc:docMk/>
            <pc:sldMk cId="306393785" sldId="388"/>
            <ac:spMk id="124" creationId="{89750B6B-F620-045D-4FF6-ACD45557461D}"/>
          </ac:spMkLst>
        </pc:spChg>
        <pc:spChg chg="del mod">
          <ac:chgData name="Merlin Gutter" userId="2abc6f04-74af-430b-bdc8-569c3bfa1dda" providerId="ADAL" clId="{CB1EFBC3-10F5-3048-8961-5969497C0019}" dt="2022-11-22T22:37:00.876" v="59647"/>
          <ac:spMkLst>
            <pc:docMk/>
            <pc:sldMk cId="306393785" sldId="388"/>
            <ac:spMk id="125" creationId="{DE60708C-C90B-3DFC-AE23-71A9F3AEAF48}"/>
          </ac:spMkLst>
        </pc:spChg>
        <pc:spChg chg="del mod">
          <ac:chgData name="Merlin Gutter" userId="2abc6f04-74af-430b-bdc8-569c3bfa1dda" providerId="ADAL" clId="{CB1EFBC3-10F5-3048-8961-5969497C0019}" dt="2022-11-22T22:37:00.876" v="59646"/>
          <ac:spMkLst>
            <pc:docMk/>
            <pc:sldMk cId="306393785" sldId="388"/>
            <ac:spMk id="126" creationId="{93D1F641-308D-9713-5F4B-6C85F504F8B1}"/>
          </ac:spMkLst>
        </pc:spChg>
        <pc:spChg chg="del mod">
          <ac:chgData name="Merlin Gutter" userId="2abc6f04-74af-430b-bdc8-569c3bfa1dda" providerId="ADAL" clId="{CB1EFBC3-10F5-3048-8961-5969497C0019}" dt="2022-11-22T22:37:00.876" v="59645"/>
          <ac:spMkLst>
            <pc:docMk/>
            <pc:sldMk cId="306393785" sldId="388"/>
            <ac:spMk id="127" creationId="{C6B2962A-FB1B-3469-95D8-629FD74FE675}"/>
          </ac:spMkLst>
        </pc:spChg>
        <pc:spChg chg="del mod">
          <ac:chgData name="Merlin Gutter" userId="2abc6f04-74af-430b-bdc8-569c3bfa1dda" providerId="ADAL" clId="{CB1EFBC3-10F5-3048-8961-5969497C0019}" dt="2022-11-22T22:37:00.875" v="59644"/>
          <ac:spMkLst>
            <pc:docMk/>
            <pc:sldMk cId="306393785" sldId="388"/>
            <ac:spMk id="128" creationId="{C16680B5-DB37-2F62-5B84-AFEB3120FABF}"/>
          </ac:spMkLst>
        </pc:spChg>
        <pc:spChg chg="del mod">
          <ac:chgData name="Merlin Gutter" userId="2abc6f04-74af-430b-bdc8-569c3bfa1dda" providerId="ADAL" clId="{CB1EFBC3-10F5-3048-8961-5969497C0019}" dt="2022-11-22T22:37:00.875" v="59643"/>
          <ac:spMkLst>
            <pc:docMk/>
            <pc:sldMk cId="306393785" sldId="388"/>
            <ac:spMk id="129" creationId="{249EC2D3-8F67-704B-301C-A65728D8723C}"/>
          </ac:spMkLst>
        </pc:spChg>
        <pc:spChg chg="del mod">
          <ac:chgData name="Merlin Gutter" userId="2abc6f04-74af-430b-bdc8-569c3bfa1dda" providerId="ADAL" clId="{CB1EFBC3-10F5-3048-8961-5969497C0019}" dt="2022-11-22T22:37:00.875" v="59642"/>
          <ac:spMkLst>
            <pc:docMk/>
            <pc:sldMk cId="306393785" sldId="388"/>
            <ac:spMk id="130" creationId="{C983C178-09C1-45E5-362D-7FCAC7DDE5B1}"/>
          </ac:spMkLst>
        </pc:spChg>
        <pc:spChg chg="del mod">
          <ac:chgData name="Merlin Gutter" userId="2abc6f04-74af-430b-bdc8-569c3bfa1dda" providerId="ADAL" clId="{CB1EFBC3-10F5-3048-8961-5969497C0019}" dt="2022-11-22T22:37:00.874" v="59641"/>
          <ac:spMkLst>
            <pc:docMk/>
            <pc:sldMk cId="306393785" sldId="388"/>
            <ac:spMk id="131" creationId="{83C6DF27-0B51-C660-244B-01EA3BD93791}"/>
          </ac:spMkLst>
        </pc:spChg>
        <pc:spChg chg="del mod">
          <ac:chgData name="Merlin Gutter" userId="2abc6f04-74af-430b-bdc8-569c3bfa1dda" providerId="ADAL" clId="{CB1EFBC3-10F5-3048-8961-5969497C0019}" dt="2022-11-22T22:37:00.874" v="59640"/>
          <ac:spMkLst>
            <pc:docMk/>
            <pc:sldMk cId="306393785" sldId="388"/>
            <ac:spMk id="132" creationId="{BF41C1AA-8718-2498-87B2-AD74A78674ED}"/>
          </ac:spMkLst>
        </pc:spChg>
        <pc:spChg chg="del mod">
          <ac:chgData name="Merlin Gutter" userId="2abc6f04-74af-430b-bdc8-569c3bfa1dda" providerId="ADAL" clId="{CB1EFBC3-10F5-3048-8961-5969497C0019}" dt="2022-11-22T22:37:00.874" v="59639"/>
          <ac:spMkLst>
            <pc:docMk/>
            <pc:sldMk cId="306393785" sldId="388"/>
            <ac:spMk id="133" creationId="{B1A10525-C936-C150-CB97-4A0674D9D86E}"/>
          </ac:spMkLst>
        </pc:spChg>
        <pc:spChg chg="del mod">
          <ac:chgData name="Merlin Gutter" userId="2abc6f04-74af-430b-bdc8-569c3bfa1dda" providerId="ADAL" clId="{CB1EFBC3-10F5-3048-8961-5969497C0019}" dt="2022-11-22T22:37:00.873" v="59638"/>
          <ac:spMkLst>
            <pc:docMk/>
            <pc:sldMk cId="306393785" sldId="388"/>
            <ac:spMk id="134" creationId="{135CA4E2-CCA3-BCED-DDA1-95A66642CBB8}"/>
          </ac:spMkLst>
        </pc:spChg>
        <pc:spChg chg="del mod">
          <ac:chgData name="Merlin Gutter" userId="2abc6f04-74af-430b-bdc8-569c3bfa1dda" providerId="ADAL" clId="{CB1EFBC3-10F5-3048-8961-5969497C0019}" dt="2022-11-22T22:37:00.873" v="59637"/>
          <ac:spMkLst>
            <pc:docMk/>
            <pc:sldMk cId="306393785" sldId="388"/>
            <ac:spMk id="135" creationId="{E61E8E78-6D7D-62BD-FFB2-E51497EB21FF}"/>
          </ac:spMkLst>
        </pc:spChg>
        <pc:spChg chg="del mod">
          <ac:chgData name="Merlin Gutter" userId="2abc6f04-74af-430b-bdc8-569c3bfa1dda" providerId="ADAL" clId="{CB1EFBC3-10F5-3048-8961-5969497C0019}" dt="2022-11-22T22:37:00.872" v="59636"/>
          <ac:spMkLst>
            <pc:docMk/>
            <pc:sldMk cId="306393785" sldId="388"/>
            <ac:spMk id="136" creationId="{A30C869F-4C44-1FEB-2E00-766EA02E2871}"/>
          </ac:spMkLst>
        </pc:spChg>
        <pc:spChg chg="del mod">
          <ac:chgData name="Merlin Gutter" userId="2abc6f04-74af-430b-bdc8-569c3bfa1dda" providerId="ADAL" clId="{CB1EFBC3-10F5-3048-8961-5969497C0019}" dt="2022-11-22T22:37:00.872" v="59635"/>
          <ac:spMkLst>
            <pc:docMk/>
            <pc:sldMk cId="306393785" sldId="388"/>
            <ac:spMk id="137" creationId="{90A0CE48-2CE3-B352-EB4A-C226EEC28B00}"/>
          </ac:spMkLst>
        </pc:spChg>
        <pc:spChg chg="del mod">
          <ac:chgData name="Merlin Gutter" userId="2abc6f04-74af-430b-bdc8-569c3bfa1dda" providerId="ADAL" clId="{CB1EFBC3-10F5-3048-8961-5969497C0019}" dt="2022-11-22T22:37:00.872" v="59634"/>
          <ac:spMkLst>
            <pc:docMk/>
            <pc:sldMk cId="306393785" sldId="388"/>
            <ac:spMk id="138" creationId="{8BC9E89F-5EA9-704E-3BC1-F582ACEBF715}"/>
          </ac:spMkLst>
        </pc:spChg>
        <pc:spChg chg="del mod">
          <ac:chgData name="Merlin Gutter" userId="2abc6f04-74af-430b-bdc8-569c3bfa1dda" providerId="ADAL" clId="{CB1EFBC3-10F5-3048-8961-5969497C0019}" dt="2022-11-22T22:37:00.871" v="59633"/>
          <ac:spMkLst>
            <pc:docMk/>
            <pc:sldMk cId="306393785" sldId="388"/>
            <ac:spMk id="139" creationId="{995343CC-C281-045E-CD70-B7B7949058D7}"/>
          </ac:spMkLst>
        </pc:spChg>
        <pc:spChg chg="del mod">
          <ac:chgData name="Merlin Gutter" userId="2abc6f04-74af-430b-bdc8-569c3bfa1dda" providerId="ADAL" clId="{CB1EFBC3-10F5-3048-8961-5969497C0019}" dt="2022-11-22T22:37:00.871" v="59632"/>
          <ac:spMkLst>
            <pc:docMk/>
            <pc:sldMk cId="306393785" sldId="388"/>
            <ac:spMk id="140" creationId="{995ABC59-F07B-2A6B-E371-6B58815C820F}"/>
          </ac:spMkLst>
        </pc:spChg>
        <pc:spChg chg="del mod">
          <ac:chgData name="Merlin Gutter" userId="2abc6f04-74af-430b-bdc8-569c3bfa1dda" providerId="ADAL" clId="{CB1EFBC3-10F5-3048-8961-5969497C0019}" dt="2022-11-22T22:37:00.871" v="59631"/>
          <ac:spMkLst>
            <pc:docMk/>
            <pc:sldMk cId="306393785" sldId="388"/>
            <ac:spMk id="141" creationId="{08B3CF0E-168B-FD45-758D-71B5E2C25E8D}"/>
          </ac:spMkLst>
        </pc:spChg>
        <pc:spChg chg="del mod">
          <ac:chgData name="Merlin Gutter" userId="2abc6f04-74af-430b-bdc8-569c3bfa1dda" providerId="ADAL" clId="{CB1EFBC3-10F5-3048-8961-5969497C0019}" dt="2022-11-22T22:37:00.870" v="59630"/>
          <ac:spMkLst>
            <pc:docMk/>
            <pc:sldMk cId="306393785" sldId="388"/>
            <ac:spMk id="142" creationId="{578517E2-F1FE-D68E-DEA2-ADCBE8740C15}"/>
          </ac:spMkLst>
        </pc:spChg>
        <pc:spChg chg="del mod">
          <ac:chgData name="Merlin Gutter" userId="2abc6f04-74af-430b-bdc8-569c3bfa1dda" providerId="ADAL" clId="{CB1EFBC3-10F5-3048-8961-5969497C0019}" dt="2022-11-22T22:37:00.870" v="59629"/>
          <ac:spMkLst>
            <pc:docMk/>
            <pc:sldMk cId="306393785" sldId="388"/>
            <ac:spMk id="143" creationId="{DD14D22D-B152-0144-49A1-CB16D4DEAE7C}"/>
          </ac:spMkLst>
        </pc:spChg>
        <pc:spChg chg="del mod">
          <ac:chgData name="Merlin Gutter" userId="2abc6f04-74af-430b-bdc8-569c3bfa1dda" providerId="ADAL" clId="{CB1EFBC3-10F5-3048-8961-5969497C0019}" dt="2022-11-22T22:37:00.870" v="59628"/>
          <ac:spMkLst>
            <pc:docMk/>
            <pc:sldMk cId="306393785" sldId="388"/>
            <ac:spMk id="144" creationId="{972779A2-C737-9FAF-422F-1F3017E1FFF8}"/>
          </ac:spMkLst>
        </pc:spChg>
        <pc:spChg chg="del mod">
          <ac:chgData name="Merlin Gutter" userId="2abc6f04-74af-430b-bdc8-569c3bfa1dda" providerId="ADAL" clId="{CB1EFBC3-10F5-3048-8961-5969497C0019}" dt="2022-11-22T22:37:00.869" v="59627"/>
          <ac:spMkLst>
            <pc:docMk/>
            <pc:sldMk cId="306393785" sldId="388"/>
            <ac:spMk id="145" creationId="{7AC40686-4E40-C6A1-E20A-F8B4CB4F3AD8}"/>
          </ac:spMkLst>
        </pc:spChg>
        <pc:spChg chg="del mod">
          <ac:chgData name="Merlin Gutter" userId="2abc6f04-74af-430b-bdc8-569c3bfa1dda" providerId="ADAL" clId="{CB1EFBC3-10F5-3048-8961-5969497C0019}" dt="2022-11-22T22:37:00.869" v="59626"/>
          <ac:spMkLst>
            <pc:docMk/>
            <pc:sldMk cId="306393785" sldId="388"/>
            <ac:spMk id="146" creationId="{EFE7EF36-3478-1DD0-3FD7-DB93C2773EB0}"/>
          </ac:spMkLst>
        </pc:spChg>
        <pc:spChg chg="del mod">
          <ac:chgData name="Merlin Gutter" userId="2abc6f04-74af-430b-bdc8-569c3bfa1dda" providerId="ADAL" clId="{CB1EFBC3-10F5-3048-8961-5969497C0019}" dt="2022-11-22T22:37:00.869" v="59625"/>
          <ac:spMkLst>
            <pc:docMk/>
            <pc:sldMk cId="306393785" sldId="388"/>
            <ac:spMk id="147" creationId="{FA29487A-4402-1B15-A560-7DF41B2A8352}"/>
          </ac:spMkLst>
        </pc:spChg>
        <pc:spChg chg="del mod">
          <ac:chgData name="Merlin Gutter" userId="2abc6f04-74af-430b-bdc8-569c3bfa1dda" providerId="ADAL" clId="{CB1EFBC3-10F5-3048-8961-5969497C0019}" dt="2022-11-22T22:37:00.868" v="59624"/>
          <ac:spMkLst>
            <pc:docMk/>
            <pc:sldMk cId="306393785" sldId="388"/>
            <ac:spMk id="148" creationId="{F664D887-8534-D264-5EE8-81DABA811AD0}"/>
          </ac:spMkLst>
        </pc:spChg>
        <pc:spChg chg="del mod">
          <ac:chgData name="Merlin Gutter" userId="2abc6f04-74af-430b-bdc8-569c3bfa1dda" providerId="ADAL" clId="{CB1EFBC3-10F5-3048-8961-5969497C0019}" dt="2022-11-22T22:37:00.868" v="59623"/>
          <ac:spMkLst>
            <pc:docMk/>
            <pc:sldMk cId="306393785" sldId="388"/>
            <ac:spMk id="149" creationId="{1660FB55-9F23-B26A-3A09-E37CF90F73CA}"/>
          </ac:spMkLst>
        </pc:spChg>
        <pc:spChg chg="del mod">
          <ac:chgData name="Merlin Gutter" userId="2abc6f04-74af-430b-bdc8-569c3bfa1dda" providerId="ADAL" clId="{CB1EFBC3-10F5-3048-8961-5969497C0019}" dt="2022-11-22T22:37:00.867" v="59622"/>
          <ac:spMkLst>
            <pc:docMk/>
            <pc:sldMk cId="306393785" sldId="388"/>
            <ac:spMk id="150" creationId="{0D29C39E-F2EF-F6F8-626C-DFF5AA585A83}"/>
          </ac:spMkLst>
        </pc:spChg>
        <pc:spChg chg="del mod">
          <ac:chgData name="Merlin Gutter" userId="2abc6f04-74af-430b-bdc8-569c3bfa1dda" providerId="ADAL" clId="{CB1EFBC3-10F5-3048-8961-5969497C0019}" dt="2022-11-22T22:37:00.867" v="59621"/>
          <ac:spMkLst>
            <pc:docMk/>
            <pc:sldMk cId="306393785" sldId="388"/>
            <ac:spMk id="151" creationId="{6203F2F5-E415-4903-0BD5-F13812216840}"/>
          </ac:spMkLst>
        </pc:spChg>
        <pc:spChg chg="del mod">
          <ac:chgData name="Merlin Gutter" userId="2abc6f04-74af-430b-bdc8-569c3bfa1dda" providerId="ADAL" clId="{CB1EFBC3-10F5-3048-8961-5969497C0019}" dt="2022-11-22T22:37:00.867" v="59620"/>
          <ac:spMkLst>
            <pc:docMk/>
            <pc:sldMk cId="306393785" sldId="388"/>
            <ac:spMk id="152" creationId="{FDD022B4-9263-1D0B-0FA7-25997597224A}"/>
          </ac:spMkLst>
        </pc:spChg>
        <pc:spChg chg="del mod">
          <ac:chgData name="Merlin Gutter" userId="2abc6f04-74af-430b-bdc8-569c3bfa1dda" providerId="ADAL" clId="{CB1EFBC3-10F5-3048-8961-5969497C0019}" dt="2022-11-22T22:37:00.866" v="59619"/>
          <ac:spMkLst>
            <pc:docMk/>
            <pc:sldMk cId="306393785" sldId="388"/>
            <ac:spMk id="153" creationId="{487FF4C6-75BC-74B7-595C-048CA566E232}"/>
          </ac:spMkLst>
        </pc:spChg>
        <pc:spChg chg="del mod">
          <ac:chgData name="Merlin Gutter" userId="2abc6f04-74af-430b-bdc8-569c3bfa1dda" providerId="ADAL" clId="{CB1EFBC3-10F5-3048-8961-5969497C0019}" dt="2022-11-22T22:37:00.866" v="59618"/>
          <ac:spMkLst>
            <pc:docMk/>
            <pc:sldMk cId="306393785" sldId="388"/>
            <ac:spMk id="154" creationId="{1BE0DC21-9A03-D7B6-1A07-B82C5056D735}"/>
          </ac:spMkLst>
        </pc:spChg>
        <pc:spChg chg="del mod">
          <ac:chgData name="Merlin Gutter" userId="2abc6f04-74af-430b-bdc8-569c3bfa1dda" providerId="ADAL" clId="{CB1EFBC3-10F5-3048-8961-5969497C0019}" dt="2022-11-22T22:37:00.865" v="59617"/>
          <ac:spMkLst>
            <pc:docMk/>
            <pc:sldMk cId="306393785" sldId="388"/>
            <ac:spMk id="155" creationId="{B9FB4172-78EC-1DBD-430E-8D44879E9715}"/>
          </ac:spMkLst>
        </pc:spChg>
        <pc:spChg chg="del mod">
          <ac:chgData name="Merlin Gutter" userId="2abc6f04-74af-430b-bdc8-569c3bfa1dda" providerId="ADAL" clId="{CB1EFBC3-10F5-3048-8961-5969497C0019}" dt="2022-11-22T22:37:00.865" v="59616"/>
          <ac:spMkLst>
            <pc:docMk/>
            <pc:sldMk cId="306393785" sldId="388"/>
            <ac:spMk id="156" creationId="{D2E26725-795F-692E-D465-B3D5673AA974}"/>
          </ac:spMkLst>
        </pc:spChg>
        <pc:spChg chg="del mod">
          <ac:chgData name="Merlin Gutter" userId="2abc6f04-74af-430b-bdc8-569c3bfa1dda" providerId="ADAL" clId="{CB1EFBC3-10F5-3048-8961-5969497C0019}" dt="2022-11-22T22:37:00.865" v="59615"/>
          <ac:spMkLst>
            <pc:docMk/>
            <pc:sldMk cId="306393785" sldId="388"/>
            <ac:spMk id="157" creationId="{060DBE4B-0768-E5A2-73A8-A9CEF6967041}"/>
          </ac:spMkLst>
        </pc:spChg>
        <pc:spChg chg="del mod">
          <ac:chgData name="Merlin Gutter" userId="2abc6f04-74af-430b-bdc8-569c3bfa1dda" providerId="ADAL" clId="{CB1EFBC3-10F5-3048-8961-5969497C0019}" dt="2022-11-22T22:37:00.864" v="59614"/>
          <ac:spMkLst>
            <pc:docMk/>
            <pc:sldMk cId="306393785" sldId="388"/>
            <ac:spMk id="158" creationId="{2B7BE101-9172-0609-7E48-D9C5B7F4AE01}"/>
          </ac:spMkLst>
        </pc:spChg>
        <pc:spChg chg="del mod">
          <ac:chgData name="Merlin Gutter" userId="2abc6f04-74af-430b-bdc8-569c3bfa1dda" providerId="ADAL" clId="{CB1EFBC3-10F5-3048-8961-5969497C0019}" dt="2022-11-22T22:37:00.864" v="59613"/>
          <ac:spMkLst>
            <pc:docMk/>
            <pc:sldMk cId="306393785" sldId="388"/>
            <ac:spMk id="159" creationId="{36BBC77D-07A7-CC56-DF9A-F863D16FCFC3}"/>
          </ac:spMkLst>
        </pc:spChg>
        <pc:spChg chg="del mod">
          <ac:chgData name="Merlin Gutter" userId="2abc6f04-74af-430b-bdc8-569c3bfa1dda" providerId="ADAL" clId="{CB1EFBC3-10F5-3048-8961-5969497C0019}" dt="2022-11-22T22:37:00.863" v="59612"/>
          <ac:spMkLst>
            <pc:docMk/>
            <pc:sldMk cId="306393785" sldId="388"/>
            <ac:spMk id="160" creationId="{0314C8F0-3CD9-EEF6-ADED-D49E7D8353FC}"/>
          </ac:spMkLst>
        </pc:spChg>
        <pc:spChg chg="del mod">
          <ac:chgData name="Merlin Gutter" userId="2abc6f04-74af-430b-bdc8-569c3bfa1dda" providerId="ADAL" clId="{CB1EFBC3-10F5-3048-8961-5969497C0019}" dt="2022-11-22T22:37:00.863" v="59611"/>
          <ac:spMkLst>
            <pc:docMk/>
            <pc:sldMk cId="306393785" sldId="388"/>
            <ac:spMk id="161" creationId="{B2FF1CBD-0CCC-417F-818E-F1A8E08F58EB}"/>
          </ac:spMkLst>
        </pc:spChg>
        <pc:spChg chg="del mod">
          <ac:chgData name="Merlin Gutter" userId="2abc6f04-74af-430b-bdc8-569c3bfa1dda" providerId="ADAL" clId="{CB1EFBC3-10F5-3048-8961-5969497C0019}" dt="2022-11-22T22:37:00.862" v="59610"/>
          <ac:spMkLst>
            <pc:docMk/>
            <pc:sldMk cId="306393785" sldId="388"/>
            <ac:spMk id="162" creationId="{27977A41-AB41-C72B-02F1-F456C6EB7DCB}"/>
          </ac:spMkLst>
        </pc:spChg>
        <pc:spChg chg="del mod">
          <ac:chgData name="Merlin Gutter" userId="2abc6f04-74af-430b-bdc8-569c3bfa1dda" providerId="ADAL" clId="{CB1EFBC3-10F5-3048-8961-5969497C0019}" dt="2022-11-22T22:37:00.862" v="59609"/>
          <ac:spMkLst>
            <pc:docMk/>
            <pc:sldMk cId="306393785" sldId="388"/>
            <ac:spMk id="163" creationId="{5C4E85DC-2CE8-41D1-B83A-03F8C561A0CE}"/>
          </ac:spMkLst>
        </pc:spChg>
        <pc:spChg chg="del mod">
          <ac:chgData name="Merlin Gutter" userId="2abc6f04-74af-430b-bdc8-569c3bfa1dda" providerId="ADAL" clId="{CB1EFBC3-10F5-3048-8961-5969497C0019}" dt="2022-11-22T22:37:00.861" v="59608"/>
          <ac:spMkLst>
            <pc:docMk/>
            <pc:sldMk cId="306393785" sldId="388"/>
            <ac:spMk id="164" creationId="{3448B320-747D-C22C-8C36-4F04CD473BF9}"/>
          </ac:spMkLst>
        </pc:spChg>
        <pc:spChg chg="del mod">
          <ac:chgData name="Merlin Gutter" userId="2abc6f04-74af-430b-bdc8-569c3bfa1dda" providerId="ADAL" clId="{CB1EFBC3-10F5-3048-8961-5969497C0019}" dt="2022-11-22T22:37:00.861" v="59607"/>
          <ac:spMkLst>
            <pc:docMk/>
            <pc:sldMk cId="306393785" sldId="388"/>
            <ac:spMk id="165" creationId="{35F8EC9B-E066-6A85-AD3B-7C759E5052E6}"/>
          </ac:spMkLst>
        </pc:spChg>
        <pc:spChg chg="del mod">
          <ac:chgData name="Merlin Gutter" userId="2abc6f04-74af-430b-bdc8-569c3bfa1dda" providerId="ADAL" clId="{CB1EFBC3-10F5-3048-8961-5969497C0019}" dt="2022-11-22T22:37:00.860" v="59606"/>
          <ac:spMkLst>
            <pc:docMk/>
            <pc:sldMk cId="306393785" sldId="388"/>
            <ac:spMk id="166" creationId="{9E75DBEC-F848-151D-59CF-CF802B007ED5}"/>
          </ac:spMkLst>
        </pc:spChg>
        <pc:spChg chg="del mod">
          <ac:chgData name="Merlin Gutter" userId="2abc6f04-74af-430b-bdc8-569c3bfa1dda" providerId="ADAL" clId="{CB1EFBC3-10F5-3048-8961-5969497C0019}" dt="2022-11-22T22:37:00.860" v="59605"/>
          <ac:spMkLst>
            <pc:docMk/>
            <pc:sldMk cId="306393785" sldId="388"/>
            <ac:spMk id="167" creationId="{C9D964D3-5384-A093-D3E1-75F979956F26}"/>
          </ac:spMkLst>
        </pc:spChg>
        <pc:spChg chg="del mod">
          <ac:chgData name="Merlin Gutter" userId="2abc6f04-74af-430b-bdc8-569c3bfa1dda" providerId="ADAL" clId="{CB1EFBC3-10F5-3048-8961-5969497C0019}" dt="2022-11-22T22:37:00.859" v="59604"/>
          <ac:spMkLst>
            <pc:docMk/>
            <pc:sldMk cId="306393785" sldId="388"/>
            <ac:spMk id="168" creationId="{26219115-148A-1BA4-7641-BE8C47E30640}"/>
          </ac:spMkLst>
        </pc:spChg>
        <pc:spChg chg="del mod">
          <ac:chgData name="Merlin Gutter" userId="2abc6f04-74af-430b-bdc8-569c3bfa1dda" providerId="ADAL" clId="{CB1EFBC3-10F5-3048-8961-5969497C0019}" dt="2022-11-22T22:37:00.859" v="59603"/>
          <ac:spMkLst>
            <pc:docMk/>
            <pc:sldMk cId="306393785" sldId="388"/>
            <ac:spMk id="169" creationId="{BC95B0D2-88F3-A643-2A2D-34F6A89CB1DF}"/>
          </ac:spMkLst>
        </pc:spChg>
        <pc:spChg chg="del mod">
          <ac:chgData name="Merlin Gutter" userId="2abc6f04-74af-430b-bdc8-569c3bfa1dda" providerId="ADAL" clId="{CB1EFBC3-10F5-3048-8961-5969497C0019}" dt="2022-11-22T22:37:00.858" v="59602"/>
          <ac:spMkLst>
            <pc:docMk/>
            <pc:sldMk cId="306393785" sldId="388"/>
            <ac:spMk id="170" creationId="{C655087D-AF87-8885-6B98-070818D2B9D8}"/>
          </ac:spMkLst>
        </pc:spChg>
        <pc:spChg chg="del mod">
          <ac:chgData name="Merlin Gutter" userId="2abc6f04-74af-430b-bdc8-569c3bfa1dda" providerId="ADAL" clId="{CB1EFBC3-10F5-3048-8961-5969497C0019}" dt="2022-11-22T22:37:00.858" v="59601"/>
          <ac:spMkLst>
            <pc:docMk/>
            <pc:sldMk cId="306393785" sldId="388"/>
            <ac:spMk id="171" creationId="{9ECE62BE-B535-650F-267D-7E23F4B7E401}"/>
          </ac:spMkLst>
        </pc:spChg>
        <pc:spChg chg="del mod">
          <ac:chgData name="Merlin Gutter" userId="2abc6f04-74af-430b-bdc8-569c3bfa1dda" providerId="ADAL" clId="{CB1EFBC3-10F5-3048-8961-5969497C0019}" dt="2022-11-22T22:37:00.857" v="59600"/>
          <ac:spMkLst>
            <pc:docMk/>
            <pc:sldMk cId="306393785" sldId="388"/>
            <ac:spMk id="172" creationId="{DA7E4DEF-A5C0-3F5C-ACE7-35DCF57E0E47}"/>
          </ac:spMkLst>
        </pc:spChg>
        <pc:spChg chg="del mod">
          <ac:chgData name="Merlin Gutter" userId="2abc6f04-74af-430b-bdc8-569c3bfa1dda" providerId="ADAL" clId="{CB1EFBC3-10F5-3048-8961-5969497C0019}" dt="2022-11-22T22:37:00.856" v="59599"/>
          <ac:spMkLst>
            <pc:docMk/>
            <pc:sldMk cId="306393785" sldId="388"/>
            <ac:spMk id="173" creationId="{0554C27D-A1F7-6F82-5906-3AC2476CF0A8}"/>
          </ac:spMkLst>
        </pc:spChg>
        <pc:spChg chg="del mod">
          <ac:chgData name="Merlin Gutter" userId="2abc6f04-74af-430b-bdc8-569c3bfa1dda" providerId="ADAL" clId="{CB1EFBC3-10F5-3048-8961-5969497C0019}" dt="2022-11-22T22:37:00.856" v="59598"/>
          <ac:spMkLst>
            <pc:docMk/>
            <pc:sldMk cId="306393785" sldId="388"/>
            <ac:spMk id="174" creationId="{FDA60125-CB12-7656-A25D-E2EACDFBF9AA}"/>
          </ac:spMkLst>
        </pc:spChg>
        <pc:spChg chg="add del mod replST">
          <ac:chgData name="Merlin Gutter" userId="2abc6f04-74af-430b-bdc8-569c3bfa1dda" providerId="ADAL" clId="{CB1EFBC3-10F5-3048-8961-5969497C0019}" dt="2022-11-23T17:26:35.035" v="91627"/>
          <ac:spMkLst>
            <pc:docMk/>
            <pc:sldMk cId="306393785" sldId="388"/>
            <ac:spMk id="175" creationId="{E6490C23-DC03-4108-D0FE-2D2ED72A8672}"/>
          </ac:spMkLst>
        </pc:spChg>
        <pc:spChg chg="add del mod replST">
          <ac:chgData name="Merlin Gutter" userId="2abc6f04-74af-430b-bdc8-569c3bfa1dda" providerId="ADAL" clId="{CB1EFBC3-10F5-3048-8961-5969497C0019}" dt="2022-11-23T17:26:35.036" v="91636"/>
          <ac:spMkLst>
            <pc:docMk/>
            <pc:sldMk cId="306393785" sldId="388"/>
            <ac:spMk id="176" creationId="{0F633143-F22B-4C7E-7DCB-AFDB5C264DF3}"/>
          </ac:spMkLst>
        </pc:spChg>
        <pc:spChg chg="add del mod replST">
          <ac:chgData name="Merlin Gutter" userId="2abc6f04-74af-430b-bdc8-569c3bfa1dda" providerId="ADAL" clId="{CB1EFBC3-10F5-3048-8961-5969497C0019}" dt="2022-11-23T17:26:35.035" v="91631"/>
          <ac:spMkLst>
            <pc:docMk/>
            <pc:sldMk cId="306393785" sldId="388"/>
            <ac:spMk id="177" creationId="{F6C1C26D-E8CA-5AF1-8C07-4CFF2A2D1E0E}"/>
          </ac:spMkLst>
        </pc:spChg>
        <pc:spChg chg="add del mod replST">
          <ac:chgData name="Merlin Gutter" userId="2abc6f04-74af-430b-bdc8-569c3bfa1dda" providerId="ADAL" clId="{CB1EFBC3-10F5-3048-8961-5969497C0019}" dt="2022-11-23T17:26:35.035" v="91628"/>
          <ac:spMkLst>
            <pc:docMk/>
            <pc:sldMk cId="306393785" sldId="388"/>
            <ac:spMk id="178" creationId="{0740734B-4436-B4C7-5E30-18A6D4E4C7B0}"/>
          </ac:spMkLst>
        </pc:spChg>
        <pc:spChg chg="add del mod replST">
          <ac:chgData name="Merlin Gutter" userId="2abc6f04-74af-430b-bdc8-569c3bfa1dda" providerId="ADAL" clId="{CB1EFBC3-10F5-3048-8961-5969497C0019}" dt="2022-11-23T17:26:35.036" v="91634"/>
          <ac:spMkLst>
            <pc:docMk/>
            <pc:sldMk cId="306393785" sldId="388"/>
            <ac:spMk id="179" creationId="{CB90C217-2617-A1D1-8563-3437985D455F}"/>
          </ac:spMkLst>
        </pc:spChg>
        <pc:spChg chg="add del mod replST">
          <ac:chgData name="Merlin Gutter" userId="2abc6f04-74af-430b-bdc8-569c3bfa1dda" providerId="ADAL" clId="{CB1EFBC3-10F5-3048-8961-5969497C0019}" dt="2022-11-23T17:26:35.034" v="91622"/>
          <ac:spMkLst>
            <pc:docMk/>
            <pc:sldMk cId="306393785" sldId="388"/>
            <ac:spMk id="180" creationId="{5A231CA8-8AED-95C9-7D99-064BDA18A59B}"/>
          </ac:spMkLst>
        </pc:spChg>
        <pc:spChg chg="add del mod replST">
          <ac:chgData name="Merlin Gutter" userId="2abc6f04-74af-430b-bdc8-569c3bfa1dda" providerId="ADAL" clId="{CB1EFBC3-10F5-3048-8961-5969497C0019}" dt="2022-11-23T17:26:35.034" v="91625"/>
          <ac:spMkLst>
            <pc:docMk/>
            <pc:sldMk cId="306393785" sldId="388"/>
            <ac:spMk id="181" creationId="{C6A895DF-5436-5FDB-630C-5A01003FCCA4}"/>
          </ac:spMkLst>
        </pc:spChg>
        <pc:spChg chg="add del mod replST">
          <ac:chgData name="Merlin Gutter" userId="2abc6f04-74af-430b-bdc8-569c3bfa1dda" providerId="ADAL" clId="{CB1EFBC3-10F5-3048-8961-5969497C0019}" dt="2022-11-23T17:26:35.036" v="91637"/>
          <ac:spMkLst>
            <pc:docMk/>
            <pc:sldMk cId="306393785" sldId="388"/>
            <ac:spMk id="182" creationId="{7F35BA97-8165-FB2C-9BB8-198C21693245}"/>
          </ac:spMkLst>
        </pc:spChg>
        <pc:spChg chg="add del mod modVis">
          <ac:chgData name="Merlin Gutter" userId="2abc6f04-74af-430b-bdc8-569c3bfa1dda" providerId="ADAL" clId="{CB1EFBC3-10F5-3048-8961-5969497C0019}" dt="2022-11-22T22:37:08.390" v="61313"/>
          <ac:spMkLst>
            <pc:docMk/>
            <pc:sldMk cId="306393785" sldId="388"/>
            <ac:spMk id="183" creationId="{B066C9AE-E632-48A3-7D7F-770C84F3699E}"/>
          </ac:spMkLst>
        </pc:spChg>
        <pc:spChg chg="add del mod modVis">
          <ac:chgData name="Merlin Gutter" userId="2abc6f04-74af-430b-bdc8-569c3bfa1dda" providerId="ADAL" clId="{CB1EFBC3-10F5-3048-8961-5969497C0019}" dt="2022-11-22T22:37:13.448" v="61598"/>
          <ac:spMkLst>
            <pc:docMk/>
            <pc:sldMk cId="306393785" sldId="388"/>
            <ac:spMk id="185" creationId="{DF4BAAA8-F088-53F0-FA82-BD378CEB700A}"/>
          </ac:spMkLst>
        </pc:spChg>
        <pc:spChg chg="add del mod modVis">
          <ac:chgData name="Merlin Gutter" userId="2abc6f04-74af-430b-bdc8-569c3bfa1dda" providerId="ADAL" clId="{CB1EFBC3-10F5-3048-8961-5969497C0019}" dt="2022-11-22T22:37:15.745" v="61875"/>
          <ac:spMkLst>
            <pc:docMk/>
            <pc:sldMk cId="306393785" sldId="388"/>
            <ac:spMk id="187" creationId="{B4E73DE6-990E-E15A-C7DF-EF359904D606}"/>
          </ac:spMkLst>
        </pc:spChg>
        <pc:spChg chg="add del mod modVis">
          <ac:chgData name="Merlin Gutter" userId="2abc6f04-74af-430b-bdc8-569c3bfa1dda" providerId="ADAL" clId="{CB1EFBC3-10F5-3048-8961-5969497C0019}" dt="2022-11-22T22:37:15.887" v="62133"/>
          <ac:spMkLst>
            <pc:docMk/>
            <pc:sldMk cId="306393785" sldId="388"/>
            <ac:spMk id="189" creationId="{D1FC2C5C-CF04-8BD7-E9CF-4F21867088B7}"/>
          </ac:spMkLst>
        </pc:spChg>
        <pc:spChg chg="add del mod modVis">
          <ac:chgData name="Merlin Gutter" userId="2abc6f04-74af-430b-bdc8-569c3bfa1dda" providerId="ADAL" clId="{CB1EFBC3-10F5-3048-8961-5969497C0019}" dt="2022-11-22T22:37:17.399" v="62380"/>
          <ac:spMkLst>
            <pc:docMk/>
            <pc:sldMk cId="306393785" sldId="388"/>
            <ac:spMk id="191" creationId="{6876F1FA-A1C2-D723-BD9C-EA3262267A55}"/>
          </ac:spMkLst>
        </pc:spChg>
        <pc:spChg chg="add del mod modVis">
          <ac:chgData name="Merlin Gutter" userId="2abc6f04-74af-430b-bdc8-569c3bfa1dda" providerId="ADAL" clId="{CB1EFBC3-10F5-3048-8961-5969497C0019}" dt="2022-11-22T22:37:19.071" v="62624"/>
          <ac:spMkLst>
            <pc:docMk/>
            <pc:sldMk cId="306393785" sldId="388"/>
            <ac:spMk id="193" creationId="{F88962DD-C4B6-D275-B6FD-5328140DEF77}"/>
          </ac:spMkLst>
        </pc:spChg>
        <pc:spChg chg="add del mod modVis">
          <ac:chgData name="Merlin Gutter" userId="2abc6f04-74af-430b-bdc8-569c3bfa1dda" providerId="ADAL" clId="{CB1EFBC3-10F5-3048-8961-5969497C0019}" dt="2022-11-22T22:37:23.208" v="62874"/>
          <ac:spMkLst>
            <pc:docMk/>
            <pc:sldMk cId="306393785" sldId="388"/>
            <ac:spMk id="195" creationId="{096C5642-2DD6-4A9E-EC53-9EE8666C5CDE}"/>
          </ac:spMkLst>
        </pc:spChg>
        <pc:spChg chg="add del mod modVis">
          <ac:chgData name="Merlin Gutter" userId="2abc6f04-74af-430b-bdc8-569c3bfa1dda" providerId="ADAL" clId="{CB1EFBC3-10F5-3048-8961-5969497C0019}" dt="2022-11-22T22:37:24.555" v="63113"/>
          <ac:spMkLst>
            <pc:docMk/>
            <pc:sldMk cId="306393785" sldId="388"/>
            <ac:spMk id="197" creationId="{000C30FD-E9A6-B5F3-7C65-199E90ADFE6C}"/>
          </ac:spMkLst>
        </pc:spChg>
        <pc:spChg chg="add del mod modVis">
          <ac:chgData name="Merlin Gutter" userId="2abc6f04-74af-430b-bdc8-569c3bfa1dda" providerId="ADAL" clId="{CB1EFBC3-10F5-3048-8961-5969497C0019}" dt="2022-11-22T22:37:46.994" v="63444"/>
          <ac:spMkLst>
            <pc:docMk/>
            <pc:sldMk cId="306393785" sldId="388"/>
            <ac:spMk id="199" creationId="{7692E640-2EC5-B43C-B38D-E25DEADF4787}"/>
          </ac:spMkLst>
        </pc:spChg>
        <pc:spChg chg="add mod replST">
          <ac:chgData name="Merlin Gutter" userId="2abc6f04-74af-430b-bdc8-569c3bfa1dda" providerId="ADAL" clId="{CB1EFBC3-10F5-3048-8961-5969497C0019}" dt="2022-11-23T17:27:38.962" v="92792"/>
          <ac:spMkLst>
            <pc:docMk/>
            <pc:sldMk cId="306393785" sldId="388"/>
            <ac:spMk id="200" creationId="{1EA32728-4098-F571-AB68-67734B8EE541}"/>
          </ac:spMkLst>
        </pc:spChg>
        <pc:spChg chg="add del mod modVis">
          <ac:chgData name="Merlin Gutter" userId="2abc6f04-74af-430b-bdc8-569c3bfa1dda" providerId="ADAL" clId="{CB1EFBC3-10F5-3048-8961-5969497C0019}" dt="2022-11-22T22:37:56.768" v="63724"/>
          <ac:spMkLst>
            <pc:docMk/>
            <pc:sldMk cId="306393785" sldId="388"/>
            <ac:spMk id="203" creationId="{A397B3E0-DFF4-7D14-258D-64344E2ACED8}"/>
          </ac:spMkLst>
        </pc:spChg>
        <pc:spChg chg="add del mod modVis">
          <ac:chgData name="Merlin Gutter" userId="2abc6f04-74af-430b-bdc8-569c3bfa1dda" providerId="ADAL" clId="{CB1EFBC3-10F5-3048-8961-5969497C0019}" dt="2022-11-22T22:38:02.586" v="64004"/>
          <ac:spMkLst>
            <pc:docMk/>
            <pc:sldMk cId="306393785" sldId="388"/>
            <ac:spMk id="205" creationId="{4EB6B6E4-26AC-3E7B-44A1-C059E3B61773}"/>
          </ac:spMkLst>
        </pc:spChg>
        <pc:spChg chg="add del mod replST">
          <ac:chgData name="Merlin Gutter" userId="2abc6f04-74af-430b-bdc8-569c3bfa1dda" providerId="ADAL" clId="{CB1EFBC3-10F5-3048-8961-5969497C0019}" dt="2022-11-23T17:26:40.128" v="91656"/>
          <ac:spMkLst>
            <pc:docMk/>
            <pc:sldMk cId="306393785" sldId="388"/>
            <ac:spMk id="207" creationId="{B582FFB1-0DC4-6192-D499-7EDD7F603216}"/>
          </ac:spMkLst>
        </pc:spChg>
        <pc:spChg chg="add del mod replST">
          <ac:chgData name="Merlin Gutter" userId="2abc6f04-74af-430b-bdc8-569c3bfa1dda" providerId="ADAL" clId="{CB1EFBC3-10F5-3048-8961-5969497C0019}" dt="2022-11-23T17:26:40.130" v="91671"/>
          <ac:spMkLst>
            <pc:docMk/>
            <pc:sldMk cId="306393785" sldId="388"/>
            <ac:spMk id="208" creationId="{361B61C1-D314-E4A7-321E-EB1C9F8DB37D}"/>
          </ac:spMkLst>
        </pc:spChg>
        <pc:spChg chg="add del mod replST">
          <ac:chgData name="Merlin Gutter" userId="2abc6f04-74af-430b-bdc8-569c3bfa1dda" providerId="ADAL" clId="{CB1EFBC3-10F5-3048-8961-5969497C0019}" dt="2022-11-23T17:26:40.128" v="91659"/>
          <ac:spMkLst>
            <pc:docMk/>
            <pc:sldMk cId="306393785" sldId="388"/>
            <ac:spMk id="209" creationId="{117D6F51-5D50-9000-7816-087795B6F104}"/>
          </ac:spMkLst>
        </pc:spChg>
        <pc:spChg chg="add del mod replST">
          <ac:chgData name="Merlin Gutter" userId="2abc6f04-74af-430b-bdc8-569c3bfa1dda" providerId="ADAL" clId="{CB1EFBC3-10F5-3048-8961-5969497C0019}" dt="2022-11-23T17:26:40.129" v="91665"/>
          <ac:spMkLst>
            <pc:docMk/>
            <pc:sldMk cId="306393785" sldId="388"/>
            <ac:spMk id="210" creationId="{769761B2-B989-AE6A-A44B-4AC1B7750B98}"/>
          </ac:spMkLst>
        </pc:spChg>
        <pc:spChg chg="add del mod replST">
          <ac:chgData name="Merlin Gutter" userId="2abc6f04-74af-430b-bdc8-569c3bfa1dda" providerId="ADAL" clId="{CB1EFBC3-10F5-3048-8961-5969497C0019}" dt="2022-11-23T17:26:40.129" v="91662"/>
          <ac:spMkLst>
            <pc:docMk/>
            <pc:sldMk cId="306393785" sldId="388"/>
            <ac:spMk id="211" creationId="{03CC1D0B-99FB-194E-DDF6-DDF75D272CBC}"/>
          </ac:spMkLst>
        </pc:spChg>
        <pc:spChg chg="add del mod replST">
          <ac:chgData name="Merlin Gutter" userId="2abc6f04-74af-430b-bdc8-569c3bfa1dda" providerId="ADAL" clId="{CB1EFBC3-10F5-3048-8961-5969497C0019}" dt="2022-11-23T17:26:40.129" v="91668"/>
          <ac:spMkLst>
            <pc:docMk/>
            <pc:sldMk cId="306393785" sldId="388"/>
            <ac:spMk id="212" creationId="{DA06A04F-499D-B7FD-8D16-EFD2105A685F}"/>
          </ac:spMkLst>
        </pc:spChg>
        <pc:spChg chg="add del mod replST">
          <ac:chgData name="Merlin Gutter" userId="2abc6f04-74af-430b-bdc8-569c3bfa1dda" providerId="ADAL" clId="{CB1EFBC3-10F5-3048-8961-5969497C0019}" dt="2022-11-23T17:26:40.129" v="91663"/>
          <ac:spMkLst>
            <pc:docMk/>
            <pc:sldMk cId="306393785" sldId="388"/>
            <ac:spMk id="213" creationId="{B3F0E547-505D-1DC3-7819-DFB6B2D99266}"/>
          </ac:spMkLst>
        </pc:spChg>
        <pc:spChg chg="add del mod replST">
          <ac:chgData name="Merlin Gutter" userId="2abc6f04-74af-430b-bdc8-569c3bfa1dda" providerId="ADAL" clId="{CB1EFBC3-10F5-3048-8961-5969497C0019}" dt="2022-11-23T17:26:40.129" v="91666"/>
          <ac:spMkLst>
            <pc:docMk/>
            <pc:sldMk cId="306393785" sldId="388"/>
            <ac:spMk id="214" creationId="{C4A51AFE-9A9C-A61B-241C-3260F224F027}"/>
          </ac:spMkLst>
        </pc:spChg>
        <pc:spChg chg="add del mod replST">
          <ac:chgData name="Merlin Gutter" userId="2abc6f04-74af-430b-bdc8-569c3bfa1dda" providerId="ADAL" clId="{CB1EFBC3-10F5-3048-8961-5969497C0019}" dt="2022-11-23T17:26:40.128" v="91657"/>
          <ac:spMkLst>
            <pc:docMk/>
            <pc:sldMk cId="306393785" sldId="388"/>
            <ac:spMk id="215" creationId="{1CE3CBC6-05E1-1614-AA3E-38BCCE3C67CB}"/>
          </ac:spMkLst>
        </pc:spChg>
        <pc:spChg chg="add del mod replST">
          <ac:chgData name="Merlin Gutter" userId="2abc6f04-74af-430b-bdc8-569c3bfa1dda" providerId="ADAL" clId="{CB1EFBC3-10F5-3048-8961-5969497C0019}" dt="2022-11-23T17:26:40.128" v="91660"/>
          <ac:spMkLst>
            <pc:docMk/>
            <pc:sldMk cId="306393785" sldId="388"/>
            <ac:spMk id="216" creationId="{4648D55C-DEA8-81E5-3497-8B2D9F4C38BF}"/>
          </ac:spMkLst>
        </pc:spChg>
        <pc:spChg chg="add del mod replST">
          <ac:chgData name="Merlin Gutter" userId="2abc6f04-74af-430b-bdc8-569c3bfa1dda" providerId="ADAL" clId="{CB1EFBC3-10F5-3048-8961-5969497C0019}" dt="2022-11-23T17:26:40.130" v="91669"/>
          <ac:spMkLst>
            <pc:docMk/>
            <pc:sldMk cId="306393785" sldId="388"/>
            <ac:spMk id="217" creationId="{F35C135A-825E-5325-E0E2-459B0AD3B334}"/>
          </ac:spMkLst>
        </pc:spChg>
        <pc:spChg chg="add del mod replST">
          <ac:chgData name="Merlin Gutter" userId="2abc6f04-74af-430b-bdc8-569c3bfa1dda" providerId="ADAL" clId="{CB1EFBC3-10F5-3048-8961-5969497C0019}" dt="2022-11-23T17:26:40.130" v="91672"/>
          <ac:spMkLst>
            <pc:docMk/>
            <pc:sldMk cId="306393785" sldId="388"/>
            <ac:spMk id="218" creationId="{7958BB42-4959-9A11-B039-979A25170D0B}"/>
          </ac:spMkLst>
        </pc:spChg>
        <pc:spChg chg="add del mod replST">
          <ac:chgData name="Merlin Gutter" userId="2abc6f04-74af-430b-bdc8-569c3bfa1dda" providerId="ADAL" clId="{CB1EFBC3-10F5-3048-8961-5969497C0019}" dt="2022-11-23T17:26:46.575" v="91691"/>
          <ac:spMkLst>
            <pc:docMk/>
            <pc:sldMk cId="306393785" sldId="388"/>
            <ac:spMk id="219" creationId="{23A48C05-F611-C0A1-927E-54D8303C780C}"/>
          </ac:spMkLst>
        </pc:spChg>
        <pc:spChg chg="del mod">
          <ac:chgData name="Merlin Gutter" userId="2abc6f04-74af-430b-bdc8-569c3bfa1dda" providerId="ADAL" clId="{CB1EFBC3-10F5-3048-8961-5969497C0019}" dt="2022-11-22T22:37:00.891" v="59701"/>
          <ac:spMkLst>
            <pc:docMk/>
            <pc:sldMk cId="306393785" sldId="388"/>
            <ac:spMk id="220" creationId="{E4B69861-E3F5-0F16-CC91-A82610558EC4}"/>
          </ac:spMkLst>
        </pc:spChg>
        <pc:spChg chg="add del mod replST">
          <ac:chgData name="Merlin Gutter" userId="2abc6f04-74af-430b-bdc8-569c3bfa1dda" providerId="ADAL" clId="{CB1EFBC3-10F5-3048-8961-5969497C0019}" dt="2022-11-23T17:26:46.577" v="91706"/>
          <ac:spMkLst>
            <pc:docMk/>
            <pc:sldMk cId="306393785" sldId="388"/>
            <ac:spMk id="221" creationId="{AE81178F-1A93-085B-CF31-A7352DE19C84}"/>
          </ac:spMkLst>
        </pc:spChg>
        <pc:spChg chg="add del mod replST">
          <ac:chgData name="Merlin Gutter" userId="2abc6f04-74af-430b-bdc8-569c3bfa1dda" providerId="ADAL" clId="{CB1EFBC3-10F5-3048-8961-5969497C0019}" dt="2022-11-23T17:26:46.575" v="91694"/>
          <ac:spMkLst>
            <pc:docMk/>
            <pc:sldMk cId="306393785" sldId="388"/>
            <ac:spMk id="222" creationId="{4548C684-A82B-C02E-DDB4-6203330D014C}"/>
          </ac:spMkLst>
        </pc:spChg>
        <pc:spChg chg="del mod">
          <ac:chgData name="Merlin Gutter" userId="2abc6f04-74af-430b-bdc8-569c3bfa1dda" providerId="ADAL" clId="{CB1EFBC3-10F5-3048-8961-5969497C0019}" dt="2022-11-22T22:37:00.888" v="59686"/>
          <ac:spMkLst>
            <pc:docMk/>
            <pc:sldMk cId="306393785" sldId="388"/>
            <ac:spMk id="223" creationId="{8AB1E456-CB01-D0C6-2400-431698263CBE}"/>
          </ac:spMkLst>
        </pc:spChg>
        <pc:spChg chg="add del mod replST">
          <ac:chgData name="Merlin Gutter" userId="2abc6f04-74af-430b-bdc8-569c3bfa1dda" providerId="ADAL" clId="{CB1EFBC3-10F5-3048-8961-5969497C0019}" dt="2022-11-23T17:26:46.576" v="91700"/>
          <ac:spMkLst>
            <pc:docMk/>
            <pc:sldMk cId="306393785" sldId="388"/>
            <ac:spMk id="224" creationId="{548F28ED-AD23-B1FA-1A2A-F9972A320DC7}"/>
          </ac:spMkLst>
        </pc:spChg>
        <pc:spChg chg="del mod">
          <ac:chgData name="Merlin Gutter" userId="2abc6f04-74af-430b-bdc8-569c3bfa1dda" providerId="ADAL" clId="{CB1EFBC3-10F5-3048-8961-5969497C0019}" dt="2022-11-22T22:37:00.885" v="59676"/>
          <ac:spMkLst>
            <pc:docMk/>
            <pc:sldMk cId="306393785" sldId="388"/>
            <ac:spMk id="225" creationId="{7E3BCF8A-261D-191B-B446-31C4905B05AF}"/>
          </ac:spMkLst>
        </pc:spChg>
        <pc:spChg chg="add del mod replST">
          <ac:chgData name="Merlin Gutter" userId="2abc6f04-74af-430b-bdc8-569c3bfa1dda" providerId="ADAL" clId="{CB1EFBC3-10F5-3048-8961-5969497C0019}" dt="2022-11-23T17:26:46.576" v="91697"/>
          <ac:spMkLst>
            <pc:docMk/>
            <pc:sldMk cId="306393785" sldId="388"/>
            <ac:spMk id="226" creationId="{99AF3F66-0FD8-54E3-C1AA-311F98BE5641}"/>
          </ac:spMkLst>
        </pc:spChg>
        <pc:spChg chg="del mod">
          <ac:chgData name="Merlin Gutter" userId="2abc6f04-74af-430b-bdc8-569c3bfa1dda" providerId="ADAL" clId="{CB1EFBC3-10F5-3048-8961-5969497C0019}" dt="2022-11-22T22:37:00.882" v="59666"/>
          <ac:spMkLst>
            <pc:docMk/>
            <pc:sldMk cId="306393785" sldId="388"/>
            <ac:spMk id="227" creationId="{5706404A-C5A3-7F57-5FF3-E2871360F7FB}"/>
          </ac:spMkLst>
        </pc:spChg>
        <pc:spChg chg="add del mod replST">
          <ac:chgData name="Merlin Gutter" userId="2abc6f04-74af-430b-bdc8-569c3bfa1dda" providerId="ADAL" clId="{CB1EFBC3-10F5-3048-8961-5969497C0019}" dt="2022-11-23T17:26:46.577" v="91703"/>
          <ac:spMkLst>
            <pc:docMk/>
            <pc:sldMk cId="306393785" sldId="388"/>
            <ac:spMk id="229" creationId="{A0E0B7BE-537D-31E0-19D1-35DDCF1472B2}"/>
          </ac:spMkLst>
        </pc:spChg>
        <pc:spChg chg="add del mod replST">
          <ac:chgData name="Merlin Gutter" userId="2abc6f04-74af-430b-bdc8-569c3bfa1dda" providerId="ADAL" clId="{CB1EFBC3-10F5-3048-8961-5969497C0019}" dt="2022-11-23T17:26:46.576" v="91698"/>
          <ac:spMkLst>
            <pc:docMk/>
            <pc:sldMk cId="306393785" sldId="388"/>
            <ac:spMk id="230" creationId="{4764D0AE-9E98-957B-AFCD-63B5E276BFB6}"/>
          </ac:spMkLst>
        </pc:spChg>
        <pc:spChg chg="add del mod replST">
          <ac:chgData name="Merlin Gutter" userId="2abc6f04-74af-430b-bdc8-569c3bfa1dda" providerId="ADAL" clId="{CB1EFBC3-10F5-3048-8961-5969497C0019}" dt="2022-11-23T17:26:46.576" v="91701"/>
          <ac:spMkLst>
            <pc:docMk/>
            <pc:sldMk cId="306393785" sldId="388"/>
            <ac:spMk id="232" creationId="{B6BCDDBA-AE66-999A-2C82-FF408F070B81}"/>
          </ac:spMkLst>
        </pc:spChg>
        <pc:spChg chg="add del mod replST">
          <ac:chgData name="Merlin Gutter" userId="2abc6f04-74af-430b-bdc8-569c3bfa1dda" providerId="ADAL" clId="{CB1EFBC3-10F5-3048-8961-5969497C0019}" dt="2022-11-23T17:26:46.575" v="91692"/>
          <ac:spMkLst>
            <pc:docMk/>
            <pc:sldMk cId="306393785" sldId="388"/>
            <ac:spMk id="234" creationId="{575815B0-493E-A5BF-2A57-A2C160C5BB0C}"/>
          </ac:spMkLst>
        </pc:spChg>
        <pc:spChg chg="add del mod replST">
          <ac:chgData name="Merlin Gutter" userId="2abc6f04-74af-430b-bdc8-569c3bfa1dda" providerId="ADAL" clId="{CB1EFBC3-10F5-3048-8961-5969497C0019}" dt="2022-11-23T17:26:46.575" v="91695"/>
          <ac:spMkLst>
            <pc:docMk/>
            <pc:sldMk cId="306393785" sldId="388"/>
            <ac:spMk id="236" creationId="{89FD88AD-07DE-9093-9752-CCBD7059CC43}"/>
          </ac:spMkLst>
        </pc:spChg>
        <pc:spChg chg="add del mod replST">
          <ac:chgData name="Merlin Gutter" userId="2abc6f04-74af-430b-bdc8-569c3bfa1dda" providerId="ADAL" clId="{CB1EFBC3-10F5-3048-8961-5969497C0019}" dt="2022-11-23T17:26:46.577" v="91704"/>
          <ac:spMkLst>
            <pc:docMk/>
            <pc:sldMk cId="306393785" sldId="388"/>
            <ac:spMk id="237" creationId="{02CC8ABF-8AA9-9FE7-880B-74C96F0EFB04}"/>
          </ac:spMkLst>
        </pc:spChg>
        <pc:spChg chg="add del mod replST">
          <ac:chgData name="Merlin Gutter" userId="2abc6f04-74af-430b-bdc8-569c3bfa1dda" providerId="ADAL" clId="{CB1EFBC3-10F5-3048-8961-5969497C0019}" dt="2022-11-23T17:26:46.577" v="91707"/>
          <ac:spMkLst>
            <pc:docMk/>
            <pc:sldMk cId="306393785" sldId="388"/>
            <ac:spMk id="238" creationId="{C3690513-F274-60C8-5F40-797150477440}"/>
          </ac:spMkLst>
        </pc:spChg>
        <pc:spChg chg="add mod replST">
          <ac:chgData name="Merlin Gutter" userId="2abc6f04-74af-430b-bdc8-569c3bfa1dda" providerId="ADAL" clId="{CB1EFBC3-10F5-3048-8961-5969497C0019}" dt="2022-11-23T17:27:38.964" v="92804"/>
          <ac:spMkLst>
            <pc:docMk/>
            <pc:sldMk cId="306393785" sldId="388"/>
            <ac:spMk id="239" creationId="{6A9FB231-DB96-BD83-3D98-AC56B8BD9736}"/>
          </ac:spMkLst>
        </pc:spChg>
        <pc:spChg chg="add del mod modVis">
          <ac:chgData name="Merlin Gutter" userId="2abc6f04-74af-430b-bdc8-569c3bfa1dda" providerId="ADAL" clId="{CB1EFBC3-10F5-3048-8961-5969497C0019}" dt="2022-11-23T17:27:07.539" v="92396"/>
          <ac:spMkLst>
            <pc:docMk/>
            <pc:sldMk cId="306393785" sldId="388"/>
            <ac:spMk id="240" creationId="{7E72D8BF-F19F-B5D5-9A12-D8928A4428C7}"/>
          </ac:spMkLst>
        </pc:spChg>
        <pc:spChg chg="add mod replST">
          <ac:chgData name="Merlin Gutter" userId="2abc6f04-74af-430b-bdc8-569c3bfa1dda" providerId="ADAL" clId="{CB1EFBC3-10F5-3048-8961-5969497C0019}" dt="2022-11-23T17:27:38.964" v="92803"/>
          <ac:spMkLst>
            <pc:docMk/>
            <pc:sldMk cId="306393785" sldId="388"/>
            <ac:spMk id="241" creationId="{12EA2489-5EA8-ECD2-8A4E-42B104E22132}"/>
          </ac:spMkLst>
        </pc:spChg>
        <pc:spChg chg="add mod replST">
          <ac:chgData name="Merlin Gutter" userId="2abc6f04-74af-430b-bdc8-569c3bfa1dda" providerId="ADAL" clId="{CB1EFBC3-10F5-3048-8961-5969497C0019}" dt="2022-11-23T17:27:38.964" v="92802"/>
          <ac:spMkLst>
            <pc:docMk/>
            <pc:sldMk cId="306393785" sldId="388"/>
            <ac:spMk id="242" creationId="{BFD98DE9-2F27-DE14-68FD-09391FF1CC3F}"/>
          </ac:spMkLst>
        </pc:spChg>
        <pc:spChg chg="add mod replST">
          <ac:chgData name="Merlin Gutter" userId="2abc6f04-74af-430b-bdc8-569c3bfa1dda" providerId="ADAL" clId="{CB1EFBC3-10F5-3048-8961-5969497C0019}" dt="2022-11-23T17:27:38.964" v="92800"/>
          <ac:spMkLst>
            <pc:docMk/>
            <pc:sldMk cId="306393785" sldId="388"/>
            <ac:spMk id="243" creationId="{89DC6D3F-36FB-E38C-15F0-06A69B605AC1}"/>
          </ac:spMkLst>
        </pc:spChg>
        <pc:spChg chg="add mod replST">
          <ac:chgData name="Merlin Gutter" userId="2abc6f04-74af-430b-bdc8-569c3bfa1dda" providerId="ADAL" clId="{CB1EFBC3-10F5-3048-8961-5969497C0019}" dt="2022-11-23T17:27:38.963" v="92799"/>
          <ac:spMkLst>
            <pc:docMk/>
            <pc:sldMk cId="306393785" sldId="388"/>
            <ac:spMk id="244" creationId="{482FE0DB-F383-768D-F62A-851040AEB7C2}"/>
          </ac:spMkLst>
        </pc:spChg>
        <pc:spChg chg="add mod replST">
          <ac:chgData name="Merlin Gutter" userId="2abc6f04-74af-430b-bdc8-569c3bfa1dda" providerId="ADAL" clId="{CB1EFBC3-10F5-3048-8961-5969497C0019}" dt="2022-11-23T17:27:38.964" v="92801"/>
          <ac:spMkLst>
            <pc:docMk/>
            <pc:sldMk cId="306393785" sldId="388"/>
            <ac:spMk id="245" creationId="{1FB1658E-AD5C-ACF0-D2A4-DC12DCAFBAC1}"/>
          </ac:spMkLst>
        </pc:spChg>
        <pc:spChg chg="add mod replST">
          <ac:chgData name="Merlin Gutter" userId="2abc6f04-74af-430b-bdc8-569c3bfa1dda" providerId="ADAL" clId="{CB1EFBC3-10F5-3048-8961-5969497C0019}" dt="2022-11-23T17:27:38.963" v="92795"/>
          <ac:spMkLst>
            <pc:docMk/>
            <pc:sldMk cId="306393785" sldId="388"/>
            <ac:spMk id="247" creationId="{E550918C-CA4D-A6BD-EB4F-80A234622B30}"/>
          </ac:spMkLst>
        </pc:spChg>
        <pc:spChg chg="add mod replST">
          <ac:chgData name="Merlin Gutter" userId="2abc6f04-74af-430b-bdc8-569c3bfa1dda" providerId="ADAL" clId="{CB1EFBC3-10F5-3048-8961-5969497C0019}" dt="2022-11-23T17:27:38.963" v="92798"/>
          <ac:spMkLst>
            <pc:docMk/>
            <pc:sldMk cId="306393785" sldId="388"/>
            <ac:spMk id="248" creationId="{D00E1A84-CBBF-38ED-6ED6-918049BCA646}"/>
          </ac:spMkLst>
        </pc:spChg>
        <pc:spChg chg="add mod replST">
          <ac:chgData name="Merlin Gutter" userId="2abc6f04-74af-430b-bdc8-569c3bfa1dda" providerId="ADAL" clId="{CB1EFBC3-10F5-3048-8961-5969497C0019}" dt="2022-11-23T17:27:38.962" v="92794"/>
          <ac:spMkLst>
            <pc:docMk/>
            <pc:sldMk cId="306393785" sldId="388"/>
            <ac:spMk id="249" creationId="{74BD7FC2-8DD3-2D87-6299-7C91EDFE313A}"/>
          </ac:spMkLst>
        </pc:spChg>
        <pc:spChg chg="add mod replST">
          <ac:chgData name="Merlin Gutter" userId="2abc6f04-74af-430b-bdc8-569c3bfa1dda" providerId="ADAL" clId="{CB1EFBC3-10F5-3048-8961-5969497C0019}" dt="2022-11-23T17:27:38.962" v="92793"/>
          <ac:spMkLst>
            <pc:docMk/>
            <pc:sldMk cId="306393785" sldId="388"/>
            <ac:spMk id="250" creationId="{73021481-6A7A-C24C-51A4-C3A46D4154E8}"/>
          </ac:spMkLst>
        </pc:spChg>
        <pc:spChg chg="add mod replST">
          <ac:chgData name="Merlin Gutter" userId="2abc6f04-74af-430b-bdc8-569c3bfa1dda" providerId="ADAL" clId="{CB1EFBC3-10F5-3048-8961-5969497C0019}" dt="2022-11-23T17:27:38.963" v="92796"/>
          <ac:spMkLst>
            <pc:docMk/>
            <pc:sldMk cId="306393785" sldId="388"/>
            <ac:spMk id="251" creationId="{7B8D2C77-450E-4C67-752F-CC7D79F226FD}"/>
          </ac:spMkLst>
        </pc:spChg>
        <pc:spChg chg="add mod replST">
          <ac:chgData name="Merlin Gutter" userId="2abc6f04-74af-430b-bdc8-569c3bfa1dda" providerId="ADAL" clId="{CB1EFBC3-10F5-3048-8961-5969497C0019}" dt="2022-11-23T17:27:38.963" v="92797"/>
          <ac:spMkLst>
            <pc:docMk/>
            <pc:sldMk cId="306393785" sldId="388"/>
            <ac:spMk id="252" creationId="{88DBF840-1D77-1F2B-05C0-0D8F8926105E}"/>
          </ac:spMkLst>
        </pc:spChg>
        <pc:spChg chg="add del mod modVis">
          <ac:chgData name="Merlin Gutter" userId="2abc6f04-74af-430b-bdc8-569c3bfa1dda" providerId="ADAL" clId="{CB1EFBC3-10F5-3048-8961-5969497C0019}" dt="2022-11-23T17:27:38.965" v="92808"/>
          <ac:spMkLst>
            <pc:docMk/>
            <pc:sldMk cId="306393785" sldId="388"/>
            <ac:spMk id="253" creationId="{1E2CC45C-9883-AEE6-73CF-CB309335EAAC}"/>
          </ac:spMkLst>
        </pc:spChg>
        <pc:spChg chg="del mod">
          <ac:chgData name="Merlin Gutter" userId="2abc6f04-74af-430b-bdc8-569c3bfa1dda" providerId="ADAL" clId="{CB1EFBC3-10F5-3048-8961-5969497C0019}" dt="2022-11-22T22:37:00.877" v="59650"/>
          <ac:spMkLst>
            <pc:docMk/>
            <pc:sldMk cId="306393785" sldId="388"/>
            <ac:spMk id="288" creationId="{AC96D36E-6CAF-B30E-7B16-EA36E1225B72}"/>
          </ac:spMkLst>
        </pc:spChg>
        <pc:spChg chg="del mod">
          <ac:chgData name="Merlin Gutter" userId="2abc6f04-74af-430b-bdc8-569c3bfa1dda" providerId="ADAL" clId="{CB1EFBC3-10F5-3048-8961-5969497C0019}" dt="2022-11-22T22:37:00.879" v="59656"/>
          <ac:spMkLst>
            <pc:docMk/>
            <pc:sldMk cId="306393785" sldId="388"/>
            <ac:spMk id="290" creationId="{7F1C03CA-A329-115F-0B5A-AAF40395BD1B}"/>
          </ac:spMkLst>
        </pc:spChg>
        <pc:spChg chg="del mod">
          <ac:chgData name="Merlin Gutter" userId="2abc6f04-74af-430b-bdc8-569c3bfa1dda" providerId="ADAL" clId="{CB1EFBC3-10F5-3048-8961-5969497C0019}" dt="2022-11-22T22:37:00.880" v="59659"/>
          <ac:spMkLst>
            <pc:docMk/>
            <pc:sldMk cId="306393785" sldId="388"/>
            <ac:spMk id="291" creationId="{31A21AE4-5FC6-C98D-0E70-3EB86EAD7A83}"/>
          </ac:spMkLst>
        </pc:spChg>
        <pc:spChg chg="del mod">
          <ac:chgData name="Merlin Gutter" userId="2abc6f04-74af-430b-bdc8-569c3bfa1dda" providerId="ADAL" clId="{CB1EFBC3-10F5-3048-8961-5969497C0019}" dt="2022-11-22T22:37:00.878" v="59653"/>
          <ac:spMkLst>
            <pc:docMk/>
            <pc:sldMk cId="306393785" sldId="388"/>
            <ac:spMk id="292" creationId="{C84A9513-74E9-7485-E1F3-BE54A812450A}"/>
          </ac:spMkLst>
        </pc:spChg>
        <pc:spChg chg="del mod">
          <ac:chgData name="Merlin Gutter" userId="2abc6f04-74af-430b-bdc8-569c3bfa1dda" providerId="ADAL" clId="{CB1EFBC3-10F5-3048-8961-5969497C0019}" dt="2022-11-22T22:37:00.881" v="59662"/>
          <ac:spMkLst>
            <pc:docMk/>
            <pc:sldMk cId="306393785" sldId="388"/>
            <ac:spMk id="293" creationId="{C543F24D-090F-5844-4F15-3BC52DAB79C0}"/>
          </ac:spMkLst>
        </pc:spChg>
        <pc:spChg chg="del mod">
          <ac:chgData name="Merlin Gutter" userId="2abc6f04-74af-430b-bdc8-569c3bfa1dda" providerId="ADAL" clId="{CB1EFBC3-10F5-3048-8961-5969497C0019}" dt="2022-11-22T22:37:00.882" v="59665"/>
          <ac:spMkLst>
            <pc:docMk/>
            <pc:sldMk cId="306393785" sldId="388"/>
            <ac:spMk id="294" creationId="{903BC470-FC00-5BEA-8070-C6EC566B5F2C}"/>
          </ac:spMkLst>
        </pc:spChg>
        <pc:spChg chg="del mod">
          <ac:chgData name="Merlin Gutter" userId="2abc6f04-74af-430b-bdc8-569c3bfa1dda" providerId="ADAL" clId="{CB1EFBC3-10F5-3048-8961-5969497C0019}" dt="2022-11-22T22:37:00.881" v="59664"/>
          <ac:spMkLst>
            <pc:docMk/>
            <pc:sldMk cId="306393785" sldId="388"/>
            <ac:spMk id="299" creationId="{2AA32A3B-B5B6-080D-7EC9-76F5DE375242}"/>
          </ac:spMkLst>
        </pc:spChg>
        <pc:spChg chg="del mod">
          <ac:chgData name="Merlin Gutter" userId="2abc6f04-74af-430b-bdc8-569c3bfa1dda" providerId="ADAL" clId="{CB1EFBC3-10F5-3048-8961-5969497C0019}" dt="2022-11-22T22:37:00.881" v="59661"/>
          <ac:spMkLst>
            <pc:docMk/>
            <pc:sldMk cId="306393785" sldId="388"/>
            <ac:spMk id="300" creationId="{4147C07B-121F-31CE-49D8-FFCC1F35C415}"/>
          </ac:spMkLst>
        </pc:spChg>
        <pc:spChg chg="del mod">
          <ac:chgData name="Merlin Gutter" userId="2abc6f04-74af-430b-bdc8-569c3bfa1dda" providerId="ADAL" clId="{CB1EFBC3-10F5-3048-8961-5969497C0019}" dt="2022-11-22T22:37:00.880" v="59658"/>
          <ac:spMkLst>
            <pc:docMk/>
            <pc:sldMk cId="306393785" sldId="388"/>
            <ac:spMk id="301" creationId="{0C4B5EAB-AB30-AF4E-6532-CE160C971A58}"/>
          </ac:spMkLst>
        </pc:spChg>
        <pc:spChg chg="del mod">
          <ac:chgData name="Merlin Gutter" userId="2abc6f04-74af-430b-bdc8-569c3bfa1dda" providerId="ADAL" clId="{CB1EFBC3-10F5-3048-8961-5969497C0019}" dt="2022-11-22T22:37:00.879" v="59655"/>
          <ac:spMkLst>
            <pc:docMk/>
            <pc:sldMk cId="306393785" sldId="388"/>
            <ac:spMk id="302" creationId="{6841E149-E141-1C32-BE40-6F06DCC69F57}"/>
          </ac:spMkLst>
        </pc:spChg>
        <pc:spChg chg="del mod">
          <ac:chgData name="Merlin Gutter" userId="2abc6f04-74af-430b-bdc8-569c3bfa1dda" providerId="ADAL" clId="{CB1EFBC3-10F5-3048-8961-5969497C0019}" dt="2022-11-22T22:37:00.878" v="59652"/>
          <ac:spMkLst>
            <pc:docMk/>
            <pc:sldMk cId="306393785" sldId="388"/>
            <ac:spMk id="303" creationId="{9135C931-423E-C0D9-1C2E-21C3F802E253}"/>
          </ac:spMkLst>
        </pc:spChg>
        <pc:spChg chg="del mod">
          <ac:chgData name="Merlin Gutter" userId="2abc6f04-74af-430b-bdc8-569c3bfa1dda" providerId="ADAL" clId="{CB1EFBC3-10F5-3048-8961-5969497C0019}" dt="2022-11-22T22:37:00.877" v="59649"/>
          <ac:spMkLst>
            <pc:docMk/>
            <pc:sldMk cId="306393785" sldId="388"/>
            <ac:spMk id="304" creationId="{E67D4B80-2963-D00D-E4F8-90B622076ECF}"/>
          </ac:spMkLst>
        </pc:spChg>
        <pc:spChg chg="del mod">
          <ac:chgData name="Merlin Gutter" userId="2abc6f04-74af-430b-bdc8-569c3bfa1dda" providerId="ADAL" clId="{CB1EFBC3-10F5-3048-8961-5969497C0019}" dt="2022-11-22T22:37:00.855" v="59597"/>
          <ac:spMkLst>
            <pc:docMk/>
            <pc:sldMk cId="306393785" sldId="388"/>
            <ac:spMk id="325" creationId="{D587C69E-A71E-6130-EFF9-F6584C0F6F7D}"/>
          </ac:spMkLst>
        </pc:spChg>
        <pc:spChg chg="del mod">
          <ac:chgData name="Merlin Gutter" userId="2abc6f04-74af-430b-bdc8-569c3bfa1dda" providerId="ADAL" clId="{CB1EFBC3-10F5-3048-8961-5969497C0019}" dt="2022-11-22T22:36:54.544" v="58839"/>
          <ac:spMkLst>
            <pc:docMk/>
            <pc:sldMk cId="306393785" sldId="388"/>
            <ac:spMk id="380" creationId="{A4277D2A-A17B-94FB-372B-44CBF51AF92D}"/>
          </ac:spMkLst>
        </pc:spChg>
        <pc:spChg chg="del">
          <ac:chgData name="Merlin Gutter" userId="2abc6f04-74af-430b-bdc8-569c3bfa1dda" providerId="ADAL" clId="{CB1EFBC3-10F5-3048-8961-5969497C0019}" dt="2022-11-22T22:36:51.158" v="58272"/>
          <ac:spMkLst>
            <pc:docMk/>
            <pc:sldMk cId="306393785" sldId="388"/>
            <ac:spMk id="386" creationId="{99C6B807-141E-3D78-57FC-17751DD454CB}"/>
          </ac:spMkLst>
        </pc:spChg>
        <pc:spChg chg="del mod">
          <ac:chgData name="Merlin Gutter" userId="2abc6f04-74af-430b-bdc8-569c3bfa1dda" providerId="ADAL" clId="{CB1EFBC3-10F5-3048-8961-5969497C0019}" dt="2022-11-22T22:37:00.890" v="59696"/>
          <ac:spMkLst>
            <pc:docMk/>
            <pc:sldMk cId="306393785" sldId="388"/>
            <ac:spMk id="427" creationId="{C3038790-BF3B-EDDB-0C60-3504D554CDB1}"/>
          </ac:spMkLst>
        </pc:spChg>
        <pc:spChg chg="del mod">
          <ac:chgData name="Merlin Gutter" userId="2abc6f04-74af-430b-bdc8-569c3bfa1dda" providerId="ADAL" clId="{CB1EFBC3-10F5-3048-8961-5969497C0019}" dt="2022-11-22T22:37:00.889" v="59691"/>
          <ac:spMkLst>
            <pc:docMk/>
            <pc:sldMk cId="306393785" sldId="388"/>
            <ac:spMk id="428" creationId="{6E265CAE-BFEB-4B0A-A749-56CBE14B0CB9}"/>
          </ac:spMkLst>
        </pc:spChg>
        <pc:spChg chg="del mod">
          <ac:chgData name="Merlin Gutter" userId="2abc6f04-74af-430b-bdc8-569c3bfa1dda" providerId="ADAL" clId="{CB1EFBC3-10F5-3048-8961-5969497C0019}" dt="2022-11-22T22:37:00.886" v="59681"/>
          <ac:spMkLst>
            <pc:docMk/>
            <pc:sldMk cId="306393785" sldId="388"/>
            <ac:spMk id="429" creationId="{C4CAB5DA-4966-FE15-AD40-1B97D4C48366}"/>
          </ac:spMkLst>
        </pc:spChg>
        <pc:spChg chg="del mod">
          <ac:chgData name="Merlin Gutter" userId="2abc6f04-74af-430b-bdc8-569c3bfa1dda" providerId="ADAL" clId="{CB1EFBC3-10F5-3048-8961-5969497C0019}" dt="2022-11-22T22:37:00.884" v="59671"/>
          <ac:spMkLst>
            <pc:docMk/>
            <pc:sldMk cId="306393785" sldId="388"/>
            <ac:spMk id="430" creationId="{DB444AD2-669B-993E-D2E8-BBD5ED92F094}"/>
          </ac:spMkLst>
        </pc:spChg>
        <pc:graphicFrameChg chg="mod">
          <ac:chgData name="Merlin Gutter" userId="2abc6f04-74af-430b-bdc8-569c3bfa1dda" providerId="ADAL" clId="{CB1EFBC3-10F5-3048-8961-5969497C0019}" dt="2022-11-23T17:27:38.972" v="92810"/>
          <ac:graphicFrameMkLst>
            <pc:docMk/>
            <pc:sldMk cId="306393785" sldId="388"/>
            <ac:graphicFrameMk id="20" creationId="{6813096F-D721-0653-587E-E254F033A5A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6:54.627" v="58970"/>
          <ac:graphicFrameMkLst>
            <pc:docMk/>
            <pc:sldMk cId="306393785" sldId="388"/>
            <ac:graphicFrameMk id="24" creationId="{AD280E64-98F3-EFCC-C440-B9815E1B795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6:56.628" v="59220"/>
          <ac:graphicFrameMkLst>
            <pc:docMk/>
            <pc:sldMk cId="306393785" sldId="388"/>
            <ac:graphicFrameMk id="26" creationId="{7893A6DE-06FE-509B-F984-09E0A8DEAC4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6:58.835" v="59461"/>
          <ac:graphicFrameMkLst>
            <pc:docMk/>
            <pc:sldMk cId="306393785" sldId="388"/>
            <ac:graphicFrameMk id="28" creationId="{73EF84D7-3411-0229-2615-46A64AFCFAA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00.894" v="59709"/>
          <ac:graphicFrameMkLst>
            <pc:docMk/>
            <pc:sldMk cId="306393785" sldId="388"/>
            <ac:graphicFrameMk id="30" creationId="{7F7804DD-037B-2465-E15A-F89DEF31FC6D}"/>
          </ac:graphicFrameMkLst>
        </pc:graphicFrameChg>
        <pc:graphicFrameChg chg="del">
          <ac:chgData name="Merlin Gutter" userId="2abc6f04-74af-430b-bdc8-569c3bfa1dda" providerId="ADAL" clId="{CB1EFBC3-10F5-3048-8961-5969497C0019}" dt="2022-11-22T22:36:51.397" v="58711"/>
          <ac:graphicFrameMkLst>
            <pc:docMk/>
            <pc:sldMk cId="306393785" sldId="388"/>
            <ac:graphicFrameMk id="35" creationId="{EC8CCEB7-B0D1-8F33-239D-1428AA8739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08.330" v="61104"/>
          <ac:graphicFrameMkLst>
            <pc:docMk/>
            <pc:sldMk cId="306393785" sldId="388"/>
            <ac:graphicFrameMk id="47" creationId="{EA33E6BE-B83E-D814-9ECF-9330838BBCD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13.412" v="61473"/>
          <ac:graphicFrameMkLst>
            <pc:docMk/>
            <pc:sldMk cId="306393785" sldId="388"/>
            <ac:graphicFrameMk id="184" creationId="{29D0C86E-0EA0-943F-CEA9-1B6BF93F75C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15.697" v="61751"/>
          <ac:graphicFrameMkLst>
            <pc:docMk/>
            <pc:sldMk cId="306393785" sldId="388"/>
            <ac:graphicFrameMk id="186" creationId="{1866DA38-1C06-A4E9-B669-FE2CFAEB998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15.852" v="62010"/>
          <ac:graphicFrameMkLst>
            <pc:docMk/>
            <pc:sldMk cId="306393785" sldId="388"/>
            <ac:graphicFrameMk id="188" creationId="{DA935F9E-B66C-2A22-94DA-0828DBF0DC7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17.364" v="62260"/>
          <ac:graphicFrameMkLst>
            <pc:docMk/>
            <pc:sldMk cId="306393785" sldId="388"/>
            <ac:graphicFrameMk id="190" creationId="{6E408132-1E6A-71F6-19F2-35AE115DA3F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19.034" v="62507"/>
          <ac:graphicFrameMkLst>
            <pc:docMk/>
            <pc:sldMk cId="306393785" sldId="388"/>
            <ac:graphicFrameMk id="192" creationId="{495ADE6A-B088-BB69-9F4B-A8DC0E0C0D2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23.175" v="62758"/>
          <ac:graphicFrameMkLst>
            <pc:docMk/>
            <pc:sldMk cId="306393785" sldId="388"/>
            <ac:graphicFrameMk id="194" creationId="{697517C1-803D-03CA-46EE-FA234FB1984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24.522" v="63000"/>
          <ac:graphicFrameMkLst>
            <pc:docMk/>
            <pc:sldMk cId="306393785" sldId="388"/>
            <ac:graphicFrameMk id="196" creationId="{01FD486C-00A5-6DA4-CD05-A90E3CFD0ED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46.961" v="63329"/>
          <ac:graphicFrameMkLst>
            <pc:docMk/>
            <pc:sldMk cId="306393785" sldId="388"/>
            <ac:graphicFrameMk id="198" creationId="{0F0D1CA6-C404-866A-39FE-35B87D080FB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7:56.735" v="63609"/>
          <ac:graphicFrameMkLst>
            <pc:docMk/>
            <pc:sldMk cId="306393785" sldId="388"/>
            <ac:graphicFrameMk id="202" creationId="{4CE4DDB4-9009-6D7E-7E51-49FBEE8CBF6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38:02.552" v="63889"/>
          <ac:graphicFrameMkLst>
            <pc:docMk/>
            <pc:sldMk cId="306393785" sldId="388"/>
            <ac:graphicFrameMk id="204" creationId="{63E4A684-FC3D-469C-088A-32076D30317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7:07.450" v="92137"/>
          <ac:graphicFrameMkLst>
            <pc:docMk/>
            <pc:sldMk cId="306393785" sldId="388"/>
            <ac:graphicFrameMk id="206" creationId="{6D6CA60F-D6B0-00B0-A318-0AB3A18DE00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7:38.926" v="92693"/>
          <ac:graphicFrameMkLst>
            <pc:docMk/>
            <pc:sldMk cId="306393785" sldId="388"/>
            <ac:graphicFrameMk id="246" creationId="{25797052-C6C1-0BDA-C353-49A680D0BDED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3T17:27:38.949" v="92729"/>
          <ac:graphicFrameMkLst>
            <pc:docMk/>
            <pc:sldMk cId="306393785" sldId="388"/>
            <ac:graphicFrameMk id="254" creationId="{8584EC8C-96BE-7AB1-4158-8630C8E2C29B}"/>
          </ac:graphicFrameMkLst>
        </pc:graphicFrameChg>
        <pc:cxnChg chg="mod">
          <ac:chgData name="Merlin Gutter" userId="2abc6f04-74af-430b-bdc8-569c3bfa1dda" providerId="ADAL" clId="{CB1EFBC3-10F5-3048-8961-5969497C0019}" dt="2022-11-23T17:27:38.944" v="92705"/>
          <ac:cxnSpMkLst>
            <pc:docMk/>
            <pc:sldMk cId="306393785" sldId="388"/>
            <ac:cxnSpMk id="7" creationId="{BAF6F246-54A1-4312-90AB-0320FAD7CD8A}"/>
          </ac:cxnSpMkLst>
        </pc:cxnChg>
        <pc:cxnChg chg="mod">
          <ac:chgData name="Merlin Gutter" userId="2abc6f04-74af-430b-bdc8-569c3bfa1dda" providerId="ADAL" clId="{CB1EFBC3-10F5-3048-8961-5969497C0019}" dt="2022-11-23T17:27:38.944" v="92706"/>
          <ac:cxnSpMkLst>
            <pc:docMk/>
            <pc:sldMk cId="306393785" sldId="388"/>
            <ac:cxnSpMk id="8" creationId="{7A2F73AD-ADF7-009C-C582-FA06B7B3A06D}"/>
          </ac:cxnSpMkLst>
        </pc:cxnChg>
        <pc:cxnChg chg="add mod replST">
          <ac:chgData name="Merlin Gutter" userId="2abc6f04-74af-430b-bdc8-569c3bfa1dda" providerId="ADAL" clId="{CB1EFBC3-10F5-3048-8961-5969497C0019}" dt="2022-11-23T17:27:38.946" v="92716"/>
          <ac:cxnSpMkLst>
            <pc:docMk/>
            <pc:sldMk cId="306393785" sldId="388"/>
            <ac:cxnSpMk id="31" creationId="{7018BA18-5DBA-D301-552F-83131A3EFAB7}"/>
          </ac:cxnSpMkLst>
        </pc:cxnChg>
        <pc:cxnChg chg="add mod replST">
          <ac:chgData name="Merlin Gutter" userId="2abc6f04-74af-430b-bdc8-569c3bfa1dda" providerId="ADAL" clId="{CB1EFBC3-10F5-3048-8961-5969497C0019}" dt="2022-11-23T17:27:38.946" v="92714"/>
          <ac:cxnSpMkLst>
            <pc:docMk/>
            <pc:sldMk cId="306393785" sldId="388"/>
            <ac:cxnSpMk id="32" creationId="{13CA9650-E3B7-B802-106B-4418D7A43C6E}"/>
          </ac:cxnSpMkLst>
        </pc:cxnChg>
        <pc:cxnChg chg="add mod replST">
          <ac:chgData name="Merlin Gutter" userId="2abc6f04-74af-430b-bdc8-569c3bfa1dda" providerId="ADAL" clId="{CB1EFBC3-10F5-3048-8961-5969497C0019}" dt="2022-11-23T17:27:38.947" v="92719"/>
          <ac:cxnSpMkLst>
            <pc:docMk/>
            <pc:sldMk cId="306393785" sldId="388"/>
            <ac:cxnSpMk id="33" creationId="{DAE0D8C0-7A7F-F656-1AC6-E25B15B42CDA}"/>
          </ac:cxnSpMkLst>
        </pc:cxnChg>
        <pc:cxnChg chg="add mod replST">
          <ac:chgData name="Merlin Gutter" userId="2abc6f04-74af-430b-bdc8-569c3bfa1dda" providerId="ADAL" clId="{CB1EFBC3-10F5-3048-8961-5969497C0019}" dt="2022-11-23T17:27:38.947" v="92720"/>
          <ac:cxnSpMkLst>
            <pc:docMk/>
            <pc:sldMk cId="306393785" sldId="388"/>
            <ac:cxnSpMk id="34" creationId="{E2DBE283-51A6-7A57-FEB4-FD29878238C9}"/>
          </ac:cxnSpMkLst>
        </pc:cxnChg>
        <pc:cxnChg chg="add mod replST">
          <ac:chgData name="Merlin Gutter" userId="2abc6f04-74af-430b-bdc8-569c3bfa1dda" providerId="ADAL" clId="{CB1EFBC3-10F5-3048-8961-5969497C0019}" dt="2022-11-23T17:27:38.946" v="92715"/>
          <ac:cxnSpMkLst>
            <pc:docMk/>
            <pc:sldMk cId="306393785" sldId="388"/>
            <ac:cxnSpMk id="36" creationId="{FF84E1F6-185C-D233-67ED-EDB45D50810F}"/>
          </ac:cxnSpMkLst>
        </pc:cxnChg>
        <pc:cxnChg chg="add mod replST">
          <ac:chgData name="Merlin Gutter" userId="2abc6f04-74af-430b-bdc8-569c3bfa1dda" providerId="ADAL" clId="{CB1EFBC3-10F5-3048-8961-5969497C0019}" dt="2022-11-23T17:27:38.946" v="92718"/>
          <ac:cxnSpMkLst>
            <pc:docMk/>
            <pc:sldMk cId="306393785" sldId="388"/>
            <ac:cxnSpMk id="37" creationId="{FDF90C88-065B-E824-B6AF-141395CF1EDC}"/>
          </ac:cxnSpMkLst>
        </pc:cxnChg>
        <pc:cxnChg chg="add mod replST">
          <ac:chgData name="Merlin Gutter" userId="2abc6f04-74af-430b-bdc8-569c3bfa1dda" providerId="ADAL" clId="{CB1EFBC3-10F5-3048-8961-5969497C0019}" dt="2022-11-23T17:27:38.946" v="92717"/>
          <ac:cxnSpMkLst>
            <pc:docMk/>
            <pc:sldMk cId="306393785" sldId="388"/>
            <ac:cxnSpMk id="38" creationId="{2DC53672-BFC6-75E1-4EBD-99DA323984FC}"/>
          </ac:cxnSpMkLst>
        </pc:cxnChg>
        <pc:cxnChg chg="add mod replST">
          <ac:chgData name="Merlin Gutter" userId="2abc6f04-74af-430b-bdc8-569c3bfa1dda" providerId="ADAL" clId="{CB1EFBC3-10F5-3048-8961-5969497C0019}" dt="2022-11-23T17:27:38.947" v="92722"/>
          <ac:cxnSpMkLst>
            <pc:docMk/>
            <pc:sldMk cId="306393785" sldId="388"/>
            <ac:cxnSpMk id="39" creationId="{CE183AD7-DEC0-8A29-21A4-CF6E0CDBCAC2}"/>
          </ac:cxnSpMkLst>
        </pc:cxnChg>
        <pc:cxnChg chg="add mod replST">
          <ac:chgData name="Merlin Gutter" userId="2abc6f04-74af-430b-bdc8-569c3bfa1dda" providerId="ADAL" clId="{CB1EFBC3-10F5-3048-8961-5969497C0019}" dt="2022-11-23T17:27:38.947" v="92723"/>
          <ac:cxnSpMkLst>
            <pc:docMk/>
            <pc:sldMk cId="306393785" sldId="388"/>
            <ac:cxnSpMk id="40" creationId="{03A60A28-52C2-0F31-145F-55388F87478A}"/>
          </ac:cxnSpMkLst>
        </pc:cxnChg>
        <pc:cxnChg chg="add mod replST">
          <ac:chgData name="Merlin Gutter" userId="2abc6f04-74af-430b-bdc8-569c3bfa1dda" providerId="ADAL" clId="{CB1EFBC3-10F5-3048-8961-5969497C0019}" dt="2022-11-23T17:27:38.948" v="92726"/>
          <ac:cxnSpMkLst>
            <pc:docMk/>
            <pc:sldMk cId="306393785" sldId="388"/>
            <ac:cxnSpMk id="41" creationId="{7A29EFE5-19B4-93F7-70AC-1C1D87392F79}"/>
          </ac:cxnSpMkLst>
        </pc:cxnChg>
        <pc:cxnChg chg="add mod replST">
          <ac:chgData name="Merlin Gutter" userId="2abc6f04-74af-430b-bdc8-569c3bfa1dda" providerId="ADAL" clId="{CB1EFBC3-10F5-3048-8961-5969497C0019}" dt="2022-11-23T17:27:38.948" v="92727"/>
          <ac:cxnSpMkLst>
            <pc:docMk/>
            <pc:sldMk cId="306393785" sldId="388"/>
            <ac:cxnSpMk id="42" creationId="{B837275F-F745-B7F0-99B6-A47CE4230FD3}"/>
          </ac:cxnSpMkLst>
        </pc:cxnChg>
        <pc:cxnChg chg="add mod replST">
          <ac:chgData name="Merlin Gutter" userId="2abc6f04-74af-430b-bdc8-569c3bfa1dda" providerId="ADAL" clId="{CB1EFBC3-10F5-3048-8961-5969497C0019}" dt="2022-11-23T17:27:38.948" v="92725"/>
          <ac:cxnSpMkLst>
            <pc:docMk/>
            <pc:sldMk cId="306393785" sldId="388"/>
            <ac:cxnSpMk id="43" creationId="{2EC0853C-A25E-EB98-5B27-780740E185EF}"/>
          </ac:cxnSpMkLst>
        </pc:cxnChg>
        <pc:cxnChg chg="add mod replST">
          <ac:chgData name="Merlin Gutter" userId="2abc6f04-74af-430b-bdc8-569c3bfa1dda" providerId="ADAL" clId="{CB1EFBC3-10F5-3048-8961-5969497C0019}" dt="2022-11-23T17:27:38.948" v="92728"/>
          <ac:cxnSpMkLst>
            <pc:docMk/>
            <pc:sldMk cId="306393785" sldId="388"/>
            <ac:cxnSpMk id="44" creationId="{5D974BDC-8D18-C7FD-D51D-81434F58FB1B}"/>
          </ac:cxnSpMkLst>
        </pc:cxnChg>
        <pc:cxnChg chg="add mod replST">
          <ac:chgData name="Merlin Gutter" userId="2abc6f04-74af-430b-bdc8-569c3bfa1dda" providerId="ADAL" clId="{CB1EFBC3-10F5-3048-8961-5969497C0019}" dt="2022-11-23T17:27:38.948" v="92724"/>
          <ac:cxnSpMkLst>
            <pc:docMk/>
            <pc:sldMk cId="306393785" sldId="388"/>
            <ac:cxnSpMk id="45" creationId="{3D0D35BA-1048-F23A-19B2-EC2737066124}"/>
          </ac:cxnSpMkLst>
        </pc:cxnChg>
        <pc:cxnChg chg="add mod replST">
          <ac:chgData name="Merlin Gutter" userId="2abc6f04-74af-430b-bdc8-569c3bfa1dda" providerId="ADAL" clId="{CB1EFBC3-10F5-3048-8961-5969497C0019}" dt="2022-11-23T17:27:38.947" v="92721"/>
          <ac:cxnSpMkLst>
            <pc:docMk/>
            <pc:sldMk cId="306393785" sldId="388"/>
            <ac:cxnSpMk id="46" creationId="{1D99B66E-EE8C-C4C7-04BE-85291F56B11C}"/>
          </ac:cxnSpMkLst>
        </pc:cxnChg>
        <pc:cxnChg chg="add del mod replST">
          <ac:chgData name="Merlin Gutter" userId="2abc6f04-74af-430b-bdc8-569c3bfa1dda" providerId="ADAL" clId="{CB1EFBC3-10F5-3048-8961-5969497C0019}" dt="2022-11-22T22:37:17.281" v="62137"/>
          <ac:cxnSpMkLst>
            <pc:docMk/>
            <pc:sldMk cId="306393785" sldId="388"/>
            <ac:cxnSpMk id="59" creationId="{F69244A3-6983-B1CF-0EC8-67C9AD01B0CE}"/>
          </ac:cxnSpMkLst>
        </pc:cxnChg>
        <pc:cxnChg chg="add del mod replST">
          <ac:chgData name="Merlin Gutter" userId="2abc6f04-74af-430b-bdc8-569c3bfa1dda" providerId="ADAL" clId="{CB1EFBC3-10F5-3048-8961-5969497C0019}" dt="2022-11-22T22:37:17.282" v="62139"/>
          <ac:cxnSpMkLst>
            <pc:docMk/>
            <pc:sldMk cId="306393785" sldId="388"/>
            <ac:cxnSpMk id="60" creationId="{9C0F0BA6-6648-F8F3-1EF5-44D1DC3343DB}"/>
          </ac:cxnSpMkLst>
        </pc:cxnChg>
        <pc:cxnChg chg="add del mod replST">
          <ac:chgData name="Merlin Gutter" userId="2abc6f04-74af-430b-bdc8-569c3bfa1dda" providerId="ADAL" clId="{CB1EFBC3-10F5-3048-8961-5969497C0019}" dt="2022-11-22T22:37:17.283" v="62141"/>
          <ac:cxnSpMkLst>
            <pc:docMk/>
            <pc:sldMk cId="306393785" sldId="388"/>
            <ac:cxnSpMk id="61" creationId="{49245CA6-EC6C-751E-9D49-D1F6643CB1DC}"/>
          </ac:cxnSpMkLst>
        </pc:cxnChg>
        <pc:cxnChg chg="add del mod replST">
          <ac:chgData name="Merlin Gutter" userId="2abc6f04-74af-430b-bdc8-569c3bfa1dda" providerId="ADAL" clId="{CB1EFBC3-10F5-3048-8961-5969497C0019}" dt="2022-11-22T22:37:18.951" v="62388"/>
          <ac:cxnSpMkLst>
            <pc:docMk/>
            <pc:sldMk cId="306393785" sldId="388"/>
            <ac:cxnSpMk id="62" creationId="{A31C3EE5-7DD4-0A43-26C3-6E661E52FD5E}"/>
          </ac:cxnSpMkLst>
        </pc:cxnChg>
        <pc:cxnChg chg="add del mod replST">
          <ac:chgData name="Merlin Gutter" userId="2abc6f04-74af-430b-bdc8-569c3bfa1dda" providerId="ADAL" clId="{CB1EFBC3-10F5-3048-8961-5969497C0019}" dt="2022-11-22T22:37:18.950" v="62386"/>
          <ac:cxnSpMkLst>
            <pc:docMk/>
            <pc:sldMk cId="306393785" sldId="388"/>
            <ac:cxnSpMk id="63" creationId="{33412446-F8DB-BAB4-92E3-C49D734C3DB2}"/>
          </ac:cxnSpMkLst>
        </pc:cxnChg>
        <pc:cxnChg chg="add del mod replST">
          <ac:chgData name="Merlin Gutter" userId="2abc6f04-74af-430b-bdc8-569c3bfa1dda" providerId="ADAL" clId="{CB1EFBC3-10F5-3048-8961-5969497C0019}" dt="2022-11-22T22:37:18.949" v="62384"/>
          <ac:cxnSpMkLst>
            <pc:docMk/>
            <pc:sldMk cId="306393785" sldId="388"/>
            <ac:cxnSpMk id="64" creationId="{BF70D4A7-6F33-DE30-ECF0-145E29C3A85A}"/>
          </ac:cxnSpMkLst>
        </pc:cxnChg>
        <pc:cxnChg chg="add del mod replST">
          <ac:chgData name="Merlin Gutter" userId="2abc6f04-74af-430b-bdc8-569c3bfa1dda" providerId="ADAL" clId="{CB1EFBC3-10F5-3048-8961-5969497C0019}" dt="2022-11-22T22:37:24.461" v="62882"/>
          <ac:cxnSpMkLst>
            <pc:docMk/>
            <pc:sldMk cId="306393785" sldId="388"/>
            <ac:cxnSpMk id="65" creationId="{680E598A-A009-F65F-9010-89B5BC5F30BF}"/>
          </ac:cxnSpMkLst>
        </pc:cxnChg>
        <pc:cxnChg chg="add del mod replST">
          <ac:chgData name="Merlin Gutter" userId="2abc6f04-74af-430b-bdc8-569c3bfa1dda" providerId="ADAL" clId="{CB1EFBC3-10F5-3048-8961-5969497C0019}" dt="2022-11-22T22:37:24.460" v="62880"/>
          <ac:cxnSpMkLst>
            <pc:docMk/>
            <pc:sldMk cId="306393785" sldId="388"/>
            <ac:cxnSpMk id="66" creationId="{FE556921-8FB9-25C9-AB24-D4C359D7369B}"/>
          </ac:cxnSpMkLst>
        </pc:cxnChg>
        <pc:cxnChg chg="add del mod replST">
          <ac:chgData name="Merlin Gutter" userId="2abc6f04-74af-430b-bdc8-569c3bfa1dda" providerId="ADAL" clId="{CB1EFBC3-10F5-3048-8961-5969497C0019}" dt="2022-11-22T22:37:24.460" v="62878"/>
          <ac:cxnSpMkLst>
            <pc:docMk/>
            <pc:sldMk cId="306393785" sldId="388"/>
            <ac:cxnSpMk id="67" creationId="{71760E5C-4AC3-500F-2B43-AA6F06C2C81E}"/>
          </ac:cxnSpMkLst>
        </pc:cxnChg>
        <pc:cxnChg chg="add mod replST">
          <ac:chgData name="Merlin Gutter" userId="2abc6f04-74af-430b-bdc8-569c3bfa1dda" providerId="ADAL" clId="{CB1EFBC3-10F5-3048-8961-5969497C0019}" dt="2022-11-23T17:27:38.951" v="92741"/>
          <ac:cxnSpMkLst>
            <pc:docMk/>
            <pc:sldMk cId="306393785" sldId="388"/>
            <ac:cxnSpMk id="201" creationId="{BCDCDB3F-EA58-715D-4B25-0230401DAFB8}"/>
          </ac:cxnSpMkLst>
        </pc:cxnChg>
        <pc:cxnChg chg="del mod">
          <ac:chgData name="Merlin Gutter" userId="2abc6f04-74af-430b-bdc8-569c3bfa1dda" providerId="ADAL" clId="{CB1EFBC3-10F5-3048-8961-5969497C0019}" dt="2022-11-22T22:37:00.892" v="59703"/>
          <ac:cxnSpMkLst>
            <pc:docMk/>
            <pc:sldMk cId="306393785" sldId="388"/>
            <ac:cxnSpMk id="228" creationId="{BE191C59-1A3A-0A58-5312-8200EF43A74D}"/>
          </ac:cxnSpMkLst>
        </pc:cxnChg>
        <pc:cxnChg chg="del mod">
          <ac:chgData name="Merlin Gutter" userId="2abc6f04-74af-430b-bdc8-569c3bfa1dda" providerId="ADAL" clId="{CB1EFBC3-10F5-3048-8961-5969497C0019}" dt="2022-11-22T22:37:00.889" v="59690"/>
          <ac:cxnSpMkLst>
            <pc:docMk/>
            <pc:sldMk cId="306393785" sldId="388"/>
            <ac:cxnSpMk id="231" creationId="{B2D4622C-A6B1-E5A0-BB01-86CC8FAF7C92}"/>
          </ac:cxnSpMkLst>
        </pc:cxnChg>
        <pc:cxnChg chg="del mod">
          <ac:chgData name="Merlin Gutter" userId="2abc6f04-74af-430b-bdc8-569c3bfa1dda" providerId="ADAL" clId="{CB1EFBC3-10F5-3048-8961-5969497C0019}" dt="2022-11-22T22:37:00.886" v="59680"/>
          <ac:cxnSpMkLst>
            <pc:docMk/>
            <pc:sldMk cId="306393785" sldId="388"/>
            <ac:cxnSpMk id="233" creationId="{153CE8EC-2C42-5472-4595-FE206DE57468}"/>
          </ac:cxnSpMkLst>
        </pc:cxnChg>
        <pc:cxnChg chg="del mod">
          <ac:chgData name="Merlin Gutter" userId="2abc6f04-74af-430b-bdc8-569c3bfa1dda" providerId="ADAL" clId="{CB1EFBC3-10F5-3048-8961-5969497C0019}" dt="2022-11-22T22:37:00.883" v="59670"/>
          <ac:cxnSpMkLst>
            <pc:docMk/>
            <pc:sldMk cId="306393785" sldId="388"/>
            <ac:cxnSpMk id="235" creationId="{9C8BA09B-4925-0289-7A24-3D94A2FFC472}"/>
          </ac:cxnSpMkLst>
        </pc:cxnChg>
        <pc:cxnChg chg="del mod">
          <ac:chgData name="Merlin Gutter" userId="2abc6f04-74af-430b-bdc8-569c3bfa1dda" providerId="ADAL" clId="{CB1EFBC3-10F5-3048-8961-5969497C0019}" dt="2022-11-22T22:37:00.854" v="59595"/>
          <ac:cxnSpMkLst>
            <pc:docMk/>
            <pc:sldMk cId="306393785" sldId="388"/>
            <ac:cxnSpMk id="326" creationId="{0796DF65-985A-7DC7-C7E1-4D9DE163F8AE}"/>
          </ac:cxnSpMkLst>
        </pc:cxnChg>
        <pc:cxnChg chg="del mod">
          <ac:chgData name="Merlin Gutter" userId="2abc6f04-74af-430b-bdc8-569c3bfa1dda" providerId="ADAL" clId="{CB1EFBC3-10F5-3048-8961-5969497C0019}" dt="2022-11-22T22:37:00.853" v="59593"/>
          <ac:cxnSpMkLst>
            <pc:docMk/>
            <pc:sldMk cId="306393785" sldId="388"/>
            <ac:cxnSpMk id="327" creationId="{CE3A590E-6AC0-D060-BFA8-8F5C334A6A85}"/>
          </ac:cxnSpMkLst>
        </pc:cxnChg>
        <pc:cxnChg chg="del mod">
          <ac:chgData name="Merlin Gutter" userId="2abc6f04-74af-430b-bdc8-569c3bfa1dda" providerId="ADAL" clId="{CB1EFBC3-10F5-3048-8961-5969497C0019}" dt="2022-11-22T22:37:00.852" v="59591"/>
          <ac:cxnSpMkLst>
            <pc:docMk/>
            <pc:sldMk cId="306393785" sldId="388"/>
            <ac:cxnSpMk id="328" creationId="{0AE4D2DC-59E7-FCE3-5340-BF574B791973}"/>
          </ac:cxnSpMkLst>
        </pc:cxnChg>
        <pc:cxnChg chg="del mod">
          <ac:chgData name="Merlin Gutter" userId="2abc6f04-74af-430b-bdc8-569c3bfa1dda" providerId="ADAL" clId="{CB1EFBC3-10F5-3048-8961-5969497C0019}" dt="2022-11-22T22:36:56.549" v="59101"/>
          <ac:cxnSpMkLst>
            <pc:docMk/>
            <pc:sldMk cId="306393785" sldId="388"/>
            <ac:cxnSpMk id="381" creationId="{457CE312-C0DC-0F5C-5B8B-912B30EA7C3D}"/>
          </ac:cxnSpMkLst>
        </pc:cxnChg>
        <pc:cxnChg chg="del mod">
          <ac:chgData name="Merlin Gutter" userId="2abc6f04-74af-430b-bdc8-569c3bfa1dda" providerId="ADAL" clId="{CB1EFBC3-10F5-3048-8961-5969497C0019}" dt="2022-11-22T22:36:56.548" v="59099"/>
          <ac:cxnSpMkLst>
            <pc:docMk/>
            <pc:sldMk cId="306393785" sldId="388"/>
            <ac:cxnSpMk id="382" creationId="{7ED92058-A3E8-5E51-EB96-CC97C9437BD7}"/>
          </ac:cxnSpMkLst>
        </pc:cxnChg>
        <pc:cxnChg chg="del mod">
          <ac:chgData name="Merlin Gutter" userId="2abc6f04-74af-430b-bdc8-569c3bfa1dda" providerId="ADAL" clId="{CB1EFBC3-10F5-3048-8961-5969497C0019}" dt="2022-11-22T22:36:56.547" v="59097"/>
          <ac:cxnSpMkLst>
            <pc:docMk/>
            <pc:sldMk cId="306393785" sldId="388"/>
            <ac:cxnSpMk id="383" creationId="{33534F8B-417F-CDE3-430C-CA3F942F4F06}"/>
          </ac:cxnSpMkLst>
        </pc:cxnChg>
        <pc:cxnChg chg="del mod">
          <ac:chgData name="Merlin Gutter" userId="2abc6f04-74af-430b-bdc8-569c3bfa1dda" providerId="ADAL" clId="{CB1EFBC3-10F5-3048-8961-5969497C0019}" dt="2022-11-22T22:37:00.851" v="59589"/>
          <ac:cxnSpMkLst>
            <pc:docMk/>
            <pc:sldMk cId="306393785" sldId="388"/>
            <ac:cxnSpMk id="387" creationId="{17040920-7574-9678-5E32-4247AF87C4DA}"/>
          </ac:cxnSpMkLst>
        </pc:cxnChg>
        <pc:cxnChg chg="del mod">
          <ac:chgData name="Merlin Gutter" userId="2abc6f04-74af-430b-bdc8-569c3bfa1dda" providerId="ADAL" clId="{CB1EFBC3-10F5-3048-8961-5969497C0019}" dt="2022-11-22T22:37:00.849" v="59587"/>
          <ac:cxnSpMkLst>
            <pc:docMk/>
            <pc:sldMk cId="306393785" sldId="388"/>
            <ac:cxnSpMk id="388" creationId="{AE187C29-CD3F-549B-6670-9106D8B9A8E5}"/>
          </ac:cxnSpMkLst>
        </pc:cxnChg>
        <pc:cxnChg chg="del mod">
          <ac:chgData name="Merlin Gutter" userId="2abc6f04-74af-430b-bdc8-569c3bfa1dda" providerId="ADAL" clId="{CB1EFBC3-10F5-3048-8961-5969497C0019}" dt="2022-11-22T22:37:00.847" v="59585"/>
          <ac:cxnSpMkLst>
            <pc:docMk/>
            <pc:sldMk cId="306393785" sldId="388"/>
            <ac:cxnSpMk id="389" creationId="{6661D47C-5D15-C012-E53E-7F898F03871B}"/>
          </ac:cxnSpMkLst>
        </pc:cxnChg>
        <pc:cxnChg chg="del mod">
          <ac:chgData name="Merlin Gutter" userId="2abc6f04-74af-430b-bdc8-569c3bfa1dda" providerId="ADAL" clId="{CB1EFBC3-10F5-3048-8961-5969497C0019}" dt="2022-11-22T22:37:00.888" v="59688"/>
          <ac:cxnSpMkLst>
            <pc:docMk/>
            <pc:sldMk cId="306393785" sldId="388"/>
            <ac:cxnSpMk id="408" creationId="{673B08D9-145F-249E-897F-0B8F338B4322}"/>
          </ac:cxnSpMkLst>
        </pc:cxnChg>
        <pc:cxnChg chg="del mod">
          <ac:chgData name="Merlin Gutter" userId="2abc6f04-74af-430b-bdc8-569c3bfa1dda" providerId="ADAL" clId="{CB1EFBC3-10F5-3048-8961-5969497C0019}" dt="2022-11-22T22:37:00.886" v="59678"/>
          <ac:cxnSpMkLst>
            <pc:docMk/>
            <pc:sldMk cId="306393785" sldId="388"/>
            <ac:cxnSpMk id="410" creationId="{5A35DF61-481A-ADBE-456F-E2CE1F56C9D0}"/>
          </ac:cxnSpMkLst>
        </pc:cxnChg>
        <pc:cxnChg chg="del mod">
          <ac:chgData name="Merlin Gutter" userId="2abc6f04-74af-430b-bdc8-569c3bfa1dda" providerId="ADAL" clId="{CB1EFBC3-10F5-3048-8961-5969497C0019}" dt="2022-11-22T22:37:00.883" v="59668"/>
          <ac:cxnSpMkLst>
            <pc:docMk/>
            <pc:sldMk cId="306393785" sldId="388"/>
            <ac:cxnSpMk id="412" creationId="{1B89F2C6-D2C5-481B-287F-FF68CD9A5949}"/>
          </ac:cxnSpMkLst>
        </pc:cxnChg>
        <pc:cxnChg chg="del mod">
          <ac:chgData name="Merlin Gutter" userId="2abc6f04-74af-430b-bdc8-569c3bfa1dda" providerId="ADAL" clId="{CB1EFBC3-10F5-3048-8961-5969497C0019}" dt="2022-11-22T22:37:00.891" v="59700"/>
          <ac:cxnSpMkLst>
            <pc:docMk/>
            <pc:sldMk cId="306393785" sldId="388"/>
            <ac:cxnSpMk id="431" creationId="{CEE8284B-99A5-8437-10DA-69E6C8F09ACD}"/>
          </ac:cxnSpMkLst>
        </pc:cxnChg>
        <pc:cxnChg chg="del mod">
          <ac:chgData name="Merlin Gutter" userId="2abc6f04-74af-430b-bdc8-569c3bfa1dda" providerId="ADAL" clId="{CB1EFBC3-10F5-3048-8961-5969497C0019}" dt="2022-11-22T22:37:00.891" v="59698"/>
          <ac:cxnSpMkLst>
            <pc:docMk/>
            <pc:sldMk cId="306393785" sldId="388"/>
            <ac:cxnSpMk id="432" creationId="{36A99B78-9B88-D1EC-3D0C-10FB4B33E911}"/>
          </ac:cxnSpMkLst>
        </pc:cxnChg>
        <pc:cxnChg chg="del mod">
          <ac:chgData name="Merlin Gutter" userId="2abc6f04-74af-430b-bdc8-569c3bfa1dda" providerId="ADAL" clId="{CB1EFBC3-10F5-3048-8961-5969497C0019}" dt="2022-11-22T22:37:00.890" v="59695"/>
          <ac:cxnSpMkLst>
            <pc:docMk/>
            <pc:sldMk cId="306393785" sldId="388"/>
            <ac:cxnSpMk id="433" creationId="{9F2075F1-1CCA-86C6-DBB9-731191CD5BF2}"/>
          </ac:cxnSpMkLst>
        </pc:cxnChg>
        <pc:cxnChg chg="del mod">
          <ac:chgData name="Merlin Gutter" userId="2abc6f04-74af-430b-bdc8-569c3bfa1dda" providerId="ADAL" clId="{CB1EFBC3-10F5-3048-8961-5969497C0019}" dt="2022-11-22T22:37:00.889" v="59693"/>
          <ac:cxnSpMkLst>
            <pc:docMk/>
            <pc:sldMk cId="306393785" sldId="388"/>
            <ac:cxnSpMk id="434" creationId="{49458954-C9F1-A38A-8864-B1384C131185}"/>
          </ac:cxnSpMkLst>
        </pc:cxnChg>
        <pc:cxnChg chg="del mod">
          <ac:chgData name="Merlin Gutter" userId="2abc6f04-74af-430b-bdc8-569c3bfa1dda" providerId="ADAL" clId="{CB1EFBC3-10F5-3048-8961-5969497C0019}" dt="2022-11-22T22:37:00.887" v="59685"/>
          <ac:cxnSpMkLst>
            <pc:docMk/>
            <pc:sldMk cId="306393785" sldId="388"/>
            <ac:cxnSpMk id="435" creationId="{85DD01DE-21FB-C7C2-2DBE-416879CFF66D}"/>
          </ac:cxnSpMkLst>
        </pc:cxnChg>
        <pc:cxnChg chg="del mod">
          <ac:chgData name="Merlin Gutter" userId="2abc6f04-74af-430b-bdc8-569c3bfa1dda" providerId="ADAL" clId="{CB1EFBC3-10F5-3048-8961-5969497C0019}" dt="2022-11-22T22:37:00.887" v="59683"/>
          <ac:cxnSpMkLst>
            <pc:docMk/>
            <pc:sldMk cId="306393785" sldId="388"/>
            <ac:cxnSpMk id="436" creationId="{28819932-92DC-ED91-FF9C-8E3F400B42F5}"/>
          </ac:cxnSpMkLst>
        </pc:cxnChg>
        <pc:cxnChg chg="del mod">
          <ac:chgData name="Merlin Gutter" userId="2abc6f04-74af-430b-bdc8-569c3bfa1dda" providerId="ADAL" clId="{CB1EFBC3-10F5-3048-8961-5969497C0019}" dt="2022-11-22T22:37:00.885" v="59675"/>
          <ac:cxnSpMkLst>
            <pc:docMk/>
            <pc:sldMk cId="306393785" sldId="388"/>
            <ac:cxnSpMk id="437" creationId="{E51121C7-83F9-B3A6-FF04-F8517BCD2705}"/>
          </ac:cxnSpMkLst>
        </pc:cxnChg>
        <pc:cxnChg chg="del mod">
          <ac:chgData name="Merlin Gutter" userId="2abc6f04-74af-430b-bdc8-569c3bfa1dda" providerId="ADAL" clId="{CB1EFBC3-10F5-3048-8961-5969497C0019}" dt="2022-11-22T22:37:00.884" v="59673"/>
          <ac:cxnSpMkLst>
            <pc:docMk/>
            <pc:sldMk cId="306393785" sldId="388"/>
            <ac:cxnSpMk id="438" creationId="{25EAF4F5-E92F-E119-0DE8-99DC38A1B848}"/>
          </ac:cxnSpMkLst>
        </pc:cxnChg>
      </pc:sldChg>
      <pc:sldChg chg="addSp delSp modSp new add mod">
        <pc:chgData name="Merlin Gutter" userId="2abc6f04-74af-430b-bdc8-569c3bfa1dda" providerId="ADAL" clId="{CB1EFBC3-10F5-3048-8961-5969497C0019}" dt="2022-11-25T00:19:56.253" v="206169"/>
        <pc:sldMkLst>
          <pc:docMk/>
          <pc:sldMk cId="4252749090" sldId="389"/>
        </pc:sldMkLst>
        <pc:spChg chg="mod">
          <ac:chgData name="Merlin Gutter" userId="2abc6f04-74af-430b-bdc8-569c3bfa1dda" providerId="ADAL" clId="{CB1EFBC3-10F5-3048-8961-5969497C0019}" dt="2022-11-25T00:19:56.243" v="206124"/>
          <ac:spMkLst>
            <pc:docMk/>
            <pc:sldMk cId="4252749090" sldId="389"/>
            <ac:spMk id="2" creationId="{9AB7C1CD-6C92-0B76-E38C-81AB39179511}"/>
          </ac:spMkLst>
        </pc:spChg>
        <pc:spChg chg="mod">
          <ac:chgData name="Merlin Gutter" userId="2abc6f04-74af-430b-bdc8-569c3bfa1dda" providerId="ADAL" clId="{CB1EFBC3-10F5-3048-8961-5969497C0019}" dt="2022-11-25T00:19:56.243" v="206125"/>
          <ac:spMkLst>
            <pc:docMk/>
            <pc:sldMk cId="4252749090" sldId="389"/>
            <ac:spMk id="3" creationId="{513028AC-2888-4952-D3B7-5B5FE9018458}"/>
          </ac:spMkLst>
        </pc:spChg>
        <pc:spChg chg="mod">
          <ac:chgData name="Merlin Gutter" userId="2abc6f04-74af-430b-bdc8-569c3bfa1dda" providerId="ADAL" clId="{CB1EFBC3-10F5-3048-8961-5969497C0019}" dt="2022-11-25T00:19:56.243" v="206126"/>
          <ac:spMkLst>
            <pc:docMk/>
            <pc:sldMk cId="4252749090" sldId="389"/>
            <ac:spMk id="4" creationId="{3155ECD7-773D-8FE5-FB53-DE817F375112}"/>
          </ac:spMkLst>
        </pc:spChg>
        <pc:spChg chg="mod">
          <ac:chgData name="Merlin Gutter" userId="2abc6f04-74af-430b-bdc8-569c3bfa1dda" providerId="ADAL" clId="{CB1EFBC3-10F5-3048-8961-5969497C0019}" dt="2022-11-25T00:19:56.243" v="206127"/>
          <ac:spMkLst>
            <pc:docMk/>
            <pc:sldMk cId="4252749090" sldId="389"/>
            <ac:spMk id="5" creationId="{E92B169E-5FBF-2B86-33D6-3CD4FD95DA4A}"/>
          </ac:spMkLst>
        </pc:spChg>
        <pc:spChg chg="mod">
          <ac:chgData name="Merlin Gutter" userId="2abc6f04-74af-430b-bdc8-569c3bfa1dda" providerId="ADAL" clId="{CB1EFBC3-10F5-3048-8961-5969497C0019}" dt="2022-11-25T00:19:56.243" v="206128"/>
          <ac:spMkLst>
            <pc:docMk/>
            <pc:sldMk cId="4252749090" sldId="389"/>
            <ac:spMk id="6" creationId="{61D7BF8C-8B1E-F5E9-5BD4-0ADE26382579}"/>
          </ac:spMkLst>
        </pc:spChg>
        <pc:spChg chg="add del mod modVis">
          <ac:chgData name="Merlin Gutter" userId="2abc6f04-74af-430b-bdc8-569c3bfa1dda" providerId="ADAL" clId="{CB1EFBC3-10F5-3048-8961-5969497C0019}" dt="2022-11-25T00:19:07.028" v="205457"/>
          <ac:spMkLst>
            <pc:docMk/>
            <pc:sldMk cId="4252749090" sldId="389"/>
            <ac:spMk id="7" creationId="{3AFCD85C-F52C-6C48-8B71-BD4253CDA4B8}"/>
          </ac:spMkLst>
        </pc:spChg>
        <pc:spChg chg="add del mod replST">
          <ac:chgData name="Merlin Gutter" userId="2abc6f04-74af-430b-bdc8-569c3bfa1dda" providerId="ADAL" clId="{CB1EFBC3-10F5-3048-8961-5969497C0019}" dt="2022-11-22T22:47:15.829" v="66867"/>
          <ac:spMkLst>
            <pc:docMk/>
            <pc:sldMk cId="4252749090" sldId="389"/>
            <ac:spMk id="7" creationId="{AD55FBD1-AA00-019C-EE85-0F5CCD554E58}"/>
          </ac:spMkLst>
        </pc:spChg>
        <pc:spChg chg="add del mod modVis">
          <ac:chgData name="Merlin Gutter" userId="2abc6f04-74af-430b-bdc8-569c3bfa1dda" providerId="ADAL" clId="{CB1EFBC3-10F5-3048-8961-5969497C0019}" dt="2022-11-25T00:19:12.243" v="205516"/>
          <ac:spMkLst>
            <pc:docMk/>
            <pc:sldMk cId="4252749090" sldId="389"/>
            <ac:spMk id="8" creationId="{3824D398-04E6-2C35-1BFA-3DE4F753B890}"/>
          </ac:spMkLst>
        </pc:spChg>
        <pc:spChg chg="add del mod modVis">
          <ac:chgData name="Merlin Gutter" userId="2abc6f04-74af-430b-bdc8-569c3bfa1dda" providerId="ADAL" clId="{CB1EFBC3-10F5-3048-8961-5969497C0019}" dt="2022-11-22T22:45:39.533" v="64466"/>
          <ac:spMkLst>
            <pc:docMk/>
            <pc:sldMk cId="4252749090" sldId="389"/>
            <ac:spMk id="8" creationId="{5F374304-F9D7-D5C5-98F5-CAE2A55B757D}"/>
          </ac:spMkLst>
        </pc:spChg>
        <pc:spChg chg="add del mod replST">
          <ac:chgData name="Merlin Gutter" userId="2abc6f04-74af-430b-bdc8-569c3bfa1dda" providerId="ADAL" clId="{CB1EFBC3-10F5-3048-8961-5969497C0019}" dt="2022-11-22T22:47:15.831" v="66871"/>
          <ac:spMkLst>
            <pc:docMk/>
            <pc:sldMk cId="4252749090" sldId="389"/>
            <ac:spMk id="9" creationId="{23B11695-BAB3-555E-D3AD-836E57BB9C44}"/>
          </ac:spMkLst>
        </pc:spChg>
        <pc:spChg chg="add del mod modVis">
          <ac:chgData name="Merlin Gutter" userId="2abc6f04-74af-430b-bdc8-569c3bfa1dda" providerId="ADAL" clId="{CB1EFBC3-10F5-3048-8961-5969497C0019}" dt="2022-11-25T00:19:13.319" v="205569"/>
          <ac:spMkLst>
            <pc:docMk/>
            <pc:sldMk cId="4252749090" sldId="389"/>
            <ac:spMk id="9" creationId="{8C1E5360-9338-3007-4B6E-37C5070F57DD}"/>
          </ac:spMkLst>
        </pc:spChg>
        <pc:spChg chg="add del mod replST">
          <ac:chgData name="Merlin Gutter" userId="2abc6f04-74af-430b-bdc8-569c3bfa1dda" providerId="ADAL" clId="{CB1EFBC3-10F5-3048-8961-5969497C0019}" dt="2022-11-22T22:47:09.115" v="66545"/>
          <ac:spMkLst>
            <pc:docMk/>
            <pc:sldMk cId="4252749090" sldId="389"/>
            <ac:spMk id="10" creationId="{07EAB9CF-61FF-1786-F37A-3277295EE8A7}"/>
          </ac:spMkLst>
        </pc:spChg>
        <pc:spChg chg="add del mod modVis">
          <ac:chgData name="Merlin Gutter" userId="2abc6f04-74af-430b-bdc8-569c3bfa1dda" providerId="ADAL" clId="{CB1EFBC3-10F5-3048-8961-5969497C0019}" dt="2022-11-25T00:19:17.181" v="205622"/>
          <ac:spMkLst>
            <pc:docMk/>
            <pc:sldMk cId="4252749090" sldId="389"/>
            <ac:spMk id="10" creationId="{50578FB8-F3C2-0221-A8A6-2B439527DACE}"/>
          </ac:spMkLst>
        </pc:spChg>
        <pc:spChg chg="add del mod modVis">
          <ac:chgData name="Merlin Gutter" userId="2abc6f04-74af-430b-bdc8-569c3bfa1dda" providerId="ADAL" clId="{CB1EFBC3-10F5-3048-8961-5969497C0019}" dt="2022-11-25T00:19:22.516" v="205675"/>
          <ac:spMkLst>
            <pc:docMk/>
            <pc:sldMk cId="4252749090" sldId="389"/>
            <ac:spMk id="11" creationId="{568D7036-E948-6555-96FF-A6B57EC94936}"/>
          </ac:spMkLst>
        </pc:spChg>
        <pc:spChg chg="add del mod replST">
          <ac:chgData name="Merlin Gutter" userId="2abc6f04-74af-430b-bdc8-569c3bfa1dda" providerId="ADAL" clId="{CB1EFBC3-10F5-3048-8961-5969497C0019}" dt="2022-11-22T22:47:12.775" v="66670"/>
          <ac:spMkLst>
            <pc:docMk/>
            <pc:sldMk cId="4252749090" sldId="389"/>
            <ac:spMk id="11" creationId="{AEE0B040-69C3-F7BF-FC3F-03DF7E168CBD}"/>
          </ac:spMkLst>
        </pc:spChg>
        <pc:spChg chg="add del mod replST">
          <ac:chgData name="Merlin Gutter" userId="2abc6f04-74af-430b-bdc8-569c3bfa1dda" providerId="ADAL" clId="{CB1EFBC3-10F5-3048-8961-5969497C0019}" dt="2022-11-22T22:46:19.679" v="65270"/>
          <ac:spMkLst>
            <pc:docMk/>
            <pc:sldMk cId="4252749090" sldId="389"/>
            <ac:spMk id="12" creationId="{79F77CDC-BF84-4739-FF53-40C735547D71}"/>
          </ac:spMkLst>
        </pc:spChg>
        <pc:spChg chg="add mod replST">
          <ac:chgData name="Merlin Gutter" userId="2abc6f04-74af-430b-bdc8-569c3bfa1dda" providerId="ADAL" clId="{CB1EFBC3-10F5-3048-8961-5969497C0019}" dt="2022-11-25T00:19:56.244" v="206132"/>
          <ac:spMkLst>
            <pc:docMk/>
            <pc:sldMk cId="4252749090" sldId="389"/>
            <ac:spMk id="12" creationId="{DD5B0954-402E-E4A2-56AB-F12FA5B6B995}"/>
          </ac:spMkLst>
        </pc:spChg>
        <pc:spChg chg="add mod replST">
          <ac:chgData name="Merlin Gutter" userId="2abc6f04-74af-430b-bdc8-569c3bfa1dda" providerId="ADAL" clId="{CB1EFBC3-10F5-3048-8961-5969497C0019}" dt="2022-11-25T00:19:56.245" v="206135"/>
          <ac:spMkLst>
            <pc:docMk/>
            <pc:sldMk cId="4252749090" sldId="389"/>
            <ac:spMk id="13" creationId="{D3E0C233-3A7B-A33B-3EAF-255A275C90BD}"/>
          </ac:spMkLst>
        </pc:spChg>
        <pc:spChg chg="add del mod replST">
          <ac:chgData name="Merlin Gutter" userId="2abc6f04-74af-430b-bdc8-569c3bfa1dda" providerId="ADAL" clId="{CB1EFBC3-10F5-3048-8961-5969497C0019}" dt="2022-11-22T22:47:15.829" v="66866"/>
          <ac:spMkLst>
            <pc:docMk/>
            <pc:sldMk cId="4252749090" sldId="389"/>
            <ac:spMk id="14" creationId="{1AC02EED-AAD5-931A-B817-506C5CDC41E0}"/>
          </ac:spMkLst>
        </pc:spChg>
        <pc:spChg chg="add mod replST">
          <ac:chgData name="Merlin Gutter" userId="2abc6f04-74af-430b-bdc8-569c3bfa1dda" providerId="ADAL" clId="{CB1EFBC3-10F5-3048-8961-5969497C0019}" dt="2022-11-25T00:19:56.244" v="206131"/>
          <ac:spMkLst>
            <pc:docMk/>
            <pc:sldMk cId="4252749090" sldId="389"/>
            <ac:spMk id="14" creationId="{7058903F-F623-755C-42AC-67913F59E28D}"/>
          </ac:spMkLst>
        </pc:spChg>
        <pc:spChg chg="add del mod replST">
          <ac:chgData name="Merlin Gutter" userId="2abc6f04-74af-430b-bdc8-569c3bfa1dda" providerId="ADAL" clId="{CB1EFBC3-10F5-3048-8961-5969497C0019}" dt="2022-11-22T22:47:15.830" v="66870"/>
          <ac:spMkLst>
            <pc:docMk/>
            <pc:sldMk cId="4252749090" sldId="389"/>
            <ac:spMk id="15" creationId="{6911D7FC-ACEF-2F6E-2DAE-9CA1A86F9D9A}"/>
          </ac:spMkLst>
        </pc:spChg>
        <pc:spChg chg="add mod replST">
          <ac:chgData name="Merlin Gutter" userId="2abc6f04-74af-430b-bdc8-569c3bfa1dda" providerId="ADAL" clId="{CB1EFBC3-10F5-3048-8961-5969497C0019}" dt="2022-11-25T00:19:56.244" v="206133"/>
          <ac:spMkLst>
            <pc:docMk/>
            <pc:sldMk cId="4252749090" sldId="389"/>
            <ac:spMk id="15" creationId="{EDB8D601-D846-F4DE-CA98-B1EB8D11DAA7}"/>
          </ac:spMkLst>
        </pc:spChg>
        <pc:spChg chg="add mod replST">
          <ac:chgData name="Merlin Gutter" userId="2abc6f04-74af-430b-bdc8-569c3bfa1dda" providerId="ADAL" clId="{CB1EFBC3-10F5-3048-8961-5969497C0019}" dt="2022-11-25T00:19:56.245" v="206134"/>
          <ac:spMkLst>
            <pc:docMk/>
            <pc:sldMk cId="4252749090" sldId="389"/>
            <ac:spMk id="17" creationId="{8FDB72F6-9371-4703-9304-2F9EBB65A1A2}"/>
          </ac:spMkLst>
        </pc:spChg>
        <pc:spChg chg="add del mod replST">
          <ac:chgData name="Merlin Gutter" userId="2abc6f04-74af-430b-bdc8-569c3bfa1dda" providerId="ADAL" clId="{CB1EFBC3-10F5-3048-8961-5969497C0019}" dt="2022-11-22T22:47:15.833" v="66875"/>
          <ac:spMkLst>
            <pc:docMk/>
            <pc:sldMk cId="4252749090" sldId="389"/>
            <ac:spMk id="17" creationId="{EE965E28-46DB-91DF-5E44-917FE364E082}"/>
          </ac:spMkLst>
        </pc:spChg>
        <pc:spChg chg="add del mod replST">
          <ac:chgData name="Merlin Gutter" userId="2abc6f04-74af-430b-bdc8-569c3bfa1dda" providerId="ADAL" clId="{CB1EFBC3-10F5-3048-8961-5969497C0019}" dt="2022-11-22T22:47:15.835" v="66879"/>
          <ac:spMkLst>
            <pc:docMk/>
            <pc:sldMk cId="4252749090" sldId="389"/>
            <ac:spMk id="18" creationId="{367E16EC-6BE3-14A7-90AE-CFD636BF0CF0}"/>
          </ac:spMkLst>
        </pc:spChg>
        <pc:spChg chg="add mod replST">
          <ac:chgData name="Merlin Gutter" userId="2abc6f04-74af-430b-bdc8-569c3bfa1dda" providerId="ADAL" clId="{CB1EFBC3-10F5-3048-8961-5969497C0019}" dt="2022-11-25T00:19:56.244" v="206130"/>
          <ac:spMkLst>
            <pc:docMk/>
            <pc:sldMk cId="4252749090" sldId="389"/>
            <ac:spMk id="18" creationId="{A60F2ECC-84C6-1ACA-4B5F-8E9ECB1DBFF7}"/>
          </ac:spMkLst>
        </pc:spChg>
        <pc:spChg chg="add del mod modVis">
          <ac:chgData name="Merlin Gutter" userId="2abc6f04-74af-430b-bdc8-569c3bfa1dda" providerId="ADAL" clId="{CB1EFBC3-10F5-3048-8961-5969497C0019}" dt="2022-11-25T00:19:46.360" v="206014"/>
          <ac:spMkLst>
            <pc:docMk/>
            <pc:sldMk cId="4252749090" sldId="389"/>
            <ac:spMk id="19" creationId="{1854B657-EBC7-4397-9778-9E7B24DC2246}"/>
          </ac:spMkLst>
        </pc:spChg>
        <pc:spChg chg="add del mod replST">
          <ac:chgData name="Merlin Gutter" userId="2abc6f04-74af-430b-bdc8-569c3bfa1dda" providerId="ADAL" clId="{CB1EFBC3-10F5-3048-8961-5969497C0019}" dt="2022-11-22T22:47:15.837" v="66883"/>
          <ac:spMkLst>
            <pc:docMk/>
            <pc:sldMk cId="4252749090" sldId="389"/>
            <ac:spMk id="19" creationId="{5787B7D9-11DF-647E-067C-3777A2F355E1}"/>
          </ac:spMkLst>
        </pc:spChg>
        <pc:spChg chg="add del mod replST">
          <ac:chgData name="Merlin Gutter" userId="2abc6f04-74af-430b-bdc8-569c3bfa1dda" providerId="ADAL" clId="{CB1EFBC3-10F5-3048-8961-5969497C0019}" dt="2022-11-22T22:47:15.838" v="66887"/>
          <ac:spMkLst>
            <pc:docMk/>
            <pc:sldMk cId="4252749090" sldId="389"/>
            <ac:spMk id="20" creationId="{E63453E3-4299-B20A-7764-5C9879856FC5}"/>
          </ac:spMkLst>
        </pc:spChg>
        <pc:spChg chg="add del mod modVis">
          <ac:chgData name="Merlin Gutter" userId="2abc6f04-74af-430b-bdc8-569c3bfa1dda" providerId="ADAL" clId="{CB1EFBC3-10F5-3048-8961-5969497C0019}" dt="2022-11-22T22:46:03.545" v="65182"/>
          <ac:spMkLst>
            <pc:docMk/>
            <pc:sldMk cId="4252749090" sldId="389"/>
            <ac:spMk id="21" creationId="{328B04B1-6DFA-71B6-A228-603900848168}"/>
          </ac:spMkLst>
        </pc:spChg>
        <pc:spChg chg="add del mod modVis">
          <ac:chgData name="Merlin Gutter" userId="2abc6f04-74af-430b-bdc8-569c3bfa1dda" providerId="ADAL" clId="{CB1EFBC3-10F5-3048-8961-5969497C0019}" dt="2022-11-25T00:19:52.742" v="206111"/>
          <ac:spMkLst>
            <pc:docMk/>
            <pc:sldMk cId="4252749090" sldId="389"/>
            <ac:spMk id="21" creationId="{4163DCB3-324A-A5AD-7352-B993A4527EAE}"/>
          </ac:spMkLst>
        </pc:spChg>
        <pc:spChg chg="add del mod replST">
          <ac:chgData name="Merlin Gutter" userId="2abc6f04-74af-430b-bdc8-569c3bfa1dda" providerId="ADAL" clId="{CB1EFBC3-10F5-3048-8961-5969497C0019}" dt="2022-11-22T22:47:15.822" v="66848"/>
          <ac:spMkLst>
            <pc:docMk/>
            <pc:sldMk cId="4252749090" sldId="389"/>
            <ac:spMk id="22" creationId="{D2D07AA0-A64E-6578-8B26-41EB59F2AB19}"/>
          </ac:spMkLst>
        </pc:spChg>
        <pc:spChg chg="add del mod replST">
          <ac:chgData name="Merlin Gutter" userId="2abc6f04-74af-430b-bdc8-569c3bfa1dda" providerId="ADAL" clId="{CB1EFBC3-10F5-3048-8961-5969497C0019}" dt="2022-11-22T22:47:15.823" v="66854"/>
          <ac:spMkLst>
            <pc:docMk/>
            <pc:sldMk cId="4252749090" sldId="389"/>
            <ac:spMk id="23" creationId="{99B1299F-97B7-4479-E96E-9CB72BFE5D20}"/>
          </ac:spMkLst>
        </pc:spChg>
        <pc:spChg chg="add del mod replST">
          <ac:chgData name="Merlin Gutter" userId="2abc6f04-74af-430b-bdc8-569c3bfa1dda" providerId="ADAL" clId="{CB1EFBC3-10F5-3048-8961-5969497C0019}" dt="2022-11-22T22:47:15.823" v="66855"/>
          <ac:spMkLst>
            <pc:docMk/>
            <pc:sldMk cId="4252749090" sldId="389"/>
            <ac:spMk id="24" creationId="{0E1D6C4A-2FC1-D1CD-843B-3F8E0125BE9C}"/>
          </ac:spMkLst>
        </pc:spChg>
        <pc:spChg chg="add del mod replST">
          <ac:chgData name="Merlin Gutter" userId="2abc6f04-74af-430b-bdc8-569c3bfa1dda" providerId="ADAL" clId="{CB1EFBC3-10F5-3048-8961-5969497C0019}" dt="2022-11-22T22:47:15.825" v="66863"/>
          <ac:spMkLst>
            <pc:docMk/>
            <pc:sldMk cId="4252749090" sldId="389"/>
            <ac:spMk id="25" creationId="{9F7F338E-E2DA-3775-FD5E-940038FDF144}"/>
          </ac:spMkLst>
        </pc:spChg>
        <pc:spChg chg="add del mod replST">
          <ac:chgData name="Merlin Gutter" userId="2abc6f04-74af-430b-bdc8-569c3bfa1dda" providerId="ADAL" clId="{CB1EFBC3-10F5-3048-8961-5969497C0019}" dt="2022-11-22T22:46:05.911" v="65205"/>
          <ac:spMkLst>
            <pc:docMk/>
            <pc:sldMk cId="4252749090" sldId="389"/>
            <ac:spMk id="26" creationId="{63FA28A7-AB4D-762D-AA8D-A6936B16FCE2}"/>
          </ac:spMkLst>
        </pc:spChg>
        <pc:spChg chg="add del mod replST">
          <ac:chgData name="Merlin Gutter" userId="2abc6f04-74af-430b-bdc8-569c3bfa1dda" providerId="ADAL" clId="{CB1EFBC3-10F5-3048-8961-5969497C0019}" dt="2022-11-22T22:46:05.911" v="65206"/>
          <ac:spMkLst>
            <pc:docMk/>
            <pc:sldMk cId="4252749090" sldId="389"/>
            <ac:spMk id="27" creationId="{CA2D4AF4-07F6-187D-609D-0BAF9F0EDEA3}"/>
          </ac:spMkLst>
        </pc:spChg>
        <pc:spChg chg="add del mod replST">
          <ac:chgData name="Merlin Gutter" userId="2abc6f04-74af-430b-bdc8-569c3bfa1dda" providerId="ADAL" clId="{CB1EFBC3-10F5-3048-8961-5969497C0019}" dt="2022-11-22T22:47:15.833" v="66874"/>
          <ac:spMkLst>
            <pc:docMk/>
            <pc:sldMk cId="4252749090" sldId="389"/>
            <ac:spMk id="30" creationId="{FE96CF3C-B323-B293-06CF-A353DB9E6B62}"/>
          </ac:spMkLst>
        </pc:spChg>
        <pc:spChg chg="add del mod replST">
          <ac:chgData name="Merlin Gutter" userId="2abc6f04-74af-430b-bdc8-569c3bfa1dda" providerId="ADAL" clId="{CB1EFBC3-10F5-3048-8961-5969497C0019}" dt="2022-11-22T22:47:15.834" v="66878"/>
          <ac:spMkLst>
            <pc:docMk/>
            <pc:sldMk cId="4252749090" sldId="389"/>
            <ac:spMk id="31" creationId="{56307DCB-EE7D-8FF1-DA06-2D012BBC907E}"/>
          </ac:spMkLst>
        </pc:spChg>
        <pc:spChg chg="add del mod replST">
          <ac:chgData name="Merlin Gutter" userId="2abc6f04-74af-430b-bdc8-569c3bfa1dda" providerId="ADAL" clId="{CB1EFBC3-10F5-3048-8961-5969497C0019}" dt="2022-11-22T22:47:15.836" v="66882"/>
          <ac:spMkLst>
            <pc:docMk/>
            <pc:sldMk cId="4252749090" sldId="389"/>
            <ac:spMk id="32" creationId="{45CF6393-AB7D-69D4-0051-DD600E6F9387}"/>
          </ac:spMkLst>
        </pc:spChg>
        <pc:spChg chg="add del mod replST">
          <ac:chgData name="Merlin Gutter" userId="2abc6f04-74af-430b-bdc8-569c3bfa1dda" providerId="ADAL" clId="{CB1EFBC3-10F5-3048-8961-5969497C0019}" dt="2022-11-22T22:47:15.838" v="66886"/>
          <ac:spMkLst>
            <pc:docMk/>
            <pc:sldMk cId="4252749090" sldId="389"/>
            <ac:spMk id="33" creationId="{20DA5BDA-C5C0-8F6A-0F14-8DF01A0B8A19}"/>
          </ac:spMkLst>
        </pc:spChg>
        <pc:spChg chg="add del mod modVis">
          <ac:chgData name="Merlin Gutter" userId="2abc6f04-74af-430b-bdc8-569c3bfa1dda" providerId="ADAL" clId="{CB1EFBC3-10F5-3048-8961-5969497C0019}" dt="2022-11-22T22:46:19.792" v="65430"/>
          <ac:spMkLst>
            <pc:docMk/>
            <pc:sldMk cId="4252749090" sldId="389"/>
            <ac:spMk id="35" creationId="{1CFA4423-6B60-AD2A-D393-D7C49A92FF80}"/>
          </ac:spMkLst>
        </pc:spChg>
        <pc:spChg chg="add mod replST">
          <ac:chgData name="Merlin Gutter" userId="2abc6f04-74af-430b-bdc8-569c3bfa1dda" providerId="ADAL" clId="{CB1EFBC3-10F5-3048-8961-5969497C0019}" dt="2022-11-25T00:19:56.245" v="206138"/>
          <ac:spMkLst>
            <pc:docMk/>
            <pc:sldMk cId="4252749090" sldId="389"/>
            <ac:spMk id="37" creationId="{DD085851-9E4D-ADA8-45F3-D74E2D6F5779}"/>
          </ac:spMkLst>
        </pc:spChg>
        <pc:spChg chg="add mod replST">
          <ac:chgData name="Merlin Gutter" userId="2abc6f04-74af-430b-bdc8-569c3bfa1dda" providerId="ADAL" clId="{CB1EFBC3-10F5-3048-8961-5969497C0019}" dt="2022-11-25T00:19:56.246" v="206141"/>
          <ac:spMkLst>
            <pc:docMk/>
            <pc:sldMk cId="4252749090" sldId="389"/>
            <ac:spMk id="38" creationId="{9D1287A7-ACFB-F613-DB64-731C9737E9D7}"/>
          </ac:spMkLst>
        </pc:spChg>
        <pc:spChg chg="add mod replST">
          <ac:chgData name="Merlin Gutter" userId="2abc6f04-74af-430b-bdc8-569c3bfa1dda" providerId="ADAL" clId="{CB1EFBC3-10F5-3048-8961-5969497C0019}" dt="2022-11-25T00:19:56.245" v="206139"/>
          <ac:spMkLst>
            <pc:docMk/>
            <pc:sldMk cId="4252749090" sldId="389"/>
            <ac:spMk id="39" creationId="{ED52116D-F8E8-B820-7FAB-35E615D014D2}"/>
          </ac:spMkLst>
        </pc:spChg>
        <pc:spChg chg="add mod replST">
          <ac:chgData name="Merlin Gutter" userId="2abc6f04-74af-430b-bdc8-569c3bfa1dda" providerId="ADAL" clId="{CB1EFBC3-10F5-3048-8961-5969497C0019}" dt="2022-11-25T00:19:56.245" v="206136"/>
          <ac:spMkLst>
            <pc:docMk/>
            <pc:sldMk cId="4252749090" sldId="389"/>
            <ac:spMk id="40" creationId="{174B22C8-0249-DC49-5CE2-E3E8B801A4A3}"/>
          </ac:spMkLst>
        </pc:spChg>
        <pc:spChg chg="add del mod replST">
          <ac:chgData name="Merlin Gutter" userId="2abc6f04-74af-430b-bdc8-569c3bfa1dda" providerId="ADAL" clId="{CB1EFBC3-10F5-3048-8961-5969497C0019}" dt="2022-11-22T22:47:35.124" v="67656"/>
          <ac:spMkLst>
            <pc:docMk/>
            <pc:sldMk cId="4252749090" sldId="389"/>
            <ac:spMk id="41" creationId="{10B4F11C-6F6A-203C-A820-5B65FB038BBB}"/>
          </ac:spMkLst>
        </pc:spChg>
        <pc:spChg chg="add del mod replST">
          <ac:chgData name="Merlin Gutter" userId="2abc6f04-74af-430b-bdc8-569c3bfa1dda" providerId="ADAL" clId="{CB1EFBC3-10F5-3048-8961-5969497C0019}" dt="2022-11-22T22:47:35.131" v="67657"/>
          <ac:spMkLst>
            <pc:docMk/>
            <pc:sldMk cId="4252749090" sldId="389"/>
            <ac:spMk id="42" creationId="{EB531180-5B0F-A64A-49DF-1768465A5094}"/>
          </ac:spMkLst>
        </pc:spChg>
        <pc:spChg chg="add del mod replST">
          <ac:chgData name="Merlin Gutter" userId="2abc6f04-74af-430b-bdc8-569c3bfa1dda" providerId="ADAL" clId="{CB1EFBC3-10F5-3048-8961-5969497C0019}" dt="2022-11-22T22:47:35.132" v="67658"/>
          <ac:spMkLst>
            <pc:docMk/>
            <pc:sldMk cId="4252749090" sldId="389"/>
            <ac:spMk id="43" creationId="{9B6C3892-2620-E859-7DD8-0815EBD68044}"/>
          </ac:spMkLst>
        </pc:spChg>
        <pc:spChg chg="add del mod replST">
          <ac:chgData name="Merlin Gutter" userId="2abc6f04-74af-430b-bdc8-569c3bfa1dda" providerId="ADAL" clId="{CB1EFBC3-10F5-3048-8961-5969497C0019}" dt="2022-11-22T22:47:31.243" v="67218"/>
          <ac:spMkLst>
            <pc:docMk/>
            <pc:sldMk cId="4252749090" sldId="389"/>
            <ac:spMk id="44" creationId="{D208E947-56A4-FA9C-21E4-C7982729C6FB}"/>
          </ac:spMkLst>
        </pc:spChg>
        <pc:spChg chg="add del mod replST">
          <ac:chgData name="Merlin Gutter" userId="2abc6f04-74af-430b-bdc8-569c3bfa1dda" providerId="ADAL" clId="{CB1EFBC3-10F5-3048-8961-5969497C0019}" dt="2022-11-22T22:47:31.245" v="67221"/>
          <ac:spMkLst>
            <pc:docMk/>
            <pc:sldMk cId="4252749090" sldId="389"/>
            <ac:spMk id="45" creationId="{128FE668-15D4-A601-CEB3-CF38EB68D79C}"/>
          </ac:spMkLst>
        </pc:spChg>
        <pc:spChg chg="add del mod replST">
          <ac:chgData name="Merlin Gutter" userId="2abc6f04-74af-430b-bdc8-569c3bfa1dda" providerId="ADAL" clId="{CB1EFBC3-10F5-3048-8961-5969497C0019}" dt="2022-11-22T22:47:31.247" v="67224"/>
          <ac:spMkLst>
            <pc:docMk/>
            <pc:sldMk cId="4252749090" sldId="389"/>
            <ac:spMk id="46" creationId="{8C441CAD-874D-9443-88D9-4BB8C448A4A6}"/>
          </ac:spMkLst>
        </pc:spChg>
        <pc:spChg chg="add del mod replST">
          <ac:chgData name="Merlin Gutter" userId="2abc6f04-74af-430b-bdc8-569c3bfa1dda" providerId="ADAL" clId="{CB1EFBC3-10F5-3048-8961-5969497C0019}" dt="2022-11-22T22:47:31.249" v="67227"/>
          <ac:spMkLst>
            <pc:docMk/>
            <pc:sldMk cId="4252749090" sldId="389"/>
            <ac:spMk id="47" creationId="{7066C77E-E81B-94AB-B1CC-AAFFA92F1ED1}"/>
          </ac:spMkLst>
        </pc:spChg>
        <pc:spChg chg="add del mod replST">
          <ac:chgData name="Merlin Gutter" userId="2abc6f04-74af-430b-bdc8-569c3bfa1dda" providerId="ADAL" clId="{CB1EFBC3-10F5-3048-8961-5969497C0019}" dt="2022-11-22T22:47:31.250" v="67230"/>
          <ac:spMkLst>
            <pc:docMk/>
            <pc:sldMk cId="4252749090" sldId="389"/>
            <ac:spMk id="48" creationId="{9D9600C5-7405-8CB0-26A6-6B0C547B1FD5}"/>
          </ac:spMkLst>
        </pc:spChg>
        <pc:spChg chg="add del mod replST">
          <ac:chgData name="Merlin Gutter" userId="2abc6f04-74af-430b-bdc8-569c3bfa1dda" providerId="ADAL" clId="{CB1EFBC3-10F5-3048-8961-5969497C0019}" dt="2022-11-22T22:47:31.251" v="67233"/>
          <ac:spMkLst>
            <pc:docMk/>
            <pc:sldMk cId="4252749090" sldId="389"/>
            <ac:spMk id="49" creationId="{A1DFF6E6-99E0-F858-D01C-F4CC1D79A88D}"/>
          </ac:spMkLst>
        </pc:spChg>
        <pc:spChg chg="add del mod replST">
          <ac:chgData name="Merlin Gutter" userId="2abc6f04-74af-430b-bdc8-569c3bfa1dda" providerId="ADAL" clId="{CB1EFBC3-10F5-3048-8961-5969497C0019}" dt="2022-11-22T22:47:31.252" v="67236"/>
          <ac:spMkLst>
            <pc:docMk/>
            <pc:sldMk cId="4252749090" sldId="389"/>
            <ac:spMk id="50" creationId="{E5C90FBD-9AF3-6AE6-AEEC-9A5FE8C9FE73}"/>
          </ac:spMkLst>
        </pc:spChg>
        <pc:spChg chg="add del mod modVis">
          <ac:chgData name="Merlin Gutter" userId="2abc6f04-74af-430b-bdc8-569c3bfa1dda" providerId="ADAL" clId="{CB1EFBC3-10F5-3048-8961-5969497C0019}" dt="2022-11-22T22:46:59.768" v="66527"/>
          <ac:spMkLst>
            <pc:docMk/>
            <pc:sldMk cId="4252749090" sldId="389"/>
            <ac:spMk id="51" creationId="{1DA47FD6-AF96-2CE9-4F2E-7BE55DD764FA}"/>
          </ac:spMkLst>
        </pc:spChg>
        <pc:spChg chg="add del mod replST">
          <ac:chgData name="Merlin Gutter" userId="2abc6f04-74af-430b-bdc8-569c3bfa1dda" providerId="ADAL" clId="{CB1EFBC3-10F5-3048-8961-5969497C0019}" dt="2022-11-22T22:47:15.823" v="66852"/>
          <ac:spMkLst>
            <pc:docMk/>
            <pc:sldMk cId="4252749090" sldId="389"/>
            <ac:spMk id="52" creationId="{0E57A71F-E25B-EA84-F6A3-B3FD2153E92F}"/>
          </ac:spMkLst>
        </pc:spChg>
        <pc:spChg chg="add del mod replST">
          <ac:chgData name="Merlin Gutter" userId="2abc6f04-74af-430b-bdc8-569c3bfa1dda" providerId="ADAL" clId="{CB1EFBC3-10F5-3048-8961-5969497C0019}" dt="2022-11-22T22:47:15.824" v="66859"/>
          <ac:spMkLst>
            <pc:docMk/>
            <pc:sldMk cId="4252749090" sldId="389"/>
            <ac:spMk id="53" creationId="{00EBE9E6-5F2A-330B-66E7-8C0F44F12D88}"/>
          </ac:spMkLst>
        </pc:spChg>
        <pc:spChg chg="add del mod replST">
          <ac:chgData name="Merlin Gutter" userId="2abc6f04-74af-430b-bdc8-569c3bfa1dda" providerId="ADAL" clId="{CB1EFBC3-10F5-3048-8961-5969497C0019}" dt="2022-11-22T22:47:15.825" v="66861"/>
          <ac:spMkLst>
            <pc:docMk/>
            <pc:sldMk cId="4252749090" sldId="389"/>
            <ac:spMk id="54" creationId="{EA558615-A414-6C83-BE1F-C70633E9AD09}"/>
          </ac:spMkLst>
        </pc:spChg>
        <pc:spChg chg="add del mod replST">
          <ac:chgData name="Merlin Gutter" userId="2abc6f04-74af-430b-bdc8-569c3bfa1dda" providerId="ADAL" clId="{CB1EFBC3-10F5-3048-8961-5969497C0019}" dt="2022-11-22T22:47:31.253" v="67238"/>
          <ac:spMkLst>
            <pc:docMk/>
            <pc:sldMk cId="4252749090" sldId="389"/>
            <ac:spMk id="55" creationId="{A1AD04EF-A2E3-B148-163A-DE98621371B3}"/>
          </ac:spMkLst>
        </pc:spChg>
        <pc:spChg chg="add del mod replST">
          <ac:chgData name="Merlin Gutter" userId="2abc6f04-74af-430b-bdc8-569c3bfa1dda" providerId="ADAL" clId="{CB1EFBC3-10F5-3048-8961-5969497C0019}" dt="2022-11-22T22:47:31.253" v="67237"/>
          <ac:spMkLst>
            <pc:docMk/>
            <pc:sldMk cId="4252749090" sldId="389"/>
            <ac:spMk id="56" creationId="{C956F975-4FFB-2AE5-9030-EF863330496C}"/>
          </ac:spMkLst>
        </pc:spChg>
        <pc:spChg chg="add del mod replST">
          <ac:chgData name="Merlin Gutter" userId="2abc6f04-74af-430b-bdc8-569c3bfa1dda" providerId="ADAL" clId="{CB1EFBC3-10F5-3048-8961-5969497C0019}" dt="2022-11-22T22:47:31.230" v="67217"/>
          <ac:spMkLst>
            <pc:docMk/>
            <pc:sldMk cId="4252749090" sldId="389"/>
            <ac:spMk id="60" creationId="{96E1DEE2-0356-330C-6DCE-E5A789F3A963}"/>
          </ac:spMkLst>
        </pc:spChg>
        <pc:spChg chg="add del mod replST">
          <ac:chgData name="Merlin Gutter" userId="2abc6f04-74af-430b-bdc8-569c3bfa1dda" providerId="ADAL" clId="{CB1EFBC3-10F5-3048-8961-5969497C0019}" dt="2022-11-22T22:47:31.245" v="67220"/>
          <ac:spMkLst>
            <pc:docMk/>
            <pc:sldMk cId="4252749090" sldId="389"/>
            <ac:spMk id="61" creationId="{ED5C70A7-4401-20A4-6627-C0B39A72561E}"/>
          </ac:spMkLst>
        </pc:spChg>
        <pc:spChg chg="add del mod replST">
          <ac:chgData name="Merlin Gutter" userId="2abc6f04-74af-430b-bdc8-569c3bfa1dda" providerId="ADAL" clId="{CB1EFBC3-10F5-3048-8961-5969497C0019}" dt="2022-11-22T22:47:31.247" v="67223"/>
          <ac:spMkLst>
            <pc:docMk/>
            <pc:sldMk cId="4252749090" sldId="389"/>
            <ac:spMk id="62" creationId="{71C9FA18-4EA3-55ED-F436-5833DA22E238}"/>
          </ac:spMkLst>
        </pc:spChg>
        <pc:spChg chg="add del mod replST">
          <ac:chgData name="Merlin Gutter" userId="2abc6f04-74af-430b-bdc8-569c3bfa1dda" providerId="ADAL" clId="{CB1EFBC3-10F5-3048-8961-5969497C0019}" dt="2022-11-22T22:47:31.248" v="67226"/>
          <ac:spMkLst>
            <pc:docMk/>
            <pc:sldMk cId="4252749090" sldId="389"/>
            <ac:spMk id="63" creationId="{7AA07D5E-8A73-47B0-09E5-0FCB56B5C873}"/>
          </ac:spMkLst>
        </pc:spChg>
        <pc:spChg chg="add del mod replST">
          <ac:chgData name="Merlin Gutter" userId="2abc6f04-74af-430b-bdc8-569c3bfa1dda" providerId="ADAL" clId="{CB1EFBC3-10F5-3048-8961-5969497C0019}" dt="2022-11-22T22:47:31.250" v="67229"/>
          <ac:spMkLst>
            <pc:docMk/>
            <pc:sldMk cId="4252749090" sldId="389"/>
            <ac:spMk id="64" creationId="{5EB1646F-1C2B-326C-4F9B-E8FD40C83E62}"/>
          </ac:spMkLst>
        </pc:spChg>
        <pc:spChg chg="add del mod replST">
          <ac:chgData name="Merlin Gutter" userId="2abc6f04-74af-430b-bdc8-569c3bfa1dda" providerId="ADAL" clId="{CB1EFBC3-10F5-3048-8961-5969497C0019}" dt="2022-11-22T22:47:31.251" v="67232"/>
          <ac:spMkLst>
            <pc:docMk/>
            <pc:sldMk cId="4252749090" sldId="389"/>
            <ac:spMk id="65" creationId="{E71FDE8B-71BA-7770-95AF-D2A1FC8F224F}"/>
          </ac:spMkLst>
        </pc:spChg>
        <pc:spChg chg="add del mod replST">
          <ac:chgData name="Merlin Gutter" userId="2abc6f04-74af-430b-bdc8-569c3bfa1dda" providerId="ADAL" clId="{CB1EFBC3-10F5-3048-8961-5969497C0019}" dt="2022-11-22T22:47:31.252" v="67235"/>
          <ac:spMkLst>
            <pc:docMk/>
            <pc:sldMk cId="4252749090" sldId="389"/>
            <ac:spMk id="66" creationId="{98AD8C00-2128-B869-72D1-043F2DA77889}"/>
          </ac:spMkLst>
        </pc:spChg>
        <pc:spChg chg="add mod replST">
          <ac:chgData name="Merlin Gutter" userId="2abc6f04-74af-430b-bdc8-569c3bfa1dda" providerId="ADAL" clId="{CB1EFBC3-10F5-3048-8961-5969497C0019}" dt="2022-11-25T00:19:56.246" v="206140"/>
          <ac:spMkLst>
            <pc:docMk/>
            <pc:sldMk cId="4252749090" sldId="389"/>
            <ac:spMk id="70" creationId="{CFD067D3-A750-77B8-E612-87B63E69EBEB}"/>
          </ac:spMkLst>
        </pc:spChg>
        <pc:spChg chg="add del mod replST">
          <ac:chgData name="Merlin Gutter" userId="2abc6f04-74af-430b-bdc8-569c3bfa1dda" providerId="ADAL" clId="{CB1EFBC3-10F5-3048-8961-5969497C0019}" dt="2022-11-22T22:48:34.390" v="68004"/>
          <ac:spMkLst>
            <pc:docMk/>
            <pc:sldMk cId="4252749090" sldId="389"/>
            <ac:spMk id="71" creationId="{B3D9FE84-7C0A-9EB4-CD72-E54C6C8796CE}"/>
          </ac:spMkLst>
        </pc:spChg>
        <pc:spChg chg="add del mod modVis">
          <ac:chgData name="Merlin Gutter" userId="2abc6f04-74af-430b-bdc8-569c3bfa1dda" providerId="ADAL" clId="{CB1EFBC3-10F5-3048-8961-5969497C0019}" dt="2022-11-22T22:47:24.204" v="67213"/>
          <ac:spMkLst>
            <pc:docMk/>
            <pc:sldMk cId="4252749090" sldId="389"/>
            <ac:spMk id="72" creationId="{B20A6A54-9150-AA77-6AA1-440EC52EED3C}"/>
          </ac:spMkLst>
        </pc:spChg>
        <pc:spChg chg="add mod replST">
          <ac:chgData name="Merlin Gutter" userId="2abc6f04-74af-430b-bdc8-569c3bfa1dda" providerId="ADAL" clId="{CB1EFBC3-10F5-3048-8961-5969497C0019}" dt="2022-11-25T00:19:56.247" v="206146"/>
          <ac:spMkLst>
            <pc:docMk/>
            <pc:sldMk cId="4252749090" sldId="389"/>
            <ac:spMk id="74" creationId="{FF17A382-42B3-F074-79F6-83CFBCF2D788}"/>
          </ac:spMkLst>
        </pc:spChg>
        <pc:spChg chg="add del mod modVis">
          <ac:chgData name="Merlin Gutter" userId="2abc6f04-74af-430b-bdc8-569c3bfa1dda" providerId="ADAL" clId="{CB1EFBC3-10F5-3048-8961-5969497C0019}" dt="2022-11-22T22:47:31.461" v="67653"/>
          <ac:spMkLst>
            <pc:docMk/>
            <pc:sldMk cId="4252749090" sldId="389"/>
            <ac:spMk id="75" creationId="{AE6F84F9-B78C-B941-208F-AE6E31A36ACA}"/>
          </ac:spMkLst>
        </pc:spChg>
        <pc:spChg chg="add del mod replST">
          <ac:chgData name="Merlin Gutter" userId="2abc6f04-74af-430b-bdc8-569c3bfa1dda" providerId="ADAL" clId="{CB1EFBC3-10F5-3048-8961-5969497C0019}" dt="2022-11-23T22:28:11.905" v="120629"/>
          <ac:spMkLst>
            <pc:docMk/>
            <pc:sldMk cId="4252749090" sldId="389"/>
            <ac:spMk id="76" creationId="{987B67BD-DF51-9729-BC51-2A9ABD064E64}"/>
          </ac:spMkLst>
        </pc:spChg>
        <pc:spChg chg="add del mod replST">
          <ac:chgData name="Merlin Gutter" userId="2abc6f04-74af-430b-bdc8-569c3bfa1dda" providerId="ADAL" clId="{CB1EFBC3-10F5-3048-8961-5969497C0019}" dt="2022-11-22T22:48:34.390" v="68003"/>
          <ac:spMkLst>
            <pc:docMk/>
            <pc:sldMk cId="4252749090" sldId="389"/>
            <ac:spMk id="77" creationId="{1572E6CD-40BE-774C-AF70-193FFE62B130}"/>
          </ac:spMkLst>
        </pc:spChg>
        <pc:spChg chg="add del mod replST">
          <ac:chgData name="Merlin Gutter" userId="2abc6f04-74af-430b-bdc8-569c3bfa1dda" providerId="ADAL" clId="{CB1EFBC3-10F5-3048-8961-5969497C0019}" dt="2022-11-22T22:48:34.384" v="68002"/>
          <ac:spMkLst>
            <pc:docMk/>
            <pc:sldMk cId="4252749090" sldId="389"/>
            <ac:spMk id="78" creationId="{456C9D66-B10A-9D48-0B2D-123DAFB7CFF2}"/>
          </ac:spMkLst>
        </pc:spChg>
        <pc:spChg chg="add mod replST">
          <ac:chgData name="Merlin Gutter" userId="2abc6f04-74af-430b-bdc8-569c3bfa1dda" providerId="ADAL" clId="{CB1EFBC3-10F5-3048-8961-5969497C0019}" dt="2022-11-25T00:19:56.246" v="206144"/>
          <ac:spMkLst>
            <pc:docMk/>
            <pc:sldMk cId="4252749090" sldId="389"/>
            <ac:spMk id="80" creationId="{3791F22C-EB10-09CC-C776-99DA5F160F5E}"/>
          </ac:spMkLst>
        </pc:spChg>
        <pc:spChg chg="add del mod replST">
          <ac:chgData name="Merlin Gutter" userId="2abc6f04-74af-430b-bdc8-569c3bfa1dda" providerId="ADAL" clId="{CB1EFBC3-10F5-3048-8961-5969497C0019}" dt="2022-11-23T22:28:11.904" v="120628"/>
          <ac:spMkLst>
            <pc:docMk/>
            <pc:sldMk cId="4252749090" sldId="389"/>
            <ac:spMk id="81" creationId="{26D16C37-F563-29AD-03B5-2F6A0EEC9DDF}"/>
          </ac:spMkLst>
        </pc:spChg>
        <pc:spChg chg="add del mod replST">
          <ac:chgData name="Merlin Gutter" userId="2abc6f04-74af-430b-bdc8-569c3bfa1dda" providerId="ADAL" clId="{CB1EFBC3-10F5-3048-8961-5969497C0019}" dt="2022-11-22T22:50:14.044" v="70616"/>
          <ac:spMkLst>
            <pc:docMk/>
            <pc:sldMk cId="4252749090" sldId="389"/>
            <ac:spMk id="83" creationId="{803BB6D5-1F28-2CD1-0F55-31F855FF373F}"/>
          </ac:spMkLst>
        </pc:spChg>
        <pc:spChg chg="add del mod modVis">
          <ac:chgData name="Merlin Gutter" userId="2abc6f04-74af-430b-bdc8-569c3bfa1dda" providerId="ADAL" clId="{CB1EFBC3-10F5-3048-8961-5969497C0019}" dt="2022-11-22T22:48:26.934" v="67922"/>
          <ac:spMkLst>
            <pc:docMk/>
            <pc:sldMk cId="4252749090" sldId="389"/>
            <ac:spMk id="84" creationId="{3C58A3DB-015B-7C22-B198-76AF8DB0C15E}"/>
          </ac:spMkLst>
        </pc:spChg>
        <pc:spChg chg="add del mod replST">
          <ac:chgData name="Merlin Gutter" userId="2abc6f04-74af-430b-bdc8-569c3bfa1dda" providerId="ADAL" clId="{CB1EFBC3-10F5-3048-8961-5969497C0019}" dt="2022-11-22T22:49:34.993" v="69083"/>
          <ac:spMkLst>
            <pc:docMk/>
            <pc:sldMk cId="4252749090" sldId="389"/>
            <ac:spMk id="92" creationId="{2A2C43F9-9F12-FDFF-5178-6437F0B30886}"/>
          </ac:spMkLst>
        </pc:spChg>
        <pc:spChg chg="add del mod replST">
          <ac:chgData name="Merlin Gutter" userId="2abc6f04-74af-430b-bdc8-569c3bfa1dda" providerId="ADAL" clId="{CB1EFBC3-10F5-3048-8961-5969497C0019}" dt="2022-11-22T22:49:34.997" v="69097"/>
          <ac:spMkLst>
            <pc:docMk/>
            <pc:sldMk cId="4252749090" sldId="389"/>
            <ac:spMk id="93" creationId="{A80E0C99-F9E9-7D06-D7FA-635180A1F883}"/>
          </ac:spMkLst>
        </pc:spChg>
        <pc:spChg chg="add del mod replST">
          <ac:chgData name="Merlin Gutter" userId="2abc6f04-74af-430b-bdc8-569c3bfa1dda" providerId="ADAL" clId="{CB1EFBC3-10F5-3048-8961-5969497C0019}" dt="2022-11-22T22:49:35.001" v="69111"/>
          <ac:spMkLst>
            <pc:docMk/>
            <pc:sldMk cId="4252749090" sldId="389"/>
            <ac:spMk id="94" creationId="{36B20FC2-D551-5B5D-B439-58A5BFF3C0DE}"/>
          </ac:spMkLst>
        </pc:spChg>
        <pc:spChg chg="add del mod replST">
          <ac:chgData name="Merlin Gutter" userId="2abc6f04-74af-430b-bdc8-569c3bfa1dda" providerId="ADAL" clId="{CB1EFBC3-10F5-3048-8961-5969497C0019}" dt="2022-11-22T22:50:14.043" v="70612"/>
          <ac:spMkLst>
            <pc:docMk/>
            <pc:sldMk cId="4252749090" sldId="389"/>
            <ac:spMk id="95" creationId="{E7512BF7-916D-6BBE-9FF7-0DB99E236235}"/>
          </ac:spMkLst>
        </pc:spChg>
        <pc:spChg chg="add del mod modVis">
          <ac:chgData name="Merlin Gutter" userId="2abc6f04-74af-430b-bdc8-569c3bfa1dda" providerId="ADAL" clId="{CB1EFBC3-10F5-3048-8961-5969497C0019}" dt="2022-11-22T22:48:43.361" v="68403"/>
          <ac:spMkLst>
            <pc:docMk/>
            <pc:sldMk cId="4252749090" sldId="389"/>
            <ac:spMk id="96" creationId="{277351FB-F8F3-95C0-6524-8573F9D78F1A}"/>
          </ac:spMkLst>
        </pc:spChg>
        <pc:spChg chg="add del mod replST">
          <ac:chgData name="Merlin Gutter" userId="2abc6f04-74af-430b-bdc8-569c3bfa1dda" providerId="ADAL" clId="{CB1EFBC3-10F5-3048-8961-5969497C0019}" dt="2022-11-22T22:51:20.615" v="73208"/>
          <ac:spMkLst>
            <pc:docMk/>
            <pc:sldMk cId="4252749090" sldId="389"/>
            <ac:spMk id="97" creationId="{162D44F1-9A60-B5F9-47D7-106CB4C3E283}"/>
          </ac:spMkLst>
        </pc:spChg>
        <pc:spChg chg="add del mod replST">
          <ac:chgData name="Merlin Gutter" userId="2abc6f04-74af-430b-bdc8-569c3bfa1dda" providerId="ADAL" clId="{CB1EFBC3-10F5-3048-8961-5969497C0019}" dt="2022-11-22T22:51:20.616" v="73210"/>
          <ac:spMkLst>
            <pc:docMk/>
            <pc:sldMk cId="4252749090" sldId="389"/>
            <ac:spMk id="98" creationId="{36DE344C-703E-AE83-142E-A10B7BE2A214}"/>
          </ac:spMkLst>
        </pc:spChg>
        <pc:spChg chg="add del mod replST">
          <ac:chgData name="Merlin Gutter" userId="2abc6f04-74af-430b-bdc8-569c3bfa1dda" providerId="ADAL" clId="{CB1EFBC3-10F5-3048-8961-5969497C0019}" dt="2022-11-22T22:49:35.004" v="69123"/>
          <ac:spMkLst>
            <pc:docMk/>
            <pc:sldMk cId="4252749090" sldId="389"/>
            <ac:spMk id="103" creationId="{ECEAD218-0AB4-73B3-1032-6B53921F7711}"/>
          </ac:spMkLst>
        </pc:spChg>
        <pc:spChg chg="add del mod replST">
          <ac:chgData name="Merlin Gutter" userId="2abc6f04-74af-430b-bdc8-569c3bfa1dda" providerId="ADAL" clId="{CB1EFBC3-10F5-3048-8961-5969497C0019}" dt="2022-11-22T22:49:35.008" v="69137"/>
          <ac:spMkLst>
            <pc:docMk/>
            <pc:sldMk cId="4252749090" sldId="389"/>
            <ac:spMk id="104" creationId="{825DD365-096F-38C9-67BD-5BDEF85DBEC1}"/>
          </ac:spMkLst>
        </pc:spChg>
        <pc:spChg chg="add del mod replST">
          <ac:chgData name="Merlin Gutter" userId="2abc6f04-74af-430b-bdc8-569c3bfa1dda" providerId="ADAL" clId="{CB1EFBC3-10F5-3048-8961-5969497C0019}" dt="2022-11-22T22:49:35.011" v="69151"/>
          <ac:spMkLst>
            <pc:docMk/>
            <pc:sldMk cId="4252749090" sldId="389"/>
            <ac:spMk id="105" creationId="{404302F6-1630-800D-B0D0-E24778C50949}"/>
          </ac:spMkLst>
        </pc:spChg>
        <pc:spChg chg="add del mod replST">
          <ac:chgData name="Merlin Gutter" userId="2abc6f04-74af-430b-bdc8-569c3bfa1dda" providerId="ADAL" clId="{CB1EFBC3-10F5-3048-8961-5969497C0019}" dt="2022-11-22T22:50:14.044" v="70614"/>
          <ac:spMkLst>
            <pc:docMk/>
            <pc:sldMk cId="4252749090" sldId="389"/>
            <ac:spMk id="106" creationId="{5E1A1389-A12A-4CBF-B16F-C6B54786CAFB}"/>
          </ac:spMkLst>
        </pc:spChg>
        <pc:spChg chg="add del mod modVis">
          <ac:chgData name="Merlin Gutter" userId="2abc6f04-74af-430b-bdc8-569c3bfa1dda" providerId="ADAL" clId="{CB1EFBC3-10F5-3048-8961-5969497C0019}" dt="2022-11-22T22:48:56.247" v="68773"/>
          <ac:spMkLst>
            <pc:docMk/>
            <pc:sldMk cId="4252749090" sldId="389"/>
            <ac:spMk id="107" creationId="{4756E3E8-F2A9-4E2C-5717-341BB78AC2A0}"/>
          </ac:spMkLst>
        </pc:spChg>
        <pc:spChg chg="add del mod replST">
          <ac:chgData name="Merlin Gutter" userId="2abc6f04-74af-430b-bdc8-569c3bfa1dda" providerId="ADAL" clId="{CB1EFBC3-10F5-3048-8961-5969497C0019}" dt="2022-11-22T22:49:25.710" v="68939"/>
          <ac:spMkLst>
            <pc:docMk/>
            <pc:sldMk cId="4252749090" sldId="389"/>
            <ac:spMk id="109" creationId="{72BB61A5-F653-DB2C-AE03-262670E9CD12}"/>
          </ac:spMkLst>
        </pc:spChg>
        <pc:spChg chg="add del mod modVis">
          <ac:chgData name="Merlin Gutter" userId="2abc6f04-74af-430b-bdc8-569c3bfa1dda" providerId="ADAL" clId="{CB1EFBC3-10F5-3048-8961-5969497C0019}" dt="2022-11-22T22:49:24.186" v="68923"/>
          <ac:spMkLst>
            <pc:docMk/>
            <pc:sldMk cId="4252749090" sldId="389"/>
            <ac:spMk id="110" creationId="{D7671E8B-9B27-DEAB-B918-C103DF83CEDE}"/>
          </ac:spMkLst>
        </pc:spChg>
        <pc:spChg chg="add del mod modVis">
          <ac:chgData name="Merlin Gutter" userId="2abc6f04-74af-430b-bdc8-569c3bfa1dda" providerId="ADAL" clId="{CB1EFBC3-10F5-3048-8961-5969497C0019}" dt="2022-11-22T22:49:35.130" v="69406"/>
          <ac:spMkLst>
            <pc:docMk/>
            <pc:sldMk cId="4252749090" sldId="389"/>
            <ac:spMk id="114" creationId="{2236F7D6-A68E-6717-029C-085CCFEB6DBD}"/>
          </ac:spMkLst>
        </pc:spChg>
        <pc:spChg chg="add del mod replST">
          <ac:chgData name="Merlin Gutter" userId="2abc6f04-74af-430b-bdc8-569c3bfa1dda" providerId="ADAL" clId="{CB1EFBC3-10F5-3048-8961-5969497C0019}" dt="2022-11-22T22:51:10.661" v="72640"/>
          <ac:spMkLst>
            <pc:docMk/>
            <pc:sldMk cId="4252749090" sldId="389"/>
            <ac:spMk id="115" creationId="{43151CF2-1D7A-5564-33DF-FC2FE63F0660}"/>
          </ac:spMkLst>
        </pc:spChg>
        <pc:spChg chg="add del mod replST">
          <ac:chgData name="Merlin Gutter" userId="2abc6f04-74af-430b-bdc8-569c3bfa1dda" providerId="ADAL" clId="{CB1EFBC3-10F5-3048-8961-5969497C0019}" dt="2022-11-22T22:51:10.665" v="72654"/>
          <ac:spMkLst>
            <pc:docMk/>
            <pc:sldMk cId="4252749090" sldId="389"/>
            <ac:spMk id="116" creationId="{4C50D865-8F8C-57AF-344B-F8524198131F}"/>
          </ac:spMkLst>
        </pc:spChg>
        <pc:spChg chg="add del mod replST">
          <ac:chgData name="Merlin Gutter" userId="2abc6f04-74af-430b-bdc8-569c3bfa1dda" providerId="ADAL" clId="{CB1EFBC3-10F5-3048-8961-5969497C0019}" dt="2022-11-22T22:51:10.669" v="72668"/>
          <ac:spMkLst>
            <pc:docMk/>
            <pc:sldMk cId="4252749090" sldId="389"/>
            <ac:spMk id="117" creationId="{150889F3-8694-0070-DEC8-38BF533D3BCA}"/>
          </ac:spMkLst>
        </pc:spChg>
        <pc:spChg chg="add del mod replST">
          <ac:chgData name="Merlin Gutter" userId="2abc6f04-74af-430b-bdc8-569c3bfa1dda" providerId="ADAL" clId="{CB1EFBC3-10F5-3048-8961-5969497C0019}" dt="2022-11-22T22:51:10.671" v="72680"/>
          <ac:spMkLst>
            <pc:docMk/>
            <pc:sldMk cId="4252749090" sldId="389"/>
            <ac:spMk id="118" creationId="{E1F3C6C6-DE0C-0933-D432-8A8EA16C4683}"/>
          </ac:spMkLst>
        </pc:spChg>
        <pc:spChg chg="add del mod replST">
          <ac:chgData name="Merlin Gutter" userId="2abc6f04-74af-430b-bdc8-569c3bfa1dda" providerId="ADAL" clId="{CB1EFBC3-10F5-3048-8961-5969497C0019}" dt="2022-11-22T22:51:10.675" v="72694"/>
          <ac:spMkLst>
            <pc:docMk/>
            <pc:sldMk cId="4252749090" sldId="389"/>
            <ac:spMk id="119" creationId="{05E42C59-A9BD-B08B-A347-FEB1DFAC2AF4}"/>
          </ac:spMkLst>
        </pc:spChg>
        <pc:spChg chg="add del mod replST">
          <ac:chgData name="Merlin Gutter" userId="2abc6f04-74af-430b-bdc8-569c3bfa1dda" providerId="ADAL" clId="{CB1EFBC3-10F5-3048-8961-5969497C0019}" dt="2022-11-22T22:51:10.678" v="72708"/>
          <ac:spMkLst>
            <pc:docMk/>
            <pc:sldMk cId="4252749090" sldId="389"/>
            <ac:spMk id="120" creationId="{8F99DA16-4007-DC7F-9007-568752C65C7E}"/>
          </ac:spMkLst>
        </pc:spChg>
        <pc:spChg chg="add del mod replST">
          <ac:chgData name="Merlin Gutter" userId="2abc6f04-74af-430b-bdc8-569c3bfa1dda" providerId="ADAL" clId="{CB1EFBC3-10F5-3048-8961-5969497C0019}" dt="2022-11-22T22:49:37.731" v="69422"/>
          <ac:spMkLst>
            <pc:docMk/>
            <pc:sldMk cId="4252749090" sldId="389"/>
            <ac:spMk id="121" creationId="{33DF5D04-28E5-718E-93F0-B0013E8F46F4}"/>
          </ac:spMkLst>
        </pc:spChg>
        <pc:spChg chg="add del mod replST">
          <ac:chgData name="Merlin Gutter" userId="2abc6f04-74af-430b-bdc8-569c3bfa1dda" providerId="ADAL" clId="{CB1EFBC3-10F5-3048-8961-5969497C0019}" dt="2022-11-22T22:49:44.509" v="69726"/>
          <ac:spMkLst>
            <pc:docMk/>
            <pc:sldMk cId="4252749090" sldId="389"/>
            <ac:spMk id="125" creationId="{7FA6A3C1-74C2-4B8F-8D7C-BD3EAFE9C37F}"/>
          </ac:spMkLst>
        </pc:spChg>
        <pc:spChg chg="add del mod modVis">
          <ac:chgData name="Merlin Gutter" userId="2abc6f04-74af-430b-bdc8-569c3bfa1dda" providerId="ADAL" clId="{CB1EFBC3-10F5-3048-8961-5969497C0019}" dt="2022-11-22T22:49:42.519" v="69710"/>
          <ac:spMkLst>
            <pc:docMk/>
            <pc:sldMk cId="4252749090" sldId="389"/>
            <ac:spMk id="126" creationId="{79912A09-C24B-B619-9885-217522033D7B}"/>
          </ac:spMkLst>
        </pc:spChg>
        <pc:spChg chg="add del mod replST">
          <ac:chgData name="Merlin Gutter" userId="2abc6f04-74af-430b-bdc8-569c3bfa1dda" providerId="ADAL" clId="{CB1EFBC3-10F5-3048-8961-5969497C0019}" dt="2022-11-22T22:49:53.412" v="69980"/>
          <ac:spMkLst>
            <pc:docMk/>
            <pc:sldMk cId="4252749090" sldId="389"/>
            <ac:spMk id="129" creationId="{E1914DC8-F375-F177-A24D-AE51D2D02234}"/>
          </ac:spMkLst>
        </pc:spChg>
        <pc:spChg chg="add del mod modVis">
          <ac:chgData name="Merlin Gutter" userId="2abc6f04-74af-430b-bdc8-569c3bfa1dda" providerId="ADAL" clId="{CB1EFBC3-10F5-3048-8961-5969497C0019}" dt="2022-11-22T22:49:49.095" v="69912"/>
          <ac:spMkLst>
            <pc:docMk/>
            <pc:sldMk cId="4252749090" sldId="389"/>
            <ac:spMk id="130" creationId="{6BADE9F3-F1B8-3B97-2282-666519A8A630}"/>
          </ac:spMkLst>
        </pc:spChg>
        <pc:spChg chg="add del mod replST">
          <ac:chgData name="Merlin Gutter" userId="2abc6f04-74af-430b-bdc8-569c3bfa1dda" providerId="ADAL" clId="{CB1EFBC3-10F5-3048-8961-5969497C0019}" dt="2022-11-22T22:49:57.035" v="70182"/>
          <ac:spMkLst>
            <pc:docMk/>
            <pc:sldMk cId="4252749090" sldId="389"/>
            <ac:spMk id="134" creationId="{75277250-4869-6ED7-E4D7-2462CCD81E00}"/>
          </ac:spMkLst>
        </pc:spChg>
        <pc:spChg chg="add del mod modVis">
          <ac:chgData name="Merlin Gutter" userId="2abc6f04-74af-430b-bdc8-569c3bfa1dda" providerId="ADAL" clId="{CB1EFBC3-10F5-3048-8961-5969497C0019}" dt="2022-11-22T22:49:55.514" v="70166"/>
          <ac:spMkLst>
            <pc:docMk/>
            <pc:sldMk cId="4252749090" sldId="389"/>
            <ac:spMk id="135" creationId="{B2E27A79-C140-7109-656A-E7854F0B81F0}"/>
          </ac:spMkLst>
        </pc:spChg>
        <pc:spChg chg="add del mod replST">
          <ac:chgData name="Merlin Gutter" userId="2abc6f04-74af-430b-bdc8-569c3bfa1dda" providerId="ADAL" clId="{CB1EFBC3-10F5-3048-8961-5969497C0019}" dt="2022-11-22T22:50:08.957" v="70434"/>
          <ac:spMkLst>
            <pc:docMk/>
            <pc:sldMk cId="4252749090" sldId="389"/>
            <ac:spMk id="139" creationId="{AFE5B4D2-B9BD-BCEC-A52C-B003451B8795}"/>
          </ac:spMkLst>
        </pc:spChg>
        <pc:spChg chg="add del mod modVis">
          <ac:chgData name="Merlin Gutter" userId="2abc6f04-74af-430b-bdc8-569c3bfa1dda" providerId="ADAL" clId="{CB1EFBC3-10F5-3048-8961-5969497C0019}" dt="2022-11-22T22:50:06.991" v="70418"/>
          <ac:spMkLst>
            <pc:docMk/>
            <pc:sldMk cId="4252749090" sldId="389"/>
            <ac:spMk id="140" creationId="{ED9EE72F-0991-6DD2-C200-6E610C0FC13D}"/>
          </ac:spMkLst>
        </pc:spChg>
        <pc:spChg chg="add del mod modVis">
          <ac:chgData name="Merlin Gutter" userId="2abc6f04-74af-430b-bdc8-569c3bfa1dda" providerId="ADAL" clId="{CB1EFBC3-10F5-3048-8961-5969497C0019}" dt="2022-11-22T22:50:14.069" v="70675"/>
          <ac:spMkLst>
            <pc:docMk/>
            <pc:sldMk cId="4252749090" sldId="389"/>
            <ac:spMk id="143" creationId="{1B7B7951-16A1-59A0-C86D-173B584682C2}"/>
          </ac:spMkLst>
        </pc:spChg>
        <pc:spChg chg="add del mod replST">
          <ac:chgData name="Merlin Gutter" userId="2abc6f04-74af-430b-bdc8-569c3bfa1dda" providerId="ADAL" clId="{CB1EFBC3-10F5-3048-8961-5969497C0019}" dt="2022-11-22T22:50:19.393" v="70834"/>
          <ac:spMkLst>
            <pc:docMk/>
            <pc:sldMk cId="4252749090" sldId="389"/>
            <ac:spMk id="145" creationId="{67A236D3-C011-CF02-940B-FA1F30453652}"/>
          </ac:spMkLst>
        </pc:spChg>
        <pc:spChg chg="add del mod modVis">
          <ac:chgData name="Merlin Gutter" userId="2abc6f04-74af-430b-bdc8-569c3bfa1dda" providerId="ADAL" clId="{CB1EFBC3-10F5-3048-8961-5969497C0019}" dt="2022-11-22T22:50:17.095" v="70821"/>
          <ac:spMkLst>
            <pc:docMk/>
            <pc:sldMk cId="4252749090" sldId="389"/>
            <ac:spMk id="146" creationId="{40E9D398-C231-138E-CEE8-9D44F441417C}"/>
          </ac:spMkLst>
        </pc:spChg>
        <pc:spChg chg="add del mod modVis">
          <ac:chgData name="Merlin Gutter" userId="2abc6f04-74af-430b-bdc8-569c3bfa1dda" providerId="ADAL" clId="{CB1EFBC3-10F5-3048-8961-5969497C0019}" dt="2022-11-22T22:50:21.888" v="71094"/>
          <ac:spMkLst>
            <pc:docMk/>
            <pc:sldMk cId="4252749090" sldId="389"/>
            <ac:spMk id="149" creationId="{4CC1C958-6F0A-BF24-BA7D-023D9916D7AC}"/>
          </ac:spMkLst>
        </pc:spChg>
        <pc:spChg chg="add del mod replST">
          <ac:chgData name="Merlin Gutter" userId="2abc6f04-74af-430b-bdc8-569c3bfa1dda" providerId="ADAL" clId="{CB1EFBC3-10F5-3048-8961-5969497C0019}" dt="2022-11-22T22:50:56.400" v="72003"/>
          <ac:spMkLst>
            <pc:docMk/>
            <pc:sldMk cId="4252749090" sldId="389"/>
            <ac:spMk id="150" creationId="{4FB2F1E4-F48E-6864-D792-B6B0F934D752}"/>
          </ac:spMkLst>
        </pc:spChg>
        <pc:spChg chg="add del mod replST">
          <ac:chgData name="Merlin Gutter" userId="2abc6f04-74af-430b-bdc8-569c3bfa1dda" providerId="ADAL" clId="{CB1EFBC3-10F5-3048-8961-5969497C0019}" dt="2022-11-22T22:50:43.181" v="71591"/>
          <ac:spMkLst>
            <pc:docMk/>
            <pc:sldMk cId="4252749090" sldId="389"/>
            <ac:spMk id="151" creationId="{2667208A-128B-A81A-97DF-8A65E90B95ED}"/>
          </ac:spMkLst>
        </pc:spChg>
        <pc:spChg chg="add del mod replST">
          <ac:chgData name="Merlin Gutter" userId="2abc6f04-74af-430b-bdc8-569c3bfa1dda" providerId="ADAL" clId="{CB1EFBC3-10F5-3048-8961-5969497C0019}" dt="2022-11-22T22:50:56.401" v="72007"/>
          <ac:spMkLst>
            <pc:docMk/>
            <pc:sldMk cId="4252749090" sldId="389"/>
            <ac:spMk id="153" creationId="{1C3DBD07-1A1B-BD70-E006-BAACD9EFD253}"/>
          </ac:spMkLst>
        </pc:spChg>
        <pc:spChg chg="add del mod modVis">
          <ac:chgData name="Merlin Gutter" userId="2abc6f04-74af-430b-bdc8-569c3bfa1dda" providerId="ADAL" clId="{CB1EFBC3-10F5-3048-8961-5969497C0019}" dt="2022-11-22T22:50:24.943" v="71308"/>
          <ac:spMkLst>
            <pc:docMk/>
            <pc:sldMk cId="4252749090" sldId="389"/>
            <ac:spMk id="154" creationId="{F416C125-6C96-50CC-F33F-337B5E81457F}"/>
          </ac:spMkLst>
        </pc:spChg>
        <pc:spChg chg="add del mod replST">
          <ac:chgData name="Merlin Gutter" userId="2abc6f04-74af-430b-bdc8-569c3bfa1dda" providerId="ADAL" clId="{CB1EFBC3-10F5-3048-8961-5969497C0019}" dt="2022-11-22T22:50:34.411" v="71485"/>
          <ac:spMkLst>
            <pc:docMk/>
            <pc:sldMk cId="4252749090" sldId="389"/>
            <ac:spMk id="155" creationId="{EFED3935-A414-82A4-1A98-C6E06B31DEDA}"/>
          </ac:spMkLst>
        </pc:spChg>
        <pc:spChg chg="add del mod replST">
          <ac:chgData name="Merlin Gutter" userId="2abc6f04-74af-430b-bdc8-569c3bfa1dda" providerId="ADAL" clId="{CB1EFBC3-10F5-3048-8961-5969497C0019}" dt="2022-11-23T22:27:55.845" v="119872"/>
          <ac:spMkLst>
            <pc:docMk/>
            <pc:sldMk cId="4252749090" sldId="389"/>
            <ac:spMk id="165" creationId="{DA19C16D-9FF7-6243-A40F-6C343F899A0A}"/>
          </ac:spMkLst>
        </pc:spChg>
        <pc:spChg chg="add del mod modVis">
          <ac:chgData name="Merlin Gutter" userId="2abc6f04-74af-430b-bdc8-569c3bfa1dda" providerId="ADAL" clId="{CB1EFBC3-10F5-3048-8961-5969497C0019}" dt="2022-11-22T22:50:46.228" v="71757"/>
          <ac:spMkLst>
            <pc:docMk/>
            <pc:sldMk cId="4252749090" sldId="389"/>
            <ac:spMk id="166" creationId="{24EDFE68-EA14-C314-9B5F-123F3705D54C}"/>
          </ac:spMkLst>
        </pc:spChg>
        <pc:spChg chg="add del mod replST">
          <ac:chgData name="Merlin Gutter" userId="2abc6f04-74af-430b-bdc8-569c3bfa1dda" providerId="ADAL" clId="{CB1EFBC3-10F5-3048-8961-5969497C0019}" dt="2022-11-22T22:54:21.879" v="73720"/>
          <ac:spMkLst>
            <pc:docMk/>
            <pc:sldMk cId="4252749090" sldId="389"/>
            <ac:spMk id="168" creationId="{C931CA45-8B7B-A418-90D8-7C8822B94056}"/>
          </ac:spMkLst>
        </pc:spChg>
        <pc:spChg chg="add del mod modVis">
          <ac:chgData name="Merlin Gutter" userId="2abc6f04-74af-430b-bdc8-569c3bfa1dda" providerId="ADAL" clId="{CB1EFBC3-10F5-3048-8961-5969497C0019}" dt="2022-11-22T22:50:48.603" v="71884"/>
          <ac:spMkLst>
            <pc:docMk/>
            <pc:sldMk cId="4252749090" sldId="389"/>
            <ac:spMk id="169" creationId="{6F320005-F33E-4598-CBCB-4D4CA0C6647A}"/>
          </ac:spMkLst>
        </pc:spChg>
        <pc:spChg chg="add del mod modVis">
          <ac:chgData name="Merlin Gutter" userId="2abc6f04-74af-430b-bdc8-569c3bfa1dda" providerId="ADAL" clId="{CB1EFBC3-10F5-3048-8961-5969497C0019}" dt="2022-11-22T22:50:56.427" v="72074"/>
          <ac:spMkLst>
            <pc:docMk/>
            <pc:sldMk cId="4252749090" sldId="389"/>
            <ac:spMk id="172" creationId="{90709A42-1922-BB58-4574-2F6B5B3E297A}"/>
          </ac:spMkLst>
        </pc:spChg>
        <pc:spChg chg="add del mod replST">
          <ac:chgData name="Merlin Gutter" userId="2abc6f04-74af-430b-bdc8-569c3bfa1dda" providerId="ADAL" clId="{CB1EFBC3-10F5-3048-8961-5969497C0019}" dt="2022-11-22T22:51:03.420" v="72241"/>
          <ac:spMkLst>
            <pc:docMk/>
            <pc:sldMk cId="4252749090" sldId="389"/>
            <ac:spMk id="174" creationId="{940FC635-67B2-AA2C-8220-7B531CC521F2}"/>
          </ac:spMkLst>
        </pc:spChg>
        <pc:spChg chg="add del mod modVis">
          <ac:chgData name="Merlin Gutter" userId="2abc6f04-74af-430b-bdc8-569c3bfa1dda" providerId="ADAL" clId="{CB1EFBC3-10F5-3048-8961-5969497C0019}" dt="2022-11-22T22:51:00.676" v="72226"/>
          <ac:spMkLst>
            <pc:docMk/>
            <pc:sldMk cId="4252749090" sldId="389"/>
            <ac:spMk id="175" creationId="{0CD6E9EE-76FB-E110-4EF9-E2BAAB8AEDDD}"/>
          </ac:spMkLst>
        </pc:spChg>
        <pc:spChg chg="add mod replST">
          <ac:chgData name="Merlin Gutter" userId="2abc6f04-74af-430b-bdc8-569c3bfa1dda" providerId="ADAL" clId="{CB1EFBC3-10F5-3048-8961-5969497C0019}" dt="2022-11-22T22:51:07.113" v="72570"/>
          <ac:spMkLst>
            <pc:docMk/>
            <pc:sldMk cId="4252749090" sldId="389"/>
            <ac:spMk id="178" creationId="{66A33533-B8C9-530B-69FC-9C0286F9C4DE}"/>
          </ac:spMkLst>
        </pc:spChg>
        <pc:spChg chg="add del mod modVis">
          <ac:chgData name="Merlin Gutter" userId="2abc6f04-74af-430b-bdc8-569c3bfa1dda" providerId="ADAL" clId="{CB1EFBC3-10F5-3048-8961-5969497C0019}" dt="2022-11-22T22:51:07.113" v="72570"/>
          <ac:spMkLst>
            <pc:docMk/>
            <pc:sldMk cId="4252749090" sldId="389"/>
            <ac:spMk id="179" creationId="{59837823-4180-E508-1164-D24B8E00990A}"/>
          </ac:spMkLst>
        </pc:spChg>
        <pc:spChg chg="add del mod replST delST">
          <ac:chgData name="Merlin Gutter" userId="2abc6f04-74af-430b-bdc8-569c3bfa1dda" providerId="ADAL" clId="{CB1EFBC3-10F5-3048-8961-5969497C0019}" dt="2022-11-22T22:51:07.113" v="72570"/>
          <ac:spMkLst>
            <pc:docMk/>
            <pc:sldMk cId="4252749090" sldId="389"/>
            <ac:spMk id="180" creationId="{64E2BFBF-8DF7-6D6A-814C-6B0D84382DE2}"/>
          </ac:spMkLst>
        </pc:spChg>
        <pc:spChg chg="add del mod replST">
          <ac:chgData name="Merlin Gutter" userId="2abc6f04-74af-430b-bdc8-569c3bfa1dda" providerId="ADAL" clId="{CB1EFBC3-10F5-3048-8961-5969497C0019}" dt="2022-11-22T22:51:10.791" v="72954"/>
          <ac:spMkLst>
            <pc:docMk/>
            <pc:sldMk cId="4252749090" sldId="389"/>
            <ac:spMk id="182" creationId="{0C298197-DE39-83EE-FF81-2A9DBEAE43E7}"/>
          </ac:spMkLst>
        </pc:spChg>
        <pc:spChg chg="add del mod modVis">
          <ac:chgData name="Merlin Gutter" userId="2abc6f04-74af-430b-bdc8-569c3bfa1dda" providerId="ADAL" clId="{CB1EFBC3-10F5-3048-8961-5969497C0019}" dt="2022-11-22T22:51:10.814" v="73004"/>
          <ac:spMkLst>
            <pc:docMk/>
            <pc:sldMk cId="4252749090" sldId="389"/>
            <ac:spMk id="183" creationId="{874989BE-C119-AC37-D317-F990E907CA6A}"/>
          </ac:spMkLst>
        </pc:spChg>
        <pc:spChg chg="add del mod replST">
          <ac:chgData name="Merlin Gutter" userId="2abc6f04-74af-430b-bdc8-569c3bfa1dda" providerId="ADAL" clId="{CB1EFBC3-10F5-3048-8961-5969497C0019}" dt="2022-11-22T22:54:21.747" v="73468"/>
          <ac:spMkLst>
            <pc:docMk/>
            <pc:sldMk cId="4252749090" sldId="389"/>
            <ac:spMk id="184" creationId="{8BCB816E-3CF8-362D-FD74-2F9804DBA9E0}"/>
          </ac:spMkLst>
        </pc:spChg>
        <pc:spChg chg="add del mod replST">
          <ac:chgData name="Merlin Gutter" userId="2abc6f04-74af-430b-bdc8-569c3bfa1dda" providerId="ADAL" clId="{CB1EFBC3-10F5-3048-8961-5969497C0019}" dt="2022-11-22T22:54:21.746" v="73466"/>
          <ac:spMkLst>
            <pc:docMk/>
            <pc:sldMk cId="4252749090" sldId="389"/>
            <ac:spMk id="185" creationId="{203DBF9C-5C75-BBCC-C241-00FF4DD24FAB}"/>
          </ac:spMkLst>
        </pc:spChg>
        <pc:spChg chg="add del mod replST">
          <ac:chgData name="Merlin Gutter" userId="2abc6f04-74af-430b-bdc8-569c3bfa1dda" providerId="ADAL" clId="{CB1EFBC3-10F5-3048-8961-5969497C0019}" dt="2022-11-22T22:54:21.744" v="73464"/>
          <ac:spMkLst>
            <pc:docMk/>
            <pc:sldMk cId="4252749090" sldId="389"/>
            <ac:spMk id="186" creationId="{C497F9C1-B70C-9EA3-251D-2A783AA76720}"/>
          </ac:spMkLst>
        </pc:spChg>
        <pc:spChg chg="add del mod replST">
          <ac:chgData name="Merlin Gutter" userId="2abc6f04-74af-430b-bdc8-569c3bfa1dda" providerId="ADAL" clId="{CB1EFBC3-10F5-3048-8961-5969497C0019}" dt="2022-11-22T23:27:50.172" v="75169"/>
          <ac:spMkLst>
            <pc:docMk/>
            <pc:sldMk cId="4252749090" sldId="389"/>
            <ac:spMk id="187" creationId="{10D5071A-F7B7-E4E3-3CD0-82E0C727A1F1}"/>
          </ac:spMkLst>
        </pc:spChg>
        <pc:spChg chg="add del mod replST">
          <ac:chgData name="Merlin Gutter" userId="2abc6f04-74af-430b-bdc8-569c3bfa1dda" providerId="ADAL" clId="{CB1EFBC3-10F5-3048-8961-5969497C0019}" dt="2022-11-22T23:27:50.178" v="75183"/>
          <ac:spMkLst>
            <pc:docMk/>
            <pc:sldMk cId="4252749090" sldId="389"/>
            <ac:spMk id="188" creationId="{FF3EB5C8-5BBD-D28C-7286-7B2DA1035650}"/>
          </ac:spMkLst>
        </pc:spChg>
        <pc:spChg chg="add del mod replST">
          <ac:chgData name="Merlin Gutter" userId="2abc6f04-74af-430b-bdc8-569c3bfa1dda" providerId="ADAL" clId="{CB1EFBC3-10F5-3048-8961-5969497C0019}" dt="2022-11-22T23:27:50.184" v="75197"/>
          <ac:spMkLst>
            <pc:docMk/>
            <pc:sldMk cId="4252749090" sldId="389"/>
            <ac:spMk id="189" creationId="{E70EDB11-EB01-2F61-9D39-615022A3D13D}"/>
          </ac:spMkLst>
        </pc:spChg>
        <pc:spChg chg="add del mod replST">
          <ac:chgData name="Merlin Gutter" userId="2abc6f04-74af-430b-bdc8-569c3bfa1dda" providerId="ADAL" clId="{CB1EFBC3-10F5-3048-8961-5969497C0019}" dt="2022-11-22T22:51:17.709" v="73116"/>
          <ac:spMkLst>
            <pc:docMk/>
            <pc:sldMk cId="4252749090" sldId="389"/>
            <ac:spMk id="190" creationId="{7143F940-7244-28B0-7EB2-9396712C105E}"/>
          </ac:spMkLst>
        </pc:spChg>
        <pc:spChg chg="add del mod replST">
          <ac:chgData name="Merlin Gutter" userId="2abc6f04-74af-430b-bdc8-569c3bfa1dda" providerId="ADAL" clId="{CB1EFBC3-10F5-3048-8961-5969497C0019}" dt="2022-11-22T22:54:28.235" v="73896"/>
          <ac:spMkLst>
            <pc:docMk/>
            <pc:sldMk cId="4252749090" sldId="389"/>
            <ac:spMk id="200" creationId="{4A29B6C1-A123-D3CB-FAC0-9F1DBA384F03}"/>
          </ac:spMkLst>
        </pc:spChg>
        <pc:spChg chg="add del mod modVis">
          <ac:chgData name="Merlin Gutter" userId="2abc6f04-74af-430b-bdc8-569c3bfa1dda" providerId="ADAL" clId="{CB1EFBC3-10F5-3048-8961-5969497C0019}" dt="2022-11-22T22:54:21.897" v="73756"/>
          <ac:spMkLst>
            <pc:docMk/>
            <pc:sldMk cId="4252749090" sldId="389"/>
            <ac:spMk id="201" creationId="{839FE88A-F0C2-A659-DD04-023F959D9E49}"/>
          </ac:spMkLst>
        </pc:spChg>
        <pc:spChg chg="add del mod replST">
          <ac:chgData name="Merlin Gutter" userId="2abc6f04-74af-430b-bdc8-569c3bfa1dda" providerId="ADAL" clId="{CB1EFBC3-10F5-3048-8961-5969497C0019}" dt="2022-11-22T22:54:28.236" v="73900"/>
          <ac:spMkLst>
            <pc:docMk/>
            <pc:sldMk cId="4252749090" sldId="389"/>
            <ac:spMk id="202" creationId="{045788D7-38D9-0F02-E1AB-31AC9818AB69}"/>
          </ac:spMkLst>
        </pc:spChg>
        <pc:spChg chg="add del mod replST">
          <ac:chgData name="Merlin Gutter" userId="2abc6f04-74af-430b-bdc8-569c3bfa1dda" providerId="ADAL" clId="{CB1EFBC3-10F5-3048-8961-5969497C0019}" dt="2022-11-22T22:54:28.236" v="73902"/>
          <ac:spMkLst>
            <pc:docMk/>
            <pc:sldMk cId="4252749090" sldId="389"/>
            <ac:spMk id="203" creationId="{A2F397DD-D16F-850E-1C5C-D0470832D0C8}"/>
          </ac:spMkLst>
        </pc:spChg>
        <pc:spChg chg="add del mod replST">
          <ac:chgData name="Merlin Gutter" userId="2abc6f04-74af-430b-bdc8-569c3bfa1dda" providerId="ADAL" clId="{CB1EFBC3-10F5-3048-8961-5969497C0019}" dt="2022-11-22T23:27:50.191" v="75209"/>
          <ac:spMkLst>
            <pc:docMk/>
            <pc:sldMk cId="4252749090" sldId="389"/>
            <ac:spMk id="205" creationId="{1721E170-09BC-9AAB-E135-0330F8341E38}"/>
          </ac:spMkLst>
        </pc:spChg>
        <pc:spChg chg="add del mod replST">
          <ac:chgData name="Merlin Gutter" userId="2abc6f04-74af-430b-bdc8-569c3bfa1dda" providerId="ADAL" clId="{CB1EFBC3-10F5-3048-8961-5969497C0019}" dt="2022-11-22T23:27:50.196" v="75223"/>
          <ac:spMkLst>
            <pc:docMk/>
            <pc:sldMk cId="4252749090" sldId="389"/>
            <ac:spMk id="206" creationId="{AB14F7BD-5D0A-0CBB-B5DA-CA8D4D2D12EB}"/>
          </ac:spMkLst>
        </pc:spChg>
        <pc:spChg chg="add del mod replST">
          <ac:chgData name="Merlin Gutter" userId="2abc6f04-74af-430b-bdc8-569c3bfa1dda" providerId="ADAL" clId="{CB1EFBC3-10F5-3048-8961-5969497C0019}" dt="2022-11-22T23:27:50.199" v="75237"/>
          <ac:spMkLst>
            <pc:docMk/>
            <pc:sldMk cId="4252749090" sldId="389"/>
            <ac:spMk id="207" creationId="{BFF6362D-F842-749D-FC7C-AC1AA0375471}"/>
          </ac:spMkLst>
        </pc:spChg>
        <pc:spChg chg="add del mod replST">
          <ac:chgData name="Merlin Gutter" userId="2abc6f04-74af-430b-bdc8-569c3bfa1dda" providerId="ADAL" clId="{CB1EFBC3-10F5-3048-8961-5969497C0019}" dt="2022-11-23T22:28:11.899" v="120626"/>
          <ac:spMkLst>
            <pc:docMk/>
            <pc:sldMk cId="4252749090" sldId="389"/>
            <ac:spMk id="208" creationId="{086E895D-7973-9067-C341-8D09F13D18A4}"/>
          </ac:spMkLst>
        </pc:spChg>
        <pc:spChg chg="add del mod modVis">
          <ac:chgData name="Merlin Gutter" userId="2abc6f04-74af-430b-bdc8-569c3bfa1dda" providerId="ADAL" clId="{CB1EFBC3-10F5-3048-8961-5969497C0019}" dt="2022-11-22T22:54:28.258" v="73953"/>
          <ac:spMkLst>
            <pc:docMk/>
            <pc:sldMk cId="4252749090" sldId="389"/>
            <ac:spMk id="209" creationId="{1139764D-371F-ED6F-9532-B2A1B544AE61}"/>
          </ac:spMkLst>
        </pc:spChg>
        <pc:spChg chg="add del mod replST delST">
          <ac:chgData name="Merlin Gutter" userId="2abc6f04-74af-430b-bdc8-569c3bfa1dda" providerId="ADAL" clId="{CB1EFBC3-10F5-3048-8961-5969497C0019}" dt="2022-11-22T23:26:25.782" v="74346"/>
          <ac:spMkLst>
            <pc:docMk/>
            <pc:sldMk cId="4252749090" sldId="389"/>
            <ac:spMk id="211" creationId="{54D6EFFB-C439-119B-9D23-5FBE9BB0757B}"/>
          </ac:spMkLst>
        </pc:spChg>
        <pc:spChg chg="add del mod modVis">
          <ac:chgData name="Merlin Gutter" userId="2abc6f04-74af-430b-bdc8-569c3bfa1dda" providerId="ADAL" clId="{CB1EFBC3-10F5-3048-8961-5969497C0019}" dt="2022-11-22T23:26:25.782" v="74346"/>
          <ac:spMkLst>
            <pc:docMk/>
            <pc:sldMk cId="4252749090" sldId="389"/>
            <ac:spMk id="212" creationId="{5461A067-5F8B-E258-8C22-EE07923926A2}"/>
          </ac:spMkLst>
        </pc:spChg>
        <pc:spChg chg="add del mod replST delST">
          <ac:chgData name="Merlin Gutter" userId="2abc6f04-74af-430b-bdc8-569c3bfa1dda" providerId="ADAL" clId="{CB1EFBC3-10F5-3048-8961-5969497C0019}" dt="2022-11-22T23:26:25.782" v="74346"/>
          <ac:spMkLst>
            <pc:docMk/>
            <pc:sldMk cId="4252749090" sldId="389"/>
            <ac:spMk id="213" creationId="{66CBB1E8-C3DD-AFE3-606E-A9D6AFB4B970}"/>
          </ac:spMkLst>
        </pc:spChg>
        <pc:spChg chg="add del mod modVis">
          <ac:chgData name="Merlin Gutter" userId="2abc6f04-74af-430b-bdc8-569c3bfa1dda" providerId="ADAL" clId="{CB1EFBC3-10F5-3048-8961-5969497C0019}" dt="2022-11-22T23:26:46.949" v="74635"/>
          <ac:spMkLst>
            <pc:docMk/>
            <pc:sldMk cId="4252749090" sldId="389"/>
            <ac:spMk id="215" creationId="{99101247-ECD7-00A5-EB10-A6399F84859E}"/>
          </ac:spMkLst>
        </pc:spChg>
        <pc:spChg chg="add del mod replST">
          <ac:chgData name="Merlin Gutter" userId="2abc6f04-74af-430b-bdc8-569c3bfa1dda" providerId="ADAL" clId="{CB1EFBC3-10F5-3048-8961-5969497C0019}" dt="2022-11-22T23:29:36.695" v="75598"/>
          <ac:spMkLst>
            <pc:docMk/>
            <pc:sldMk cId="4252749090" sldId="389"/>
            <ac:spMk id="216" creationId="{CBEF00B8-8748-9F64-7045-EBDAF821FCA8}"/>
          </ac:spMkLst>
        </pc:spChg>
        <pc:spChg chg="add del mod replST">
          <ac:chgData name="Merlin Gutter" userId="2abc6f04-74af-430b-bdc8-569c3bfa1dda" providerId="ADAL" clId="{CB1EFBC3-10F5-3048-8961-5969497C0019}" dt="2022-11-22T23:29:38.376" v="75639"/>
          <ac:spMkLst>
            <pc:docMk/>
            <pc:sldMk cId="4252749090" sldId="389"/>
            <ac:spMk id="217" creationId="{170BE20F-054C-56BA-26C0-C2C5BD79E1F7}"/>
          </ac:spMkLst>
        </pc:spChg>
        <pc:spChg chg="add del mod replST">
          <ac:chgData name="Merlin Gutter" userId="2abc6f04-74af-430b-bdc8-569c3bfa1dda" providerId="ADAL" clId="{CB1EFBC3-10F5-3048-8961-5969497C0019}" dt="2022-11-22T23:27:16.084" v="75018"/>
          <ac:spMkLst>
            <pc:docMk/>
            <pc:sldMk cId="4252749090" sldId="389"/>
            <ac:spMk id="218" creationId="{9F57293A-B70E-8710-DAAE-50246947B830}"/>
          </ac:spMkLst>
        </pc:spChg>
        <pc:spChg chg="add del mod modVis">
          <ac:chgData name="Merlin Gutter" userId="2abc6f04-74af-430b-bdc8-569c3bfa1dda" providerId="ADAL" clId="{CB1EFBC3-10F5-3048-8961-5969497C0019}" dt="2022-11-22T23:27:03.110" v="74730"/>
          <ac:spMkLst>
            <pc:docMk/>
            <pc:sldMk cId="4252749090" sldId="389"/>
            <ac:spMk id="220" creationId="{32C0F63A-261E-517E-1F28-81A730576943}"/>
          </ac:spMkLst>
        </pc:spChg>
        <pc:spChg chg="add del mod modVis">
          <ac:chgData name="Merlin Gutter" userId="2abc6f04-74af-430b-bdc8-569c3bfa1dda" providerId="ADAL" clId="{CB1EFBC3-10F5-3048-8961-5969497C0019}" dt="2022-11-22T23:27:05.702" v="74825"/>
          <ac:spMkLst>
            <pc:docMk/>
            <pc:sldMk cId="4252749090" sldId="389"/>
            <ac:spMk id="222" creationId="{5735B438-3726-47E8-21B8-92ABB3171BC5}"/>
          </ac:spMkLst>
        </pc:spChg>
        <pc:spChg chg="add del mod modVis">
          <ac:chgData name="Merlin Gutter" userId="2abc6f04-74af-430b-bdc8-569c3bfa1dda" providerId="ADAL" clId="{CB1EFBC3-10F5-3048-8961-5969497C0019}" dt="2022-11-22T23:27:08.983" v="74920"/>
          <ac:spMkLst>
            <pc:docMk/>
            <pc:sldMk cId="4252749090" sldId="389"/>
            <ac:spMk id="224" creationId="{5D412540-DB38-52E2-490E-D6630CE3C9AC}"/>
          </ac:spMkLst>
        </pc:spChg>
        <pc:spChg chg="add del mod modVis">
          <ac:chgData name="Merlin Gutter" userId="2abc6f04-74af-430b-bdc8-569c3bfa1dda" providerId="ADAL" clId="{CB1EFBC3-10F5-3048-8961-5969497C0019}" dt="2022-11-22T23:27:13.324" v="75015"/>
          <ac:spMkLst>
            <pc:docMk/>
            <pc:sldMk cId="4252749090" sldId="389"/>
            <ac:spMk id="226" creationId="{D46133BE-F1FD-AB57-4EA7-8D7BA7D961FA}"/>
          </ac:spMkLst>
        </pc:spChg>
        <pc:spChg chg="add del mod modVis">
          <ac:chgData name="Merlin Gutter" userId="2abc6f04-74af-430b-bdc8-569c3bfa1dda" providerId="ADAL" clId="{CB1EFBC3-10F5-3048-8961-5969497C0019}" dt="2022-11-22T23:27:50.302" v="75447"/>
          <ac:spMkLst>
            <pc:docMk/>
            <pc:sldMk cId="4252749090" sldId="389"/>
            <ac:spMk id="230" creationId="{76E11405-280E-00F0-F722-4DE23D25B971}"/>
          </ac:spMkLst>
        </pc:spChg>
        <pc:spChg chg="add del mod replST">
          <ac:chgData name="Merlin Gutter" userId="2abc6f04-74af-430b-bdc8-569c3bfa1dda" providerId="ADAL" clId="{CB1EFBC3-10F5-3048-8961-5969497C0019}" dt="2022-11-22T23:46:37.949" v="77090"/>
          <ac:spMkLst>
            <pc:docMk/>
            <pc:sldMk cId="4252749090" sldId="389"/>
            <ac:spMk id="231" creationId="{CDE5D87C-AA35-CD64-EDDC-D638545CC847}"/>
          </ac:spMkLst>
        </pc:spChg>
        <pc:spChg chg="add del mod replST">
          <ac:chgData name="Merlin Gutter" userId="2abc6f04-74af-430b-bdc8-569c3bfa1dda" providerId="ADAL" clId="{CB1EFBC3-10F5-3048-8961-5969497C0019}" dt="2022-11-22T23:46:37.957" v="77104"/>
          <ac:spMkLst>
            <pc:docMk/>
            <pc:sldMk cId="4252749090" sldId="389"/>
            <ac:spMk id="232" creationId="{BC3F11BF-E214-9190-EEC3-80FBA0FDDB32}"/>
          </ac:spMkLst>
        </pc:spChg>
        <pc:spChg chg="add del mod replST">
          <ac:chgData name="Merlin Gutter" userId="2abc6f04-74af-430b-bdc8-569c3bfa1dda" providerId="ADAL" clId="{CB1EFBC3-10F5-3048-8961-5969497C0019}" dt="2022-11-22T23:46:37.961" v="77118"/>
          <ac:spMkLst>
            <pc:docMk/>
            <pc:sldMk cId="4252749090" sldId="389"/>
            <ac:spMk id="233" creationId="{3CE0D9B1-C8E6-3660-A89B-65BC6A9D067A}"/>
          </ac:spMkLst>
        </pc:spChg>
        <pc:spChg chg="add del mod replST">
          <ac:chgData name="Merlin Gutter" userId="2abc6f04-74af-430b-bdc8-569c3bfa1dda" providerId="ADAL" clId="{CB1EFBC3-10F5-3048-8961-5969497C0019}" dt="2022-11-22T23:46:37.967" v="77130"/>
          <ac:spMkLst>
            <pc:docMk/>
            <pc:sldMk cId="4252749090" sldId="389"/>
            <ac:spMk id="234" creationId="{6BCAD8EF-3A8E-FB00-E376-53175CE53A1E}"/>
          </ac:spMkLst>
        </pc:spChg>
        <pc:spChg chg="add del mod replST">
          <ac:chgData name="Merlin Gutter" userId="2abc6f04-74af-430b-bdc8-569c3bfa1dda" providerId="ADAL" clId="{CB1EFBC3-10F5-3048-8961-5969497C0019}" dt="2022-11-22T23:46:37.971" v="77144"/>
          <ac:spMkLst>
            <pc:docMk/>
            <pc:sldMk cId="4252749090" sldId="389"/>
            <ac:spMk id="235" creationId="{B3604D56-1A8D-60B7-64ED-168F943CB77E}"/>
          </ac:spMkLst>
        </pc:spChg>
        <pc:spChg chg="add del mod replST">
          <ac:chgData name="Merlin Gutter" userId="2abc6f04-74af-430b-bdc8-569c3bfa1dda" providerId="ADAL" clId="{CB1EFBC3-10F5-3048-8961-5969497C0019}" dt="2022-11-22T23:46:37.974" v="77158"/>
          <ac:spMkLst>
            <pc:docMk/>
            <pc:sldMk cId="4252749090" sldId="389"/>
            <ac:spMk id="236" creationId="{3B2755CD-2814-D943-AD70-8864EF114091}"/>
          </ac:spMkLst>
        </pc:spChg>
        <pc:spChg chg="add del mod modVis">
          <ac:chgData name="Merlin Gutter" userId="2abc6f04-74af-430b-bdc8-569c3bfa1dda" providerId="ADAL" clId="{CB1EFBC3-10F5-3048-8961-5969497C0019}" dt="2022-11-22T23:27:55.252" v="75549"/>
          <ac:spMkLst>
            <pc:docMk/>
            <pc:sldMk cId="4252749090" sldId="389"/>
            <ac:spMk id="238" creationId="{AC3AAA23-906F-E430-765C-41952CF00DBC}"/>
          </ac:spMkLst>
        </pc:spChg>
        <pc:spChg chg="add mod">
          <ac:chgData name="Merlin Gutter" userId="2abc6f04-74af-430b-bdc8-569c3bfa1dda" providerId="ADAL" clId="{CB1EFBC3-10F5-3048-8961-5969497C0019}" dt="2022-11-25T00:19:56.247" v="206148"/>
          <ac:spMkLst>
            <pc:docMk/>
            <pc:sldMk cId="4252749090" sldId="389"/>
            <ac:spMk id="256" creationId="{C14A7CD2-9058-71BC-2420-CD0928C1BE62}"/>
          </ac:spMkLst>
        </pc:spChg>
        <pc:spChg chg="add mod">
          <ac:chgData name="Merlin Gutter" userId="2abc6f04-74af-430b-bdc8-569c3bfa1dda" providerId="ADAL" clId="{CB1EFBC3-10F5-3048-8961-5969497C0019}" dt="2022-11-25T00:19:56.247" v="206149"/>
          <ac:spMkLst>
            <pc:docMk/>
            <pc:sldMk cId="4252749090" sldId="389"/>
            <ac:spMk id="257" creationId="{616D8668-3ADA-6A3D-90C5-13E72802FB93}"/>
          </ac:spMkLst>
        </pc:spChg>
        <pc:spChg chg="add mod">
          <ac:chgData name="Merlin Gutter" userId="2abc6f04-74af-430b-bdc8-569c3bfa1dda" providerId="ADAL" clId="{CB1EFBC3-10F5-3048-8961-5969497C0019}" dt="2022-11-25T00:19:56.248" v="206152"/>
          <ac:spMkLst>
            <pc:docMk/>
            <pc:sldMk cId="4252749090" sldId="389"/>
            <ac:spMk id="261" creationId="{62B3E1C6-AA06-88DB-704E-6CA1979CC14B}"/>
          </ac:spMkLst>
        </pc:spChg>
        <pc:spChg chg="add mod">
          <ac:chgData name="Merlin Gutter" userId="2abc6f04-74af-430b-bdc8-569c3bfa1dda" providerId="ADAL" clId="{CB1EFBC3-10F5-3048-8961-5969497C0019}" dt="2022-11-25T00:19:56.248" v="206153"/>
          <ac:spMkLst>
            <pc:docMk/>
            <pc:sldMk cId="4252749090" sldId="389"/>
            <ac:spMk id="263" creationId="{2AF83D96-CDD8-745E-6035-83C9BF2A49A4}"/>
          </ac:spMkLst>
        </pc:spChg>
        <pc:spChg chg="add mod">
          <ac:chgData name="Merlin Gutter" userId="2abc6f04-74af-430b-bdc8-569c3bfa1dda" providerId="ADAL" clId="{CB1EFBC3-10F5-3048-8961-5969497C0019}" dt="2022-11-25T00:19:56.248" v="206154"/>
          <ac:spMkLst>
            <pc:docMk/>
            <pc:sldMk cId="4252749090" sldId="389"/>
            <ac:spMk id="264" creationId="{AA4073CC-CA39-F868-0453-B532326F86BD}"/>
          </ac:spMkLst>
        </pc:spChg>
        <pc:spChg chg="add del mod modVis">
          <ac:chgData name="Merlin Gutter" userId="2abc6f04-74af-430b-bdc8-569c3bfa1dda" providerId="ADAL" clId="{CB1EFBC3-10F5-3048-8961-5969497C0019}" dt="2022-11-22T23:46:12.963" v="76559"/>
          <ac:spMkLst>
            <pc:docMk/>
            <pc:sldMk cId="4252749090" sldId="389"/>
            <ac:spMk id="266" creationId="{97CFA588-EE1D-87E1-CD52-903739FEFE3C}"/>
          </ac:spMkLst>
        </pc:spChg>
        <pc:spChg chg="add del mod replST">
          <ac:chgData name="Merlin Gutter" userId="2abc6f04-74af-430b-bdc8-569c3bfa1dda" providerId="ADAL" clId="{CB1EFBC3-10F5-3048-8961-5969497C0019}" dt="2022-11-22T23:46:26.085" v="76874"/>
          <ac:spMkLst>
            <pc:docMk/>
            <pc:sldMk cId="4252749090" sldId="389"/>
            <ac:spMk id="270" creationId="{33DC065B-930A-40B0-5C73-15839A97CFAA}"/>
          </ac:spMkLst>
        </pc:spChg>
        <pc:spChg chg="add del mod modVis">
          <ac:chgData name="Merlin Gutter" userId="2abc6f04-74af-430b-bdc8-569c3bfa1dda" providerId="ADAL" clId="{CB1EFBC3-10F5-3048-8961-5969497C0019}" dt="2022-11-22T23:46:22.687" v="76866"/>
          <ac:spMkLst>
            <pc:docMk/>
            <pc:sldMk cId="4252749090" sldId="389"/>
            <ac:spMk id="271" creationId="{50410264-1B14-DC12-AFCC-F3FFBB75D63A}"/>
          </ac:spMkLst>
        </pc:spChg>
        <pc:spChg chg="add del mod replST">
          <ac:chgData name="Merlin Gutter" userId="2abc6f04-74af-430b-bdc8-569c3bfa1dda" providerId="ADAL" clId="{CB1EFBC3-10F5-3048-8961-5969497C0019}" dt="2022-11-22T23:46:34.037" v="76985"/>
          <ac:spMkLst>
            <pc:docMk/>
            <pc:sldMk cId="4252749090" sldId="389"/>
            <ac:spMk id="272" creationId="{010AE319-6DB2-43D8-BE23-C77B71B49E40}"/>
          </ac:spMkLst>
        </pc:spChg>
        <pc:spChg chg="add del mod modVis">
          <ac:chgData name="Merlin Gutter" userId="2abc6f04-74af-430b-bdc8-569c3bfa1dda" providerId="ADAL" clId="{CB1EFBC3-10F5-3048-8961-5969497C0019}" dt="2022-11-22T23:46:34.064" v="77029"/>
          <ac:spMkLst>
            <pc:docMk/>
            <pc:sldMk cId="4252749090" sldId="389"/>
            <ac:spMk id="275" creationId="{CD4FFEF4-4DFD-092E-0DEA-A424900359A4}"/>
          </ac:spMkLst>
        </pc:spChg>
        <pc:spChg chg="add del mod modVis">
          <ac:chgData name="Merlin Gutter" userId="2abc6f04-74af-430b-bdc8-569c3bfa1dda" providerId="ADAL" clId="{CB1EFBC3-10F5-3048-8961-5969497C0019}" dt="2022-11-22T23:46:38.095" v="77415"/>
          <ac:spMkLst>
            <pc:docMk/>
            <pc:sldMk cId="4252749090" sldId="389"/>
            <ac:spMk id="277" creationId="{3CB6B313-29C3-D84C-4C1C-78896F50FFA8}"/>
          </ac:spMkLst>
        </pc:spChg>
        <pc:spChg chg="add del mod replST">
          <ac:chgData name="Merlin Gutter" userId="2abc6f04-74af-430b-bdc8-569c3bfa1dda" providerId="ADAL" clId="{CB1EFBC3-10F5-3048-8961-5969497C0019}" dt="2022-11-23T17:38:33.538" v="107103"/>
          <ac:spMkLst>
            <pc:docMk/>
            <pc:sldMk cId="4252749090" sldId="389"/>
            <ac:spMk id="278" creationId="{615AEB64-950C-2742-93DC-A9773C2AC35E}"/>
          </ac:spMkLst>
        </pc:spChg>
        <pc:spChg chg="add del mod replST">
          <ac:chgData name="Merlin Gutter" userId="2abc6f04-74af-430b-bdc8-569c3bfa1dda" providerId="ADAL" clId="{CB1EFBC3-10F5-3048-8961-5969497C0019}" dt="2022-11-23T17:38:33.544" v="107117"/>
          <ac:spMkLst>
            <pc:docMk/>
            <pc:sldMk cId="4252749090" sldId="389"/>
            <ac:spMk id="279" creationId="{6DFC1043-73BE-B036-D997-19D2CDA9EA08}"/>
          </ac:spMkLst>
        </pc:spChg>
        <pc:spChg chg="add del mod replST">
          <ac:chgData name="Merlin Gutter" userId="2abc6f04-74af-430b-bdc8-569c3bfa1dda" providerId="ADAL" clId="{CB1EFBC3-10F5-3048-8961-5969497C0019}" dt="2022-11-23T17:38:33.549" v="107131"/>
          <ac:spMkLst>
            <pc:docMk/>
            <pc:sldMk cId="4252749090" sldId="389"/>
            <ac:spMk id="280" creationId="{20283FBE-035A-13C2-B80F-6C229182E168}"/>
          </ac:spMkLst>
        </pc:spChg>
        <pc:spChg chg="add del mod replST">
          <ac:chgData name="Merlin Gutter" userId="2abc6f04-74af-430b-bdc8-569c3bfa1dda" providerId="ADAL" clId="{CB1EFBC3-10F5-3048-8961-5969497C0019}" dt="2022-11-23T17:38:33.552" v="107143"/>
          <ac:spMkLst>
            <pc:docMk/>
            <pc:sldMk cId="4252749090" sldId="389"/>
            <ac:spMk id="281" creationId="{4FA7C730-E695-DB51-ED80-4781B41BCE29}"/>
          </ac:spMkLst>
        </pc:spChg>
        <pc:spChg chg="add del mod replST">
          <ac:chgData name="Merlin Gutter" userId="2abc6f04-74af-430b-bdc8-569c3bfa1dda" providerId="ADAL" clId="{CB1EFBC3-10F5-3048-8961-5969497C0019}" dt="2022-11-23T17:38:33.556" v="107157"/>
          <ac:spMkLst>
            <pc:docMk/>
            <pc:sldMk cId="4252749090" sldId="389"/>
            <ac:spMk id="282" creationId="{52EF5905-5C05-1C44-C56A-23EF1C42B304}"/>
          </ac:spMkLst>
        </pc:spChg>
        <pc:spChg chg="add del mod replST">
          <ac:chgData name="Merlin Gutter" userId="2abc6f04-74af-430b-bdc8-569c3bfa1dda" providerId="ADAL" clId="{CB1EFBC3-10F5-3048-8961-5969497C0019}" dt="2022-11-23T17:38:33.559" v="107171"/>
          <ac:spMkLst>
            <pc:docMk/>
            <pc:sldMk cId="4252749090" sldId="389"/>
            <ac:spMk id="283" creationId="{C9168C3D-2884-F311-FF07-616429DC8795}"/>
          </ac:spMkLst>
        </pc:spChg>
        <pc:spChg chg="add del mod modVis">
          <ac:chgData name="Merlin Gutter" userId="2abc6f04-74af-430b-bdc8-569c3bfa1dda" providerId="ADAL" clId="{CB1EFBC3-10F5-3048-8961-5969497C0019}" dt="2022-11-22T23:46:41.842" v="77502"/>
          <ac:spMkLst>
            <pc:docMk/>
            <pc:sldMk cId="4252749090" sldId="389"/>
            <ac:spMk id="285" creationId="{14A6C8AC-63DC-749F-24BA-E6CEB54149A0}"/>
          </ac:spMkLst>
        </pc:spChg>
        <pc:spChg chg="add mod">
          <ac:chgData name="Merlin Gutter" userId="2abc6f04-74af-430b-bdc8-569c3bfa1dda" providerId="ADAL" clId="{CB1EFBC3-10F5-3048-8961-5969497C0019}" dt="2022-11-25T00:19:56.249" v="206156"/>
          <ac:spMkLst>
            <pc:docMk/>
            <pc:sldMk cId="4252749090" sldId="389"/>
            <ac:spMk id="303" creationId="{1FAEFA8C-869E-A801-112A-E8DBFDED55F6}"/>
          </ac:spMkLst>
        </pc:spChg>
        <pc:spChg chg="add del mod">
          <ac:chgData name="Merlin Gutter" userId="2abc6f04-74af-430b-bdc8-569c3bfa1dda" providerId="ADAL" clId="{CB1EFBC3-10F5-3048-8961-5969497C0019}" dt="2022-11-23T17:20:18.419" v="80766" actId="478"/>
          <ac:spMkLst>
            <pc:docMk/>
            <pc:sldMk cId="4252749090" sldId="389"/>
            <ac:spMk id="306" creationId="{8A4CE0B7-503E-01E7-0004-FEC5C482F6B1}"/>
          </ac:spMkLst>
        </pc:spChg>
        <pc:spChg chg="add del mod">
          <ac:chgData name="Merlin Gutter" userId="2abc6f04-74af-430b-bdc8-569c3bfa1dda" providerId="ADAL" clId="{CB1EFBC3-10F5-3048-8961-5969497C0019}" dt="2022-11-23T17:20:20.786" v="80767" actId="478"/>
          <ac:spMkLst>
            <pc:docMk/>
            <pc:sldMk cId="4252749090" sldId="389"/>
            <ac:spMk id="307" creationId="{FEFB3AEC-EC66-F46D-2745-39313DAFA1CB}"/>
          </ac:spMkLst>
        </pc:spChg>
        <pc:spChg chg="add del mod modVis">
          <ac:chgData name="Merlin Gutter" userId="2abc6f04-74af-430b-bdc8-569c3bfa1dda" providerId="ADAL" clId="{CB1EFBC3-10F5-3048-8961-5969497C0019}" dt="2022-11-23T16:28:14.258" v="78640"/>
          <ac:spMkLst>
            <pc:docMk/>
            <pc:sldMk cId="4252749090" sldId="389"/>
            <ac:spMk id="309" creationId="{8B97E3E0-7C1D-8872-F22B-29CE7E61AB46}"/>
          </ac:spMkLst>
        </pc:spChg>
        <pc:spChg chg="add del mod modVis">
          <ac:chgData name="Merlin Gutter" userId="2abc6f04-74af-430b-bdc8-569c3bfa1dda" providerId="ADAL" clId="{CB1EFBC3-10F5-3048-8961-5969497C0019}" dt="2022-11-23T16:28:27.023" v="78729"/>
          <ac:spMkLst>
            <pc:docMk/>
            <pc:sldMk cId="4252749090" sldId="389"/>
            <ac:spMk id="311" creationId="{37F59A63-46CB-F6BB-9AEB-1393E08A2ECF}"/>
          </ac:spMkLst>
        </pc:spChg>
        <pc:spChg chg="add del mod modVis">
          <ac:chgData name="Merlin Gutter" userId="2abc6f04-74af-430b-bdc8-569c3bfa1dda" providerId="ADAL" clId="{CB1EFBC3-10F5-3048-8961-5969497C0019}" dt="2022-11-23T16:28:28.371" v="78818"/>
          <ac:spMkLst>
            <pc:docMk/>
            <pc:sldMk cId="4252749090" sldId="389"/>
            <ac:spMk id="313" creationId="{73474B79-D157-E988-0CE7-73587152BF49}"/>
          </ac:spMkLst>
        </pc:spChg>
        <pc:spChg chg="add del mod modVis">
          <ac:chgData name="Merlin Gutter" userId="2abc6f04-74af-430b-bdc8-569c3bfa1dda" providerId="ADAL" clId="{CB1EFBC3-10F5-3048-8961-5969497C0019}" dt="2022-11-23T16:28:49.945" v="78907"/>
          <ac:spMkLst>
            <pc:docMk/>
            <pc:sldMk cId="4252749090" sldId="389"/>
            <ac:spMk id="315" creationId="{ADE28C2D-2832-39E9-6486-1E591AD727DE}"/>
          </ac:spMkLst>
        </pc:spChg>
        <pc:spChg chg="add del mod modVis">
          <ac:chgData name="Merlin Gutter" userId="2abc6f04-74af-430b-bdc8-569c3bfa1dda" providerId="ADAL" clId="{CB1EFBC3-10F5-3048-8961-5969497C0019}" dt="2022-11-23T16:28:52.765" v="78996"/>
          <ac:spMkLst>
            <pc:docMk/>
            <pc:sldMk cId="4252749090" sldId="389"/>
            <ac:spMk id="317" creationId="{8148E735-54CF-54E2-291A-E3DB8D8363D5}"/>
          </ac:spMkLst>
        </pc:spChg>
        <pc:spChg chg="mod topLvl">
          <ac:chgData name="Merlin Gutter" userId="2abc6f04-74af-430b-bdc8-569c3bfa1dda" providerId="ADAL" clId="{CB1EFBC3-10F5-3048-8961-5969497C0019}" dt="2022-11-23T17:14:46.726" v="80529"/>
          <ac:spMkLst>
            <pc:docMk/>
            <pc:sldMk cId="4252749090" sldId="389"/>
            <ac:spMk id="321" creationId="{2FC59868-8C73-A54F-90F2-567172F3AF77}"/>
          </ac:spMkLst>
        </pc:spChg>
        <pc:spChg chg="mod topLvl">
          <ac:chgData name="Merlin Gutter" userId="2abc6f04-74af-430b-bdc8-569c3bfa1dda" providerId="ADAL" clId="{CB1EFBC3-10F5-3048-8961-5969497C0019}" dt="2022-11-23T17:14:46.726" v="80529"/>
          <ac:spMkLst>
            <pc:docMk/>
            <pc:sldMk cId="4252749090" sldId="389"/>
            <ac:spMk id="322" creationId="{A2F18D3D-B04B-1FB5-EB66-471CF83A5272}"/>
          </ac:spMkLst>
        </pc:spChg>
        <pc:spChg chg="add mod">
          <ac:chgData name="Merlin Gutter" userId="2abc6f04-74af-430b-bdc8-569c3bfa1dda" providerId="ADAL" clId="{CB1EFBC3-10F5-3048-8961-5969497C0019}" dt="2022-11-23T17:39:05.183" v="107633"/>
          <ac:spMkLst>
            <pc:docMk/>
            <pc:sldMk cId="4252749090" sldId="389"/>
            <ac:spMk id="328" creationId="{7FEB125F-4FDD-9C3B-4680-789F6D6D869A}"/>
          </ac:spMkLst>
        </pc:spChg>
        <pc:spChg chg="add del mod">
          <ac:chgData name="Merlin Gutter" userId="2abc6f04-74af-430b-bdc8-569c3bfa1dda" providerId="ADAL" clId="{CB1EFBC3-10F5-3048-8961-5969497C0019}" dt="2022-11-23T17:16:45.044" v="80647" actId="478"/>
          <ac:spMkLst>
            <pc:docMk/>
            <pc:sldMk cId="4252749090" sldId="389"/>
            <ac:spMk id="334" creationId="{865AB685-01FE-4A43-1E6F-5CAE4DDD6F83}"/>
          </ac:spMkLst>
        </pc:spChg>
        <pc:spChg chg="add mod">
          <ac:chgData name="Merlin Gutter" userId="2abc6f04-74af-430b-bdc8-569c3bfa1dda" providerId="ADAL" clId="{CB1EFBC3-10F5-3048-8961-5969497C0019}" dt="2022-11-25T00:19:56.249" v="206159"/>
          <ac:spMkLst>
            <pc:docMk/>
            <pc:sldMk cId="4252749090" sldId="389"/>
            <ac:spMk id="335" creationId="{950C7BE0-8B68-2FA6-1497-49433545EAD7}"/>
          </ac:spMkLst>
        </pc:spChg>
        <pc:spChg chg="add mod">
          <ac:chgData name="Merlin Gutter" userId="2abc6f04-74af-430b-bdc8-569c3bfa1dda" providerId="ADAL" clId="{CB1EFBC3-10F5-3048-8961-5969497C0019}" dt="2022-11-23T22:32:36.653" v="123992" actId="20577"/>
          <ac:spMkLst>
            <pc:docMk/>
            <pc:sldMk cId="4252749090" sldId="389"/>
            <ac:spMk id="336" creationId="{FFD4C065-8DB8-3CB4-F58A-05E3FBC63F3A}"/>
          </ac:spMkLst>
        </pc:spChg>
        <pc:spChg chg="mod">
          <ac:chgData name="Merlin Gutter" userId="2abc6f04-74af-430b-bdc8-569c3bfa1dda" providerId="ADAL" clId="{CB1EFBC3-10F5-3048-8961-5969497C0019}" dt="2022-11-23T17:40:17.380" v="107702"/>
          <ac:spMkLst>
            <pc:docMk/>
            <pc:sldMk cId="4252749090" sldId="389"/>
            <ac:spMk id="339" creationId="{DD09DA47-0118-86C5-9768-9CDA76A7A241}"/>
          </ac:spMkLst>
        </pc:spChg>
        <pc:spChg chg="mod">
          <ac:chgData name="Merlin Gutter" userId="2abc6f04-74af-430b-bdc8-569c3bfa1dda" providerId="ADAL" clId="{CB1EFBC3-10F5-3048-8961-5969497C0019}" dt="2022-11-23T22:44:23.460" v="124376" actId="20577"/>
          <ac:spMkLst>
            <pc:docMk/>
            <pc:sldMk cId="4252749090" sldId="389"/>
            <ac:spMk id="340" creationId="{FC762392-0386-7793-04A3-6C87EECD6169}"/>
          </ac:spMkLst>
        </pc:spChg>
        <pc:spChg chg="add del">
          <ac:chgData name="Merlin Gutter" userId="2abc6f04-74af-430b-bdc8-569c3bfa1dda" providerId="ADAL" clId="{CB1EFBC3-10F5-3048-8961-5969497C0019}" dt="2022-11-23T17:20:07.351" v="80761" actId="478"/>
          <ac:spMkLst>
            <pc:docMk/>
            <pc:sldMk cId="4252749090" sldId="389"/>
            <ac:spMk id="342" creationId="{0789EEFF-F53F-2183-E572-E413044E4FCB}"/>
          </ac:spMkLst>
        </pc:spChg>
        <pc:spChg chg="mod">
          <ac:chgData name="Merlin Gutter" userId="2abc6f04-74af-430b-bdc8-569c3bfa1dda" providerId="ADAL" clId="{CB1EFBC3-10F5-3048-8961-5969497C0019}" dt="2022-11-23T17:40:13.540" v="107700"/>
          <ac:spMkLst>
            <pc:docMk/>
            <pc:sldMk cId="4252749090" sldId="389"/>
            <ac:spMk id="344" creationId="{903219E3-D554-3E09-B2C1-F760D58BC0E0}"/>
          </ac:spMkLst>
        </pc:spChg>
        <pc:spChg chg="mod">
          <ac:chgData name="Merlin Gutter" userId="2abc6f04-74af-430b-bdc8-569c3bfa1dda" providerId="ADAL" clId="{CB1EFBC3-10F5-3048-8961-5969497C0019}" dt="2022-11-23T22:44:21.252" v="124374" actId="20577"/>
          <ac:spMkLst>
            <pc:docMk/>
            <pc:sldMk cId="4252749090" sldId="389"/>
            <ac:spMk id="345" creationId="{8CC7FAE0-2EC6-D4D2-6B9D-519F31DADEDE}"/>
          </ac:spMkLst>
        </pc:spChg>
        <pc:spChg chg="add del mod replST">
          <ac:chgData name="Merlin Gutter" userId="2abc6f04-74af-430b-bdc8-569c3bfa1dda" providerId="ADAL" clId="{CB1EFBC3-10F5-3048-8961-5969497C0019}" dt="2022-11-23T17:38:34.987" v="107259"/>
          <ac:spMkLst>
            <pc:docMk/>
            <pc:sldMk cId="4252749090" sldId="389"/>
            <ac:spMk id="353" creationId="{30EBB077-71E5-E85D-22AF-C4F78E346CCF}"/>
          </ac:spMkLst>
        </pc:spChg>
        <pc:spChg chg="add del mod replST">
          <ac:chgData name="Merlin Gutter" userId="2abc6f04-74af-430b-bdc8-569c3bfa1dda" providerId="ADAL" clId="{CB1EFBC3-10F5-3048-8961-5969497C0019}" dt="2022-11-23T17:38:34.993" v="107273"/>
          <ac:spMkLst>
            <pc:docMk/>
            <pc:sldMk cId="4252749090" sldId="389"/>
            <ac:spMk id="354" creationId="{6C4F02ED-4076-B315-6F1E-CBDBA23CB79B}"/>
          </ac:spMkLst>
        </pc:spChg>
        <pc:spChg chg="add del mod replST">
          <ac:chgData name="Merlin Gutter" userId="2abc6f04-74af-430b-bdc8-569c3bfa1dda" providerId="ADAL" clId="{CB1EFBC3-10F5-3048-8961-5969497C0019}" dt="2022-11-23T17:38:34.997" v="107287"/>
          <ac:spMkLst>
            <pc:docMk/>
            <pc:sldMk cId="4252749090" sldId="389"/>
            <ac:spMk id="355" creationId="{ACB1837C-577A-9C83-E8B6-8E0D8C61E461}"/>
          </ac:spMkLst>
        </pc:spChg>
        <pc:spChg chg="add del mod replST">
          <ac:chgData name="Merlin Gutter" userId="2abc6f04-74af-430b-bdc8-569c3bfa1dda" providerId="ADAL" clId="{CB1EFBC3-10F5-3048-8961-5969497C0019}" dt="2022-11-23T17:38:35.001" v="107299"/>
          <ac:spMkLst>
            <pc:docMk/>
            <pc:sldMk cId="4252749090" sldId="389"/>
            <ac:spMk id="356" creationId="{32F4296E-6B6C-FB05-EF04-1305811CE012}"/>
          </ac:spMkLst>
        </pc:spChg>
        <pc:spChg chg="add del mod replST">
          <ac:chgData name="Merlin Gutter" userId="2abc6f04-74af-430b-bdc8-569c3bfa1dda" providerId="ADAL" clId="{CB1EFBC3-10F5-3048-8961-5969497C0019}" dt="2022-11-23T17:38:35.004" v="107313"/>
          <ac:spMkLst>
            <pc:docMk/>
            <pc:sldMk cId="4252749090" sldId="389"/>
            <ac:spMk id="357" creationId="{2E2104A2-4BBA-DBE0-A2F8-733674E283CC}"/>
          </ac:spMkLst>
        </pc:spChg>
        <pc:spChg chg="add del mod replST">
          <ac:chgData name="Merlin Gutter" userId="2abc6f04-74af-430b-bdc8-569c3bfa1dda" providerId="ADAL" clId="{CB1EFBC3-10F5-3048-8961-5969497C0019}" dt="2022-11-23T17:38:35.008" v="107327"/>
          <ac:spMkLst>
            <pc:docMk/>
            <pc:sldMk cId="4252749090" sldId="389"/>
            <ac:spMk id="358" creationId="{9488C530-C7B5-76E5-E2DF-6F9CD13FBF42}"/>
          </ac:spMkLst>
        </pc:spChg>
        <pc:spChg chg="add del mod replST">
          <ac:chgData name="Merlin Gutter" userId="2abc6f04-74af-430b-bdc8-569c3bfa1dda" providerId="ADAL" clId="{CB1EFBC3-10F5-3048-8961-5969497C0019}" dt="2022-11-23T22:28:00.572" v="120247"/>
          <ac:spMkLst>
            <pc:docMk/>
            <pc:sldMk cId="4252749090" sldId="389"/>
            <ac:spMk id="360" creationId="{6118F064-67EE-BF00-CD51-569E39F219EE}"/>
          </ac:spMkLst>
        </pc:spChg>
        <pc:spChg chg="add del mod replST">
          <ac:chgData name="Merlin Gutter" userId="2abc6f04-74af-430b-bdc8-569c3bfa1dda" providerId="ADAL" clId="{CB1EFBC3-10F5-3048-8961-5969497C0019}" dt="2022-11-23T22:28:00.595" v="120261"/>
          <ac:spMkLst>
            <pc:docMk/>
            <pc:sldMk cId="4252749090" sldId="389"/>
            <ac:spMk id="361" creationId="{B6EAF1E3-E28A-B90E-A1A1-03767E106702}"/>
          </ac:spMkLst>
        </pc:spChg>
        <pc:spChg chg="add del mod replST">
          <ac:chgData name="Merlin Gutter" userId="2abc6f04-74af-430b-bdc8-569c3bfa1dda" providerId="ADAL" clId="{CB1EFBC3-10F5-3048-8961-5969497C0019}" dt="2022-11-23T22:28:00.613" v="120275"/>
          <ac:spMkLst>
            <pc:docMk/>
            <pc:sldMk cId="4252749090" sldId="389"/>
            <ac:spMk id="362" creationId="{CBFC25E3-5E8B-4C3B-87AD-6029E474F6B7}"/>
          </ac:spMkLst>
        </pc:spChg>
        <pc:spChg chg="add del mod replST">
          <ac:chgData name="Merlin Gutter" userId="2abc6f04-74af-430b-bdc8-569c3bfa1dda" providerId="ADAL" clId="{CB1EFBC3-10F5-3048-8961-5969497C0019}" dt="2022-11-23T22:27:56.101" v="119968"/>
          <ac:spMkLst>
            <pc:docMk/>
            <pc:sldMk cId="4252749090" sldId="389"/>
            <ac:spMk id="363" creationId="{6E7EA445-C39E-7D75-E03A-AD9049E05A07}"/>
          </ac:spMkLst>
        </pc:spChg>
        <pc:spChg chg="add del mod replST">
          <ac:chgData name="Merlin Gutter" userId="2abc6f04-74af-430b-bdc8-569c3bfa1dda" providerId="ADAL" clId="{CB1EFBC3-10F5-3048-8961-5969497C0019}" dt="2022-11-23T22:27:56.126" v="119982"/>
          <ac:spMkLst>
            <pc:docMk/>
            <pc:sldMk cId="4252749090" sldId="389"/>
            <ac:spMk id="364" creationId="{5A83DD14-B7F5-89F9-EAD4-5742C944CD33}"/>
          </ac:spMkLst>
        </pc:spChg>
        <pc:spChg chg="add del mod replST">
          <ac:chgData name="Merlin Gutter" userId="2abc6f04-74af-430b-bdc8-569c3bfa1dda" providerId="ADAL" clId="{CB1EFBC3-10F5-3048-8961-5969497C0019}" dt="2022-11-23T22:27:56.151" v="119996"/>
          <ac:spMkLst>
            <pc:docMk/>
            <pc:sldMk cId="4252749090" sldId="389"/>
            <ac:spMk id="365" creationId="{FE950A59-AE62-AF0B-B387-501B1F41D604}"/>
          </ac:spMkLst>
        </pc:spChg>
        <pc:spChg chg="add mod">
          <ac:chgData name="Merlin Gutter" userId="2abc6f04-74af-430b-bdc8-569c3bfa1dda" providerId="ADAL" clId="{CB1EFBC3-10F5-3048-8961-5969497C0019}" dt="2022-11-25T00:19:56.250" v="206163"/>
          <ac:spMkLst>
            <pc:docMk/>
            <pc:sldMk cId="4252749090" sldId="389"/>
            <ac:spMk id="372" creationId="{B631EF8B-1EC1-7C83-9D8B-0B48F1836114}"/>
          </ac:spMkLst>
        </pc:spChg>
        <pc:spChg chg="add del mod">
          <ac:chgData name="Merlin Gutter" userId="2abc6f04-74af-430b-bdc8-569c3bfa1dda" providerId="ADAL" clId="{CB1EFBC3-10F5-3048-8961-5969497C0019}" dt="2022-11-23T17:42:56.745" v="108045" actId="478"/>
          <ac:spMkLst>
            <pc:docMk/>
            <pc:sldMk cId="4252749090" sldId="389"/>
            <ac:spMk id="373" creationId="{1B0F98CC-4067-935A-0AD7-600D39E54D4D}"/>
          </ac:spMkLst>
        </pc:spChg>
        <pc:spChg chg="add del mod">
          <ac:chgData name="Merlin Gutter" userId="2abc6f04-74af-430b-bdc8-569c3bfa1dda" providerId="ADAL" clId="{CB1EFBC3-10F5-3048-8961-5969497C0019}" dt="2022-11-23T17:44:37.967" v="108079" actId="478"/>
          <ac:spMkLst>
            <pc:docMk/>
            <pc:sldMk cId="4252749090" sldId="389"/>
            <ac:spMk id="374" creationId="{C99A7ACE-050E-B8EF-CB2B-304BC6C03857}"/>
          </ac:spMkLst>
        </pc:spChg>
        <pc:spChg chg="add del mod">
          <ac:chgData name="Merlin Gutter" userId="2abc6f04-74af-430b-bdc8-569c3bfa1dda" providerId="ADAL" clId="{CB1EFBC3-10F5-3048-8961-5969497C0019}" dt="2022-11-23T17:45:32.479" v="108102" actId="478"/>
          <ac:spMkLst>
            <pc:docMk/>
            <pc:sldMk cId="4252749090" sldId="389"/>
            <ac:spMk id="375" creationId="{36362E79-39D9-30F2-0730-F4CAC3BCB782}"/>
          </ac:spMkLst>
        </pc:spChg>
        <pc:spChg chg="add del mod replST">
          <ac:chgData name="Merlin Gutter" userId="2abc6f04-74af-430b-bdc8-569c3bfa1dda" providerId="ADAL" clId="{CB1EFBC3-10F5-3048-8961-5969497C0019}" dt="2022-11-23T22:28:00.628" v="120287"/>
          <ac:spMkLst>
            <pc:docMk/>
            <pc:sldMk cId="4252749090" sldId="389"/>
            <ac:spMk id="378" creationId="{4739B089-7B04-325A-A3C4-481A34ECBAE3}"/>
          </ac:spMkLst>
        </pc:spChg>
        <pc:spChg chg="add del mod replST">
          <ac:chgData name="Merlin Gutter" userId="2abc6f04-74af-430b-bdc8-569c3bfa1dda" providerId="ADAL" clId="{CB1EFBC3-10F5-3048-8961-5969497C0019}" dt="2022-11-23T22:28:00.644" v="120301"/>
          <ac:spMkLst>
            <pc:docMk/>
            <pc:sldMk cId="4252749090" sldId="389"/>
            <ac:spMk id="379" creationId="{8FD99F67-B18E-DF82-F8DC-89ADDC2A222B}"/>
          </ac:spMkLst>
        </pc:spChg>
        <pc:spChg chg="add del mod replST">
          <ac:chgData name="Merlin Gutter" userId="2abc6f04-74af-430b-bdc8-569c3bfa1dda" providerId="ADAL" clId="{CB1EFBC3-10F5-3048-8961-5969497C0019}" dt="2022-11-23T22:28:00.664" v="120315"/>
          <ac:spMkLst>
            <pc:docMk/>
            <pc:sldMk cId="4252749090" sldId="389"/>
            <ac:spMk id="380" creationId="{224F8DC2-CC64-1160-BCEA-DCD00BCEEEC9}"/>
          </ac:spMkLst>
        </pc:spChg>
        <pc:spChg chg="add del mod replST">
          <ac:chgData name="Merlin Gutter" userId="2abc6f04-74af-430b-bdc8-569c3bfa1dda" providerId="ADAL" clId="{CB1EFBC3-10F5-3048-8961-5969497C0019}" dt="2022-11-23T22:28:00.689" v="120331"/>
          <ac:spMkLst>
            <pc:docMk/>
            <pc:sldMk cId="4252749090" sldId="389"/>
            <ac:spMk id="381" creationId="{1484EA87-E3BD-87E0-2B31-3A9EFCFC57DF}"/>
          </ac:spMkLst>
        </pc:spChg>
        <pc:spChg chg="add del mod replST">
          <ac:chgData name="Merlin Gutter" userId="2abc6f04-74af-430b-bdc8-569c3bfa1dda" providerId="ADAL" clId="{CB1EFBC3-10F5-3048-8961-5969497C0019}" dt="2022-11-23T22:28:00.687" v="120329"/>
          <ac:spMkLst>
            <pc:docMk/>
            <pc:sldMk cId="4252749090" sldId="389"/>
            <ac:spMk id="382" creationId="{D2A05725-3FDC-6F5B-03CF-9F0E61334A7C}"/>
          </ac:spMkLst>
        </pc:spChg>
        <pc:spChg chg="add del mod replST">
          <ac:chgData name="Merlin Gutter" userId="2abc6f04-74af-430b-bdc8-569c3bfa1dda" providerId="ADAL" clId="{CB1EFBC3-10F5-3048-8961-5969497C0019}" dt="2022-11-23T22:28:00.685" v="120327"/>
          <ac:spMkLst>
            <pc:docMk/>
            <pc:sldMk cId="4252749090" sldId="389"/>
            <ac:spMk id="383" creationId="{01216A49-A7B3-7FBB-F3B8-9B5BF32A16EB}"/>
          </ac:spMkLst>
        </pc:spChg>
        <pc:spChg chg="add del mod replST">
          <ac:chgData name="Merlin Gutter" userId="2abc6f04-74af-430b-bdc8-569c3bfa1dda" providerId="ADAL" clId="{CB1EFBC3-10F5-3048-8961-5969497C0019}" dt="2022-11-23T22:28:18.377" v="120896"/>
          <ac:spMkLst>
            <pc:docMk/>
            <pc:sldMk cId="4252749090" sldId="389"/>
            <ac:spMk id="384" creationId="{3A2DCB0C-531F-4D6D-4512-4A6E78B644C6}"/>
          </ac:spMkLst>
        </pc:spChg>
        <pc:spChg chg="add del mod replST">
          <ac:chgData name="Merlin Gutter" userId="2abc6f04-74af-430b-bdc8-569c3bfa1dda" providerId="ADAL" clId="{CB1EFBC3-10F5-3048-8961-5969497C0019}" dt="2022-11-23T22:28:18.397" v="120910"/>
          <ac:spMkLst>
            <pc:docMk/>
            <pc:sldMk cId="4252749090" sldId="389"/>
            <ac:spMk id="385" creationId="{94C1CCFA-7863-53F5-54BE-5BE18E0DB049}"/>
          </ac:spMkLst>
        </pc:spChg>
        <pc:spChg chg="add del mod replST">
          <ac:chgData name="Merlin Gutter" userId="2abc6f04-74af-430b-bdc8-569c3bfa1dda" providerId="ADAL" clId="{CB1EFBC3-10F5-3048-8961-5969497C0019}" dt="2022-11-23T22:28:18.416" v="120924"/>
          <ac:spMkLst>
            <pc:docMk/>
            <pc:sldMk cId="4252749090" sldId="389"/>
            <ac:spMk id="386" creationId="{9F456D76-94E9-F240-1EB7-4850DB46E433}"/>
          </ac:spMkLst>
        </pc:spChg>
        <pc:spChg chg="add del mod replST">
          <ac:chgData name="Merlin Gutter" userId="2abc6f04-74af-430b-bdc8-569c3bfa1dda" providerId="ADAL" clId="{CB1EFBC3-10F5-3048-8961-5969497C0019}" dt="2022-11-23T22:28:01.372" v="120519"/>
          <ac:spMkLst>
            <pc:docMk/>
            <pc:sldMk cId="4252749090" sldId="389"/>
            <ac:spMk id="387" creationId="{665FE946-61CA-0FAE-424B-7E9B38387A10}"/>
          </ac:spMkLst>
        </pc:spChg>
        <pc:spChg chg="add del mod modVis">
          <ac:chgData name="Merlin Gutter" userId="2abc6f04-74af-430b-bdc8-569c3bfa1dda" providerId="ADAL" clId="{CB1EFBC3-10F5-3048-8961-5969497C0019}" dt="2022-11-23T22:27:57.036" v="120241"/>
          <ac:spMkLst>
            <pc:docMk/>
            <pc:sldMk cId="4252749090" sldId="389"/>
            <ac:spMk id="388" creationId="{D51414B3-C0DA-A20B-9A6F-95046078DA51}"/>
          </ac:spMkLst>
        </pc:spChg>
        <pc:spChg chg="add del mod replST">
          <ac:chgData name="Merlin Gutter" userId="2abc6f04-74af-430b-bdc8-569c3bfa1dda" providerId="ADAL" clId="{CB1EFBC3-10F5-3048-8961-5969497C0019}" dt="2022-11-23T22:28:11.892" v="120625"/>
          <ac:spMkLst>
            <pc:docMk/>
            <pc:sldMk cId="4252749090" sldId="389"/>
            <ac:spMk id="389" creationId="{AB95C0C7-84D6-6B3B-38B7-A9404E0687C8}"/>
          </ac:spMkLst>
        </pc:spChg>
        <pc:spChg chg="add del mod replST">
          <ac:chgData name="Merlin Gutter" userId="2abc6f04-74af-430b-bdc8-569c3bfa1dda" providerId="ADAL" clId="{CB1EFBC3-10F5-3048-8961-5969497C0019}" dt="2022-11-23T22:28:18.319" v="120850"/>
          <ac:spMkLst>
            <pc:docMk/>
            <pc:sldMk cId="4252749090" sldId="389"/>
            <ac:spMk id="391" creationId="{567B9E33-5B78-FE76-B02D-1CC8AC40D231}"/>
          </ac:spMkLst>
        </pc:spChg>
        <pc:spChg chg="add del mod replST">
          <ac:chgData name="Merlin Gutter" userId="2abc6f04-74af-430b-bdc8-569c3bfa1dda" providerId="ADAL" clId="{CB1EFBC3-10F5-3048-8961-5969497C0019}" dt="2022-11-23T22:28:18.341" v="120864"/>
          <ac:spMkLst>
            <pc:docMk/>
            <pc:sldMk cId="4252749090" sldId="389"/>
            <ac:spMk id="392" creationId="{86CD4D50-C489-961B-39AA-77B135140CC7}"/>
          </ac:spMkLst>
        </pc:spChg>
        <pc:spChg chg="add del mod replST">
          <ac:chgData name="Merlin Gutter" userId="2abc6f04-74af-430b-bdc8-569c3bfa1dda" providerId="ADAL" clId="{CB1EFBC3-10F5-3048-8961-5969497C0019}" dt="2022-11-23T22:28:18.358" v="120878"/>
          <ac:spMkLst>
            <pc:docMk/>
            <pc:sldMk cId="4252749090" sldId="389"/>
            <ac:spMk id="393" creationId="{0D8349A8-75F0-4B46-910A-98AEE80FC2BE}"/>
          </ac:spMkLst>
        </pc:spChg>
        <pc:spChg chg="add del mod replST">
          <ac:chgData name="Merlin Gutter" userId="2abc6f04-74af-430b-bdc8-569c3bfa1dda" providerId="ADAL" clId="{CB1EFBC3-10F5-3048-8961-5969497C0019}" dt="2022-11-23T22:28:11.967" v="120656"/>
          <ac:spMkLst>
            <pc:docMk/>
            <pc:sldMk cId="4252749090" sldId="389"/>
            <ac:spMk id="394" creationId="{743F36F7-67AC-3197-089C-C51202DF2B5C}"/>
          </ac:spMkLst>
        </pc:spChg>
        <pc:spChg chg="add del mod replST">
          <ac:chgData name="Merlin Gutter" userId="2abc6f04-74af-430b-bdc8-569c3bfa1dda" providerId="ADAL" clId="{CB1EFBC3-10F5-3048-8961-5969497C0019}" dt="2022-11-23T22:28:11.990" v="120670"/>
          <ac:spMkLst>
            <pc:docMk/>
            <pc:sldMk cId="4252749090" sldId="389"/>
            <ac:spMk id="395" creationId="{0F89F30A-F519-5CE0-88A4-F275C3EA83DB}"/>
          </ac:spMkLst>
        </pc:spChg>
        <pc:spChg chg="add del mod replST">
          <ac:chgData name="Merlin Gutter" userId="2abc6f04-74af-430b-bdc8-569c3bfa1dda" providerId="ADAL" clId="{CB1EFBC3-10F5-3048-8961-5969497C0019}" dt="2022-11-23T22:28:12.012" v="120684"/>
          <ac:spMkLst>
            <pc:docMk/>
            <pc:sldMk cId="4252749090" sldId="389"/>
            <ac:spMk id="396" creationId="{EB944E9A-D1F7-8329-B787-04CE9F84AC40}"/>
          </ac:spMkLst>
        </pc:spChg>
        <pc:spChg chg="add del mod modVis">
          <ac:chgData name="Merlin Gutter" userId="2abc6f04-74af-430b-bdc8-569c3bfa1dda" providerId="ADAL" clId="{CB1EFBC3-10F5-3048-8961-5969497C0019}" dt="2022-11-23T22:28:01.621" v="120621"/>
          <ac:spMkLst>
            <pc:docMk/>
            <pc:sldMk cId="4252749090" sldId="389"/>
            <ac:spMk id="397" creationId="{1B6AAAFC-A150-569B-0317-062F214138F6}"/>
          </ac:spMkLst>
        </pc:spChg>
        <pc:spChg chg="add del mod replST">
          <ac:chgData name="Merlin Gutter" userId="2abc6f04-74af-430b-bdc8-569c3bfa1dda" providerId="ADAL" clId="{CB1EFBC3-10F5-3048-8961-5969497C0019}" dt="2022-11-23T22:28:18.757" v="121036"/>
          <ac:spMkLst>
            <pc:docMk/>
            <pc:sldMk cId="4252749090" sldId="389"/>
            <ac:spMk id="398" creationId="{9792E14A-1483-25B5-9897-B710F9641B98}"/>
          </ac:spMkLst>
        </pc:spChg>
        <pc:spChg chg="add del mod replST">
          <ac:chgData name="Merlin Gutter" userId="2abc6f04-74af-430b-bdc8-569c3bfa1dda" providerId="ADAL" clId="{CB1EFBC3-10F5-3048-8961-5969497C0019}" dt="2022-11-23T22:29:39.712" v="123677"/>
          <ac:spMkLst>
            <pc:docMk/>
            <pc:sldMk cId="4252749090" sldId="389"/>
            <ac:spMk id="399" creationId="{7A3A5B35-836D-5C15-75E1-EA07DBD6ACDD}"/>
          </ac:spMkLst>
        </pc:spChg>
        <pc:spChg chg="add del mod replST">
          <ac:chgData name="Merlin Gutter" userId="2abc6f04-74af-430b-bdc8-569c3bfa1dda" providerId="ADAL" clId="{CB1EFBC3-10F5-3048-8961-5969497C0019}" dt="2022-11-23T22:28:18.375" v="120894"/>
          <ac:spMkLst>
            <pc:docMk/>
            <pc:sldMk cId="4252749090" sldId="389"/>
            <ac:spMk id="401" creationId="{538C6A92-AE96-8FAF-725E-EB2D74D03834}"/>
          </ac:spMkLst>
        </pc:spChg>
        <pc:spChg chg="add del mod replST">
          <ac:chgData name="Merlin Gutter" userId="2abc6f04-74af-430b-bdc8-569c3bfa1dda" providerId="ADAL" clId="{CB1EFBC3-10F5-3048-8961-5969497C0019}" dt="2022-11-23T22:28:18.374" v="120892"/>
          <ac:spMkLst>
            <pc:docMk/>
            <pc:sldMk cId="4252749090" sldId="389"/>
            <ac:spMk id="402" creationId="{6166E750-590F-3431-72F4-7EB7995CB11C}"/>
          </ac:spMkLst>
        </pc:spChg>
        <pc:spChg chg="add del mod replST">
          <ac:chgData name="Merlin Gutter" userId="2abc6f04-74af-430b-bdc8-569c3bfa1dda" providerId="ADAL" clId="{CB1EFBC3-10F5-3048-8961-5969497C0019}" dt="2022-11-23T22:28:18.372" v="120890"/>
          <ac:spMkLst>
            <pc:docMk/>
            <pc:sldMk cId="4252749090" sldId="389"/>
            <ac:spMk id="403" creationId="{295DB897-142C-1DCB-4F2B-E061E9322795}"/>
          </ac:spMkLst>
        </pc:spChg>
        <pc:spChg chg="add mod replST">
          <ac:chgData name="Merlin Gutter" userId="2abc6f04-74af-430b-bdc8-569c3bfa1dda" providerId="ADAL" clId="{CB1EFBC3-10F5-3048-8961-5969497C0019}" dt="2022-11-25T00:19:56.247" v="206145"/>
          <ac:spMkLst>
            <pc:docMk/>
            <pc:sldMk cId="4252749090" sldId="389"/>
            <ac:spMk id="405" creationId="{825C02F6-46EC-8510-0941-A719D620EB0A}"/>
          </ac:spMkLst>
        </pc:spChg>
        <pc:spChg chg="add del mod modVis">
          <ac:chgData name="Merlin Gutter" userId="2abc6f04-74af-430b-bdc8-569c3bfa1dda" providerId="ADAL" clId="{CB1EFBC3-10F5-3048-8961-5969497C0019}" dt="2022-11-23T22:28:19" v="121130"/>
          <ac:spMkLst>
            <pc:docMk/>
            <pc:sldMk cId="4252749090" sldId="389"/>
            <ac:spMk id="406" creationId="{2474CDDA-9C65-5EC9-6DC9-6EE4E394A447}"/>
          </ac:spMkLst>
        </pc:spChg>
        <pc:spChg chg="add del mod replST">
          <ac:chgData name="Merlin Gutter" userId="2abc6f04-74af-430b-bdc8-569c3bfa1dda" providerId="ADAL" clId="{CB1EFBC3-10F5-3048-8961-5969497C0019}" dt="2022-11-25T00:19:46.205" v="205681"/>
          <ac:spMkLst>
            <pc:docMk/>
            <pc:sldMk cId="4252749090" sldId="389"/>
            <ac:spMk id="407" creationId="{4A4C9892-C84A-840D-94F4-E9E33E1962A1}"/>
          </ac:spMkLst>
        </pc:spChg>
        <pc:spChg chg="add del mod replST">
          <ac:chgData name="Merlin Gutter" userId="2abc6f04-74af-430b-bdc8-569c3bfa1dda" providerId="ADAL" clId="{CB1EFBC3-10F5-3048-8961-5969497C0019}" dt="2022-11-25T00:19:46.216" v="205695"/>
          <ac:spMkLst>
            <pc:docMk/>
            <pc:sldMk cId="4252749090" sldId="389"/>
            <ac:spMk id="408" creationId="{BA52AA17-9C62-B6B8-F082-2002E18CB856}"/>
          </ac:spMkLst>
        </pc:spChg>
        <pc:spChg chg="add del mod replST">
          <ac:chgData name="Merlin Gutter" userId="2abc6f04-74af-430b-bdc8-569c3bfa1dda" providerId="ADAL" clId="{CB1EFBC3-10F5-3048-8961-5969497C0019}" dt="2022-11-25T00:19:46.220" v="205709"/>
          <ac:spMkLst>
            <pc:docMk/>
            <pc:sldMk cId="4252749090" sldId="389"/>
            <ac:spMk id="409" creationId="{EBBACBB5-7276-FC11-3C4C-0286D3044111}"/>
          </ac:spMkLst>
        </pc:spChg>
        <pc:spChg chg="add del mod replST">
          <ac:chgData name="Merlin Gutter" userId="2abc6f04-74af-430b-bdc8-569c3bfa1dda" providerId="ADAL" clId="{CB1EFBC3-10F5-3048-8961-5969497C0019}" dt="2022-11-25T00:19:46.226" v="205721"/>
          <ac:spMkLst>
            <pc:docMk/>
            <pc:sldMk cId="4252749090" sldId="389"/>
            <ac:spMk id="410" creationId="{A61ABB00-E8A0-AF81-200B-050AAA498E17}"/>
          </ac:spMkLst>
        </pc:spChg>
        <pc:spChg chg="add del mod replST">
          <ac:chgData name="Merlin Gutter" userId="2abc6f04-74af-430b-bdc8-569c3bfa1dda" providerId="ADAL" clId="{CB1EFBC3-10F5-3048-8961-5969497C0019}" dt="2022-11-25T00:19:46.230" v="205735"/>
          <ac:spMkLst>
            <pc:docMk/>
            <pc:sldMk cId="4252749090" sldId="389"/>
            <ac:spMk id="411" creationId="{A8D72374-E7CE-3F15-4B15-0D5C7045C08A}"/>
          </ac:spMkLst>
        </pc:spChg>
        <pc:spChg chg="add del mod replST">
          <ac:chgData name="Merlin Gutter" userId="2abc6f04-74af-430b-bdc8-569c3bfa1dda" providerId="ADAL" clId="{CB1EFBC3-10F5-3048-8961-5969497C0019}" dt="2022-11-25T00:19:46.233" v="205749"/>
          <ac:spMkLst>
            <pc:docMk/>
            <pc:sldMk cId="4252749090" sldId="389"/>
            <ac:spMk id="412" creationId="{AEDFDB6E-79DC-FA80-59A9-27347860CA2B}"/>
          </ac:spMkLst>
        </pc:spChg>
        <pc:spChg chg="add del mod replST">
          <ac:chgData name="Merlin Gutter" userId="2abc6f04-74af-430b-bdc8-569c3bfa1dda" providerId="ADAL" clId="{CB1EFBC3-10F5-3048-8961-5969497C0019}" dt="2022-11-23T22:29:40.490" v="123746"/>
          <ac:spMkLst>
            <pc:docMk/>
            <pc:sldMk cId="4252749090" sldId="389"/>
            <ac:spMk id="413" creationId="{D58B5069-6B3B-FC51-18AE-D10C0F7AD167}"/>
          </ac:spMkLst>
        </pc:spChg>
        <pc:spChg chg="add mod replST">
          <ac:chgData name="Merlin Gutter" userId="2abc6f04-74af-430b-bdc8-569c3bfa1dda" providerId="ADAL" clId="{CB1EFBC3-10F5-3048-8961-5969497C0019}" dt="2022-11-25T00:19:56.246" v="206143"/>
          <ac:spMkLst>
            <pc:docMk/>
            <pc:sldMk cId="4252749090" sldId="389"/>
            <ac:spMk id="415" creationId="{80FF9857-CB1A-4BC2-3239-7340A79DB192}"/>
          </ac:spMkLst>
        </pc:spChg>
        <pc:spChg chg="add del mod modVis">
          <ac:chgData name="Merlin Gutter" userId="2abc6f04-74af-430b-bdc8-569c3bfa1dda" providerId="ADAL" clId="{CB1EFBC3-10F5-3048-8961-5969497C0019}" dt="2022-11-23T22:29:06.215" v="122405"/>
          <ac:spMkLst>
            <pc:docMk/>
            <pc:sldMk cId="4252749090" sldId="389"/>
            <ac:spMk id="419" creationId="{02161385-BAF7-E835-1887-A0DA29A7A1F0}"/>
          </ac:spMkLst>
        </pc:spChg>
        <pc:spChg chg="add del mod replST">
          <ac:chgData name="Merlin Gutter" userId="2abc6f04-74af-430b-bdc8-569c3bfa1dda" providerId="ADAL" clId="{CB1EFBC3-10F5-3048-8961-5969497C0019}" dt="2022-11-23T22:29:18.551" v="122586"/>
          <ac:spMkLst>
            <pc:docMk/>
            <pc:sldMk cId="4252749090" sldId="389"/>
            <ac:spMk id="420" creationId="{8362F005-3512-18D7-0663-44ABC5E3D924}"/>
          </ac:spMkLst>
        </pc:spChg>
        <pc:spChg chg="add del mod replST">
          <ac:chgData name="Merlin Gutter" userId="2abc6f04-74af-430b-bdc8-569c3bfa1dda" providerId="ADAL" clId="{CB1EFBC3-10F5-3048-8961-5969497C0019}" dt="2022-11-23T22:29:27.004" v="122934"/>
          <ac:spMkLst>
            <pc:docMk/>
            <pc:sldMk cId="4252749090" sldId="389"/>
            <ac:spMk id="421" creationId="{0C008478-2320-F203-5966-15E07FE4CC54}"/>
          </ac:spMkLst>
        </pc:spChg>
        <pc:spChg chg="add del mod replST">
          <ac:chgData name="Merlin Gutter" userId="2abc6f04-74af-430b-bdc8-569c3bfa1dda" providerId="ADAL" clId="{CB1EFBC3-10F5-3048-8961-5969497C0019}" dt="2022-11-23T22:29:32.021" v="123104"/>
          <ac:spMkLst>
            <pc:docMk/>
            <pc:sldMk cId="4252749090" sldId="389"/>
            <ac:spMk id="422" creationId="{F9428F5F-2528-5A82-99F7-018D19D70AF6}"/>
          </ac:spMkLst>
        </pc:spChg>
        <pc:spChg chg="add del mod replST">
          <ac:chgData name="Merlin Gutter" userId="2abc6f04-74af-430b-bdc8-569c3bfa1dda" providerId="ADAL" clId="{CB1EFBC3-10F5-3048-8961-5969497C0019}" dt="2022-11-23T22:29:27.012" v="122950"/>
          <ac:spMkLst>
            <pc:docMk/>
            <pc:sldMk cId="4252749090" sldId="389"/>
            <ac:spMk id="423" creationId="{94C6040A-CAD2-3429-A56B-05E3AE7C3267}"/>
          </ac:spMkLst>
        </pc:spChg>
        <pc:spChg chg="add del mod replST">
          <ac:chgData name="Merlin Gutter" userId="2abc6f04-74af-430b-bdc8-569c3bfa1dda" providerId="ADAL" clId="{CB1EFBC3-10F5-3048-8961-5969497C0019}" dt="2022-11-23T22:29:18.556" v="122606"/>
          <ac:spMkLst>
            <pc:docMk/>
            <pc:sldMk cId="4252749090" sldId="389"/>
            <ac:spMk id="424" creationId="{15C71CB5-47DA-7502-CC39-F4C18FF5D436}"/>
          </ac:spMkLst>
        </pc:spChg>
        <pc:spChg chg="add del mod replST">
          <ac:chgData name="Merlin Gutter" userId="2abc6f04-74af-430b-bdc8-569c3bfa1dda" providerId="ADAL" clId="{CB1EFBC3-10F5-3048-8961-5969497C0019}" dt="2022-11-23T22:29:18.556" v="122608"/>
          <ac:spMkLst>
            <pc:docMk/>
            <pc:sldMk cId="4252749090" sldId="389"/>
            <ac:spMk id="425" creationId="{0059F22D-AD39-DA98-547D-5DDE204A2D6A}"/>
          </ac:spMkLst>
        </pc:spChg>
        <pc:spChg chg="add del mod replST">
          <ac:chgData name="Merlin Gutter" userId="2abc6f04-74af-430b-bdc8-569c3bfa1dda" providerId="ADAL" clId="{CB1EFBC3-10F5-3048-8961-5969497C0019}" dt="2022-11-23T22:29:32.773" v="123188"/>
          <ac:spMkLst>
            <pc:docMk/>
            <pc:sldMk cId="4252749090" sldId="389"/>
            <ac:spMk id="426" creationId="{F5BFC6C4-9DDD-45B7-8D59-6D65E28EFDC2}"/>
          </ac:spMkLst>
        </pc:spChg>
        <pc:spChg chg="add del mod replST">
          <ac:chgData name="Merlin Gutter" userId="2abc6f04-74af-430b-bdc8-569c3bfa1dda" providerId="ADAL" clId="{CB1EFBC3-10F5-3048-8961-5969497C0019}" dt="2022-11-23T22:29:35.838" v="123348"/>
          <ac:spMkLst>
            <pc:docMk/>
            <pc:sldMk cId="4252749090" sldId="389"/>
            <ac:spMk id="427" creationId="{BEAF47D1-9432-3FF1-C27A-9EDCE8B24C6E}"/>
          </ac:spMkLst>
        </pc:spChg>
        <pc:spChg chg="add del mod replST">
          <ac:chgData name="Merlin Gutter" userId="2abc6f04-74af-430b-bdc8-569c3bfa1dda" providerId="ADAL" clId="{CB1EFBC3-10F5-3048-8961-5969497C0019}" dt="2022-11-23T22:29:36.395" v="123434"/>
          <ac:spMkLst>
            <pc:docMk/>
            <pc:sldMk cId="4252749090" sldId="389"/>
            <ac:spMk id="428" creationId="{2E959825-DBCA-0FEB-46AE-61408DC4BAA8}"/>
          </ac:spMkLst>
        </pc:spChg>
        <pc:spChg chg="add del mod replST">
          <ac:chgData name="Merlin Gutter" userId="2abc6f04-74af-430b-bdc8-569c3bfa1dda" providerId="ADAL" clId="{CB1EFBC3-10F5-3048-8961-5969497C0019}" dt="2022-11-23T22:29:38.670" v="123600"/>
          <ac:spMkLst>
            <pc:docMk/>
            <pc:sldMk cId="4252749090" sldId="389"/>
            <ac:spMk id="429" creationId="{B1E77741-9B36-6B53-5060-50799E068579}"/>
          </ac:spMkLst>
        </pc:spChg>
        <pc:spChg chg="add del mod replST">
          <ac:chgData name="Merlin Gutter" userId="2abc6f04-74af-430b-bdc8-569c3bfa1dda" providerId="ADAL" clId="{CB1EFBC3-10F5-3048-8961-5969497C0019}" dt="2022-11-23T22:29:36.400" v="123443"/>
          <ac:spMkLst>
            <pc:docMk/>
            <pc:sldMk cId="4252749090" sldId="389"/>
            <ac:spMk id="430" creationId="{01329066-5723-61D1-BCD9-13975BDD43C5}"/>
          </ac:spMkLst>
        </pc:spChg>
        <pc:spChg chg="add del mod replST">
          <ac:chgData name="Merlin Gutter" userId="2abc6f04-74af-430b-bdc8-569c3bfa1dda" providerId="ADAL" clId="{CB1EFBC3-10F5-3048-8961-5969497C0019}" dt="2022-11-23T22:29:38.674" v="123607"/>
          <ac:spMkLst>
            <pc:docMk/>
            <pc:sldMk cId="4252749090" sldId="389"/>
            <ac:spMk id="431" creationId="{EC6976DB-0C5D-925A-5443-CCB845A490E3}"/>
          </ac:spMkLst>
        </pc:spChg>
        <pc:spChg chg="add mod replST">
          <ac:chgData name="Merlin Gutter" userId="2abc6f04-74af-430b-bdc8-569c3bfa1dda" providerId="ADAL" clId="{CB1EFBC3-10F5-3048-8961-5969497C0019}" dt="2022-11-25T00:19:56.246" v="206142"/>
          <ac:spMkLst>
            <pc:docMk/>
            <pc:sldMk cId="4252749090" sldId="389"/>
            <ac:spMk id="432" creationId="{A89C6BF4-66E4-7A0A-B69D-6F6C196AB130}"/>
          </ac:spMkLst>
        </pc:spChg>
        <pc:spChg chg="add mod replST">
          <ac:chgData name="Merlin Gutter" userId="2abc6f04-74af-430b-bdc8-569c3bfa1dda" providerId="ADAL" clId="{CB1EFBC3-10F5-3048-8961-5969497C0019}" dt="2022-11-25T00:19:56.245" v="206137"/>
          <ac:spMkLst>
            <pc:docMk/>
            <pc:sldMk cId="4252749090" sldId="389"/>
            <ac:spMk id="433" creationId="{3F35D72F-90C1-C7CF-A29F-1AA92AFBCCF7}"/>
          </ac:spMkLst>
        </pc:spChg>
        <pc:spChg chg="add del mod modVis">
          <ac:chgData name="Merlin Gutter" userId="2abc6f04-74af-430b-bdc8-569c3bfa1dda" providerId="ADAL" clId="{CB1EFBC3-10F5-3048-8961-5969497C0019}" dt="2022-11-23T22:29:18.608" v="122747"/>
          <ac:spMkLst>
            <pc:docMk/>
            <pc:sldMk cId="4252749090" sldId="389"/>
            <ac:spMk id="437" creationId="{B2703AAE-FB25-C25D-33E3-8E1BEC152F92}"/>
          </ac:spMkLst>
        </pc:spChg>
        <pc:spChg chg="add del mod modVis">
          <ac:chgData name="Merlin Gutter" userId="2abc6f04-74af-430b-bdc8-569c3bfa1dda" providerId="ADAL" clId="{CB1EFBC3-10F5-3048-8961-5969497C0019}" dt="2022-11-23T22:31:32.819" v="123893"/>
          <ac:spMkLst>
            <pc:docMk/>
            <pc:sldMk cId="4252749090" sldId="389"/>
            <ac:spMk id="452" creationId="{4ABB83A9-2468-5B83-B804-98C5D0CFBFBE}"/>
          </ac:spMkLst>
        </pc:spChg>
        <pc:spChg chg="add del mod modVis">
          <ac:chgData name="Merlin Gutter" userId="2abc6f04-74af-430b-bdc8-569c3bfa1dda" providerId="ADAL" clId="{CB1EFBC3-10F5-3048-8961-5969497C0019}" dt="2022-11-23T22:31:35.087" v="123988"/>
          <ac:spMkLst>
            <pc:docMk/>
            <pc:sldMk cId="4252749090" sldId="389"/>
            <ac:spMk id="454" creationId="{48D55D2F-65BA-3786-A36B-59A6F944935D}"/>
          </ac:spMkLst>
        </pc:spChg>
        <pc:spChg chg="add del mod modVis">
          <ac:chgData name="Merlin Gutter" userId="2abc6f04-74af-430b-bdc8-569c3bfa1dda" providerId="ADAL" clId="{CB1EFBC3-10F5-3048-8961-5969497C0019}" dt="2022-11-23T22:43:24.308" v="124085"/>
          <ac:spMkLst>
            <pc:docMk/>
            <pc:sldMk cId="4252749090" sldId="389"/>
            <ac:spMk id="456" creationId="{BD851E09-99FE-AF45-1613-4930644083DB}"/>
          </ac:spMkLst>
        </pc:spChg>
        <pc:spChg chg="add del mod modVis">
          <ac:chgData name="Merlin Gutter" userId="2abc6f04-74af-430b-bdc8-569c3bfa1dda" providerId="ADAL" clId="{CB1EFBC3-10F5-3048-8961-5969497C0019}" dt="2022-11-23T22:43:33.745" v="124180"/>
          <ac:spMkLst>
            <pc:docMk/>
            <pc:sldMk cId="4252749090" sldId="389"/>
            <ac:spMk id="458" creationId="{04F0987E-1859-EFC7-29EA-A8FE57B659E6}"/>
          </ac:spMkLst>
        </pc:spChg>
        <pc:spChg chg="add del mod modVis">
          <ac:chgData name="Merlin Gutter" userId="2abc6f04-74af-430b-bdc8-569c3bfa1dda" providerId="ADAL" clId="{CB1EFBC3-10F5-3048-8961-5969497C0019}" dt="2022-11-23T22:43:44.049" v="124275"/>
          <ac:spMkLst>
            <pc:docMk/>
            <pc:sldMk cId="4252749090" sldId="389"/>
            <ac:spMk id="460" creationId="{EF95435E-0710-30E1-7B43-99914A563CDF}"/>
          </ac:spMkLst>
        </pc:spChg>
        <pc:spChg chg="add del mod modVis">
          <ac:chgData name="Merlin Gutter" userId="2abc6f04-74af-430b-bdc8-569c3bfa1dda" providerId="ADAL" clId="{CB1EFBC3-10F5-3048-8961-5969497C0019}" dt="2022-11-23T22:43:46.686" v="124370"/>
          <ac:spMkLst>
            <pc:docMk/>
            <pc:sldMk cId="4252749090" sldId="389"/>
            <ac:spMk id="462" creationId="{EC41EE4A-5483-A466-F54C-C52BEF38287D}"/>
          </ac:spMkLst>
        </pc:spChg>
        <pc:grpChg chg="add del mod">
          <ac:chgData name="Merlin Gutter" userId="2abc6f04-74af-430b-bdc8-569c3bfa1dda" providerId="ADAL" clId="{CB1EFBC3-10F5-3048-8961-5969497C0019}" dt="2022-11-23T17:13:58.193" v="80513" actId="165"/>
          <ac:grpSpMkLst>
            <pc:docMk/>
            <pc:sldMk cId="4252749090" sldId="389"/>
            <ac:grpSpMk id="320" creationId="{670C2F03-DAE8-7A9D-C744-8DEA566F8E31}"/>
          </ac:grpSpMkLst>
        </pc:grpChg>
        <pc:grpChg chg="add mod">
          <ac:chgData name="Merlin Gutter" userId="2abc6f04-74af-430b-bdc8-569c3bfa1dda" providerId="ADAL" clId="{CB1EFBC3-10F5-3048-8961-5969497C0019}" dt="2022-11-25T00:19:56.249" v="206158"/>
          <ac:grpSpMkLst>
            <pc:docMk/>
            <pc:sldMk cId="4252749090" sldId="389"/>
            <ac:grpSpMk id="333" creationId="{E621027B-FD1C-10E4-7953-AA5ED981BA01}"/>
          </ac:grpSpMkLst>
        </pc:grpChg>
        <pc:grpChg chg="add mod">
          <ac:chgData name="Merlin Gutter" userId="2abc6f04-74af-430b-bdc8-569c3bfa1dda" providerId="ADAL" clId="{CB1EFBC3-10F5-3048-8961-5969497C0019}" dt="2022-11-25T00:19:56.250" v="206160"/>
          <ac:grpSpMkLst>
            <pc:docMk/>
            <pc:sldMk cId="4252749090" sldId="389"/>
            <ac:grpSpMk id="337" creationId="{E304F3FC-85CF-412A-7E44-C28755569AF9}"/>
          </ac:grpSpMkLst>
        </pc:grpChg>
        <pc:grpChg chg="add mod">
          <ac:chgData name="Merlin Gutter" userId="2abc6f04-74af-430b-bdc8-569c3bfa1dda" providerId="ADAL" clId="{CB1EFBC3-10F5-3048-8961-5969497C0019}" dt="2022-11-25T00:19:56.250" v="206161"/>
          <ac:grpSpMkLst>
            <pc:docMk/>
            <pc:sldMk cId="4252749090" sldId="389"/>
            <ac:grpSpMk id="338" creationId="{94E6BECB-E179-AEFA-0F76-F38BE1AF42E2}"/>
          </ac:grpSpMkLst>
        </pc:grpChg>
        <pc:grpChg chg="add mod">
          <ac:chgData name="Merlin Gutter" userId="2abc6f04-74af-430b-bdc8-569c3bfa1dda" providerId="ADAL" clId="{CB1EFBC3-10F5-3048-8961-5969497C0019}" dt="2022-11-25T00:19:56.250" v="206162"/>
          <ac:grpSpMkLst>
            <pc:docMk/>
            <pc:sldMk cId="4252749090" sldId="389"/>
            <ac:grpSpMk id="343" creationId="{AC3BAE80-0A2B-E2F6-AC22-38CB7C50FAF8}"/>
          </ac:grpSpMkLst>
        </pc:grpChg>
        <pc:graphicFrameChg chg="add del mod replST">
          <ac:chgData name="Merlin Gutter" userId="2abc6f04-74af-430b-bdc8-569c3bfa1dda" providerId="ADAL" clId="{CB1EFBC3-10F5-3048-8961-5969497C0019}" dt="2022-11-22T22:46:03.504" v="65056"/>
          <ac:graphicFrameMkLst>
            <pc:docMk/>
            <pc:sldMk cId="4252749090" sldId="389"/>
            <ac:graphicFrameMk id="13" creationId="{85F9295E-586F-50B0-E887-AAD3EBEA1B91}"/>
          </ac:graphicFrameMkLst>
        </pc:graphicFrameChg>
        <pc:graphicFrameChg chg="add mod modVis replST">
          <ac:chgData name="Merlin Gutter" userId="2abc6f04-74af-430b-bdc8-569c3bfa1dda" providerId="ADAL" clId="{CB1EFBC3-10F5-3048-8961-5969497C0019}" dt="2022-11-25T00:19:56.253" v="206169"/>
          <ac:graphicFrameMkLst>
            <pc:docMk/>
            <pc:sldMk cId="4252749090" sldId="389"/>
            <ac:graphicFrameMk id="16" creationId="{9CC33F8C-5980-263F-F47A-C983FFDA1FF4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5T00:19:56.244" v="206129"/>
          <ac:graphicFrameMkLst>
            <pc:docMk/>
            <pc:sldMk cId="4252749090" sldId="389"/>
            <ac:graphicFrameMk id="20" creationId="{DA6A4092-6E5F-5C2E-9478-28B28A64FD7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9:56.214" v="206117"/>
          <ac:graphicFrameMkLst>
            <pc:docMk/>
            <pc:sldMk cId="4252749090" sldId="389"/>
            <ac:graphicFrameMk id="22" creationId="{E319F7A4-1437-C31A-C742-7C921D606826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5T00:19:56.247" v="206147"/>
          <ac:graphicFrameMkLst>
            <pc:docMk/>
            <pc:sldMk cId="4252749090" sldId="389"/>
            <ac:graphicFrameMk id="23" creationId="{95A18F68-93D1-3EE5-657A-AE837A7CD84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6:05.925" v="65221"/>
          <ac:graphicFrameMkLst>
            <pc:docMk/>
            <pc:sldMk cId="4252749090" sldId="389"/>
            <ac:graphicFrameMk id="29" creationId="{AA6481C0-A56C-2B31-37B9-08A61234979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6:19.764" v="65347"/>
          <ac:graphicFrameMkLst>
            <pc:docMk/>
            <pc:sldMk cId="4252749090" sldId="389"/>
            <ac:graphicFrameMk id="34" creationId="{B8152D84-183C-E0EF-7F7F-C910CF2EEE0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6:59.700" v="66291"/>
          <ac:graphicFrameMkLst>
            <pc:docMk/>
            <pc:sldMk cId="4252749090" sldId="389"/>
            <ac:graphicFrameMk id="36" creationId="{69913726-5C4B-EEE2-15FB-6C6D38D8359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7:09.134" v="66564"/>
          <ac:graphicFrameMkLst>
            <pc:docMk/>
            <pc:sldMk cId="4252749090" sldId="389"/>
            <ac:graphicFrameMk id="59" creationId="{9054F08A-1D72-951D-21A2-9A318856E17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7:12.785" v="66685"/>
          <ac:graphicFrameMkLst>
            <pc:docMk/>
            <pc:sldMk cId="4252749090" sldId="389"/>
            <ac:graphicFrameMk id="67" creationId="{E3D93C60-097C-B8FB-C640-959B61F221E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7:15.853" v="66905"/>
          <ac:graphicFrameMkLst>
            <pc:docMk/>
            <pc:sldMk cId="4252749090" sldId="389"/>
            <ac:graphicFrameMk id="68" creationId="{EA4ABD2A-198E-7812-624D-2A911FA3779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7:24.180" v="67158"/>
          <ac:graphicFrameMkLst>
            <pc:docMk/>
            <pc:sldMk cId="4252749090" sldId="389"/>
            <ac:graphicFrameMk id="69" creationId="{7FECC8C7-E7B5-9565-7F9B-3A098A5C386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7:31.432" v="67574"/>
          <ac:graphicFrameMkLst>
            <pc:docMk/>
            <pc:sldMk cId="4252749090" sldId="389"/>
            <ac:graphicFrameMk id="73" creationId="{4FB3466B-8337-9885-59CD-813AD0EB69B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7:35.163" v="67672"/>
          <ac:graphicFrameMkLst>
            <pc:docMk/>
            <pc:sldMk cId="4252749090" sldId="389"/>
            <ac:graphicFrameMk id="79" creationId="{99B41A13-9AF4-C7E5-AB46-3D63491EB4C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8:26.917" v="67890"/>
          <ac:graphicFrameMkLst>
            <pc:docMk/>
            <pc:sldMk cId="4252749090" sldId="389"/>
            <ac:graphicFrameMk id="82" creationId="{F7149981-9AF1-9888-33BC-768CAB0FFF0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8:29.546" v="67969"/>
          <ac:graphicFrameMkLst>
            <pc:docMk/>
            <pc:sldMk cId="4252749090" sldId="389"/>
            <ac:graphicFrameMk id="88" creationId="{6617654C-AB86-1D2D-8C8C-C68DA220408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8:34.428" v="68055"/>
          <ac:graphicFrameMkLst>
            <pc:docMk/>
            <pc:sldMk cId="4252749090" sldId="389"/>
            <ac:graphicFrameMk id="89" creationId="{8E71C897-D4C0-1E89-1669-5F419724D06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8:43.346" v="68370"/>
          <ac:graphicFrameMkLst>
            <pc:docMk/>
            <pc:sldMk cId="4252749090" sldId="389"/>
            <ac:graphicFrameMk id="91" creationId="{B0196542-39CD-5286-375A-046552D0967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8:49.954" v="68457"/>
          <ac:graphicFrameMkLst>
            <pc:docMk/>
            <pc:sldMk cId="4252749090" sldId="389"/>
            <ac:graphicFrameMk id="99" creationId="{A3FB1CA6-A40A-43C1-E330-159F056DD58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8:53.046" v="68532"/>
          <ac:graphicFrameMkLst>
            <pc:docMk/>
            <pc:sldMk cId="4252749090" sldId="389"/>
            <ac:graphicFrameMk id="101" creationId="{9C94FA79-8034-1DED-CF90-052A50D4FAB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8:56.231" v="68737"/>
          <ac:graphicFrameMkLst>
            <pc:docMk/>
            <pc:sldMk cId="4252749090" sldId="389"/>
            <ac:graphicFrameMk id="102" creationId="{600A1668-712E-E8C2-E69B-721C0512095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24.170" v="68886"/>
          <ac:graphicFrameMkLst>
            <pc:docMk/>
            <pc:sldMk cId="4252749090" sldId="389"/>
            <ac:graphicFrameMk id="108" creationId="{A6B5A789-2953-EB01-5919-5D4EE3487F0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25.712" v="68941"/>
          <ac:graphicFrameMkLst>
            <pc:docMk/>
            <pc:sldMk cId="4252749090" sldId="389"/>
            <ac:graphicFrameMk id="111" creationId="{7932F5AB-C167-28B4-02E6-A8E115E1189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35.113" v="69369"/>
          <ac:graphicFrameMkLst>
            <pc:docMk/>
            <pc:sldMk cId="4252749090" sldId="389"/>
            <ac:graphicFrameMk id="112" creationId="{83D73353-C4A6-FA7E-16C7-A750998A124C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2T22:49:33.867" v="69038"/>
          <ac:graphicFrameMkLst>
            <pc:docMk/>
            <pc:sldMk cId="4252749090" sldId="389"/>
            <ac:graphicFrameMk id="113" creationId="{E5815F29-0497-BAD3-ABB9-922314B6538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37.733" v="69424"/>
          <ac:graphicFrameMkLst>
            <pc:docMk/>
            <pc:sldMk cId="4252749090" sldId="389"/>
            <ac:graphicFrameMk id="122" creationId="{03654415-C78B-62A2-53DA-A00B59FD73B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40.963" v="69526"/>
          <ac:graphicFrameMkLst>
            <pc:docMk/>
            <pc:sldMk cId="4252749090" sldId="389"/>
            <ac:graphicFrameMk id="123" creationId="{56F43218-52D1-F38F-42F2-9A79E3B5F7A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42.502" v="69673"/>
          <ac:graphicFrameMkLst>
            <pc:docMk/>
            <pc:sldMk cId="4252749090" sldId="389"/>
            <ac:graphicFrameMk id="124" creationId="{4F90CD1D-23DB-7ED1-C8D9-E09B10ECC20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44.510" v="69728"/>
          <ac:graphicFrameMkLst>
            <pc:docMk/>
            <pc:sldMk cId="4252749090" sldId="389"/>
            <ac:graphicFrameMk id="127" creationId="{3E09776E-8C12-DF26-1BA5-5026914F3F6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49.078" v="69875"/>
          <ac:graphicFrameMkLst>
            <pc:docMk/>
            <pc:sldMk cId="4252749090" sldId="389"/>
            <ac:graphicFrameMk id="128" creationId="{F668C303-82DA-0084-C31F-2CF76E6C24C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50.400" v="69929"/>
          <ac:graphicFrameMkLst>
            <pc:docMk/>
            <pc:sldMk cId="4252749090" sldId="389"/>
            <ac:graphicFrameMk id="131" creationId="{B538DF42-97B6-351E-FB4A-F1C1B30FCA7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53.418" v="69982"/>
          <ac:graphicFrameMkLst>
            <pc:docMk/>
            <pc:sldMk cId="4252749090" sldId="389"/>
            <ac:graphicFrameMk id="132" creationId="{76CBFCB4-F929-D11C-550E-EFF3246AC16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55.497" v="70129"/>
          <ac:graphicFrameMkLst>
            <pc:docMk/>
            <pc:sldMk cId="4252749090" sldId="389"/>
            <ac:graphicFrameMk id="133" creationId="{7F6D7D62-98F4-F055-C6E6-1FFA063B39E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57.037" v="70184"/>
          <ac:graphicFrameMkLst>
            <pc:docMk/>
            <pc:sldMk cId="4252749090" sldId="389"/>
            <ac:graphicFrameMk id="136" creationId="{B9131E0D-B73C-E966-9E7F-094ABAB0A2E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49:58.799" v="70234"/>
          <ac:graphicFrameMkLst>
            <pc:docMk/>
            <pc:sldMk cId="4252749090" sldId="389"/>
            <ac:graphicFrameMk id="137" creationId="{F8BF060C-9B20-D4A9-50AF-7CA37B5E5E8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06.968" v="70381"/>
          <ac:graphicFrameMkLst>
            <pc:docMk/>
            <pc:sldMk cId="4252749090" sldId="389"/>
            <ac:graphicFrameMk id="138" creationId="{929C1535-7D3C-2EBD-132D-EADEBFCE511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08.958" v="70436"/>
          <ac:graphicFrameMkLst>
            <pc:docMk/>
            <pc:sldMk cId="4252749090" sldId="389"/>
            <ac:graphicFrameMk id="141" creationId="{3DD7DD7C-3E56-F2A7-E2B1-12C91330904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14.053" v="70642"/>
          <ac:graphicFrameMkLst>
            <pc:docMk/>
            <pc:sldMk cId="4252749090" sldId="389"/>
            <ac:graphicFrameMk id="142" creationId="{41DD57ED-81F2-2767-8E66-0AD357A33A7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17.078" v="70787"/>
          <ac:graphicFrameMkLst>
            <pc:docMk/>
            <pc:sldMk cId="4252749090" sldId="389"/>
            <ac:graphicFrameMk id="144" creationId="{00C9C8E8-6679-EAC8-7B74-B33176AE7AF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19.395" v="70836"/>
          <ac:graphicFrameMkLst>
            <pc:docMk/>
            <pc:sldMk cId="4252749090" sldId="389"/>
            <ac:graphicFrameMk id="147" creationId="{B8451DCB-AA23-41F8-A298-F29B101513F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21.872" v="71059"/>
          <ac:graphicFrameMkLst>
            <pc:docMk/>
            <pc:sldMk cId="4252749090" sldId="389"/>
            <ac:graphicFrameMk id="148" creationId="{6169639C-679F-334D-72C4-F575191FC78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24.926" v="71269"/>
          <ac:graphicFrameMkLst>
            <pc:docMk/>
            <pc:sldMk cId="4252749090" sldId="389"/>
            <ac:graphicFrameMk id="152" creationId="{07A710AF-6D3A-9F26-829A-8FDE9AF82A9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29.022" v="71325"/>
          <ac:graphicFrameMkLst>
            <pc:docMk/>
            <pc:sldMk cId="4252749090" sldId="389"/>
            <ac:graphicFrameMk id="158" creationId="{7EA1DD3C-F521-825E-FCEF-0ADF1155044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31.745" v="71379"/>
          <ac:graphicFrameMkLst>
            <pc:docMk/>
            <pc:sldMk cId="4252749090" sldId="389"/>
            <ac:graphicFrameMk id="159" creationId="{888AAC29-52F8-7FFB-9042-D015B86BCBF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32.970" v="71436"/>
          <ac:graphicFrameMkLst>
            <pc:docMk/>
            <pc:sldMk cId="4252749090" sldId="389"/>
            <ac:graphicFrameMk id="160" creationId="{33AACAA4-4757-3162-6D6F-0E47698FD30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34.416" v="71491"/>
          <ac:graphicFrameMkLst>
            <pc:docMk/>
            <pc:sldMk cId="4252749090" sldId="389"/>
            <ac:graphicFrameMk id="161" creationId="{8B3D37A2-07FB-3445-5813-FF6DE358852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40.154" v="71546"/>
          <ac:graphicFrameMkLst>
            <pc:docMk/>
            <pc:sldMk cId="4252749090" sldId="389"/>
            <ac:graphicFrameMk id="162" creationId="{66C3C3C7-5AB8-6E32-2BC9-9BAD6502288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43.188" v="71599"/>
          <ac:graphicFrameMkLst>
            <pc:docMk/>
            <pc:sldMk cId="4252749090" sldId="389"/>
            <ac:graphicFrameMk id="163" creationId="{08C17CC0-B772-BF72-B660-141D297690C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46.211" v="71719"/>
          <ac:graphicFrameMkLst>
            <pc:docMk/>
            <pc:sldMk cId="4252749090" sldId="389"/>
            <ac:graphicFrameMk id="164" creationId="{B3DFB889-1187-E4D9-F909-2DAF613A317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48.586" v="71845"/>
          <ac:graphicFrameMkLst>
            <pc:docMk/>
            <pc:sldMk cId="4252749090" sldId="389"/>
            <ac:graphicFrameMk id="167" creationId="{C89BC1BE-3F7B-91BF-9961-D683D2C3B86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55.358" v="71901"/>
          <ac:graphicFrameMkLst>
            <pc:docMk/>
            <pc:sldMk cId="4252749090" sldId="389"/>
            <ac:graphicFrameMk id="170" creationId="{347C225B-0B0D-CDC9-4812-953485BE0A0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0:56.410" v="72039"/>
          <ac:graphicFrameMkLst>
            <pc:docMk/>
            <pc:sldMk cId="4252749090" sldId="389"/>
            <ac:graphicFrameMk id="171" creationId="{88902121-9DB3-9BEE-C8D0-6932EC63032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1:00.659" v="72190"/>
          <ac:graphicFrameMkLst>
            <pc:docMk/>
            <pc:sldMk cId="4252749090" sldId="389"/>
            <ac:graphicFrameMk id="173" creationId="{42C16B7C-890A-CC57-C0CE-8F6940CEBA2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1:03.422" v="72243"/>
          <ac:graphicFrameMkLst>
            <pc:docMk/>
            <pc:sldMk cId="4252749090" sldId="389"/>
            <ac:graphicFrameMk id="176" creationId="{E9316622-167B-09A4-D612-41AD6FB0BB0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1:10.797" v="72968"/>
          <ac:graphicFrameMkLst>
            <pc:docMk/>
            <pc:sldMk cId="4252749090" sldId="389"/>
            <ac:graphicFrameMk id="177" creationId="{25989B8A-2CE8-DC76-BD5C-4F6147E78C65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2T22:51:07.113" v="72570"/>
          <ac:graphicFrameMkLst>
            <pc:docMk/>
            <pc:sldMk cId="4252749090" sldId="389"/>
            <ac:graphicFrameMk id="181" creationId="{D1C6D9D9-4431-341A-AB31-B895F9828E6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1:15.731" v="73020"/>
          <ac:graphicFrameMkLst>
            <pc:docMk/>
            <pc:sldMk cId="4252749090" sldId="389"/>
            <ac:graphicFrameMk id="191" creationId="{BC50146D-6CAF-79B7-B99A-39D37278E48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1:16.887" v="73073"/>
          <ac:graphicFrameMkLst>
            <pc:docMk/>
            <pc:sldMk cId="4252749090" sldId="389"/>
            <ac:graphicFrameMk id="192" creationId="{91AFB3E0-DDF7-1CC9-AC22-C99ADDC8F9D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1:17.715" v="73124"/>
          <ac:graphicFrameMkLst>
            <pc:docMk/>
            <pc:sldMk cId="4252749090" sldId="389"/>
            <ac:graphicFrameMk id="193" creationId="{38ACA976-CAD3-123B-2EF3-4AD8797EE48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1:20.515" v="73172"/>
          <ac:graphicFrameMkLst>
            <pc:docMk/>
            <pc:sldMk cId="4252749090" sldId="389"/>
            <ac:graphicFrameMk id="194" creationId="{40668EF1-17A5-79CA-B81A-E56E2755873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1:20.623" v="73221"/>
          <ac:graphicFrameMkLst>
            <pc:docMk/>
            <pc:sldMk cId="4252749090" sldId="389"/>
            <ac:graphicFrameMk id="195" creationId="{748CB771-319A-798F-496F-09BDCE3AE43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2:18.234" v="73265"/>
          <ac:graphicFrameMkLst>
            <pc:docMk/>
            <pc:sldMk cId="4252749090" sldId="389"/>
            <ac:graphicFrameMk id="196" creationId="{404917C0-D98C-7CD4-B994-C01A31E045A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2:27.700" v="73315"/>
          <ac:graphicFrameMkLst>
            <pc:docMk/>
            <pc:sldMk cId="4252749090" sldId="389"/>
            <ac:graphicFrameMk id="197" creationId="{29E4E4ED-4A00-46D2-ADDC-52C5FDCE742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3:04.831" v="73366"/>
          <ac:graphicFrameMkLst>
            <pc:docMk/>
            <pc:sldMk cId="4252749090" sldId="389"/>
            <ac:graphicFrameMk id="198" creationId="{62A7AD04-E2AB-95FF-26BE-1112425600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4:21.880" v="73724"/>
          <ac:graphicFrameMkLst>
            <pc:docMk/>
            <pc:sldMk cId="4252749090" sldId="389"/>
            <ac:graphicFrameMk id="199" creationId="{D3511909-0583-FCAA-A436-ECA6463F17D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2:54:28.242" v="73920"/>
          <ac:graphicFrameMkLst>
            <pc:docMk/>
            <pc:sldMk cId="4252749090" sldId="389"/>
            <ac:graphicFrameMk id="204" creationId="{6A216731-7E19-330E-A5B9-0C2008BD84D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7:50.277" v="75399"/>
          <ac:graphicFrameMkLst>
            <pc:docMk/>
            <pc:sldMk cId="4252749090" sldId="389"/>
            <ac:graphicFrameMk id="210" creationId="{D2B19D33-7057-5505-EAAC-D032759F402E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2T23:26:25.782" v="74346"/>
          <ac:graphicFrameMkLst>
            <pc:docMk/>
            <pc:sldMk cId="4252749090" sldId="389"/>
            <ac:graphicFrameMk id="214" creationId="{3B444BE2-A6D9-A678-D482-91E0EA73946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7:03.090" v="74693"/>
          <ac:graphicFrameMkLst>
            <pc:docMk/>
            <pc:sldMk cId="4252749090" sldId="389"/>
            <ac:graphicFrameMk id="219" creationId="{39AC25DC-0A2E-6A21-6A32-25B1FF6314D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7:05.679" v="74788"/>
          <ac:graphicFrameMkLst>
            <pc:docMk/>
            <pc:sldMk cId="4252749090" sldId="389"/>
            <ac:graphicFrameMk id="221" creationId="{9151073E-F8A9-9A43-A9BA-D8FED2B25E7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7:08.963" v="74883"/>
          <ac:graphicFrameMkLst>
            <pc:docMk/>
            <pc:sldMk cId="4252749090" sldId="389"/>
            <ac:graphicFrameMk id="223" creationId="{98C81DFD-0D34-9BFA-3123-2C8ACE0FE75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7:13.299" v="74978"/>
          <ac:graphicFrameMkLst>
            <pc:docMk/>
            <pc:sldMk cId="4252749090" sldId="389"/>
            <ac:graphicFrameMk id="225" creationId="{5E38F609-C28E-1679-C47A-1E0275CEAB7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7:16.111" v="75032"/>
          <ac:graphicFrameMkLst>
            <pc:docMk/>
            <pc:sldMk cId="4252749090" sldId="389"/>
            <ac:graphicFrameMk id="227" creationId="{05781ADE-4748-C84D-0475-1AFF42FA846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7:38.814" v="75082"/>
          <ac:graphicFrameMkLst>
            <pc:docMk/>
            <pc:sldMk cId="4252749090" sldId="389"/>
            <ac:graphicFrameMk id="228" creationId="{26A26089-0FF3-B376-2287-2142CBEEBEA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9:34.183" v="75561"/>
          <ac:graphicFrameMkLst>
            <pc:docMk/>
            <pc:sldMk cId="4252749090" sldId="389"/>
            <ac:graphicFrameMk id="229" creationId="{232874F2-F1A7-C8B6-EA93-87D43C58077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7:55.226" v="75507"/>
          <ac:graphicFrameMkLst>
            <pc:docMk/>
            <pc:sldMk cId="4252749090" sldId="389"/>
            <ac:graphicFrameMk id="237" creationId="{69EE688F-3E44-6AAB-2CA5-D9FF52B6C16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34:04.627" v="76032"/>
          <ac:graphicFrameMkLst>
            <pc:docMk/>
            <pc:sldMk cId="4252749090" sldId="389"/>
            <ac:graphicFrameMk id="239" creationId="{F1B81088-1260-1748-CD74-DC74F0186AB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9:36.704" v="75603"/>
          <ac:graphicFrameMkLst>
            <pc:docMk/>
            <pc:sldMk cId="4252749090" sldId="389"/>
            <ac:graphicFrameMk id="240" creationId="{C6A7653B-7B68-9BA5-FAC7-FBCEEE98816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9:38.384" v="75643"/>
          <ac:graphicFrameMkLst>
            <pc:docMk/>
            <pc:sldMk cId="4252749090" sldId="389"/>
            <ac:graphicFrameMk id="241" creationId="{BFA13A36-A57D-44E0-5E01-7A1FDBFA95E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9:41.634" v="75681"/>
          <ac:graphicFrameMkLst>
            <pc:docMk/>
            <pc:sldMk cId="4252749090" sldId="389"/>
            <ac:graphicFrameMk id="242" creationId="{6483DA3F-8955-FA49-D4FE-81FD72F2DE8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9:47.858" v="75719"/>
          <ac:graphicFrameMkLst>
            <pc:docMk/>
            <pc:sldMk cId="4252749090" sldId="389"/>
            <ac:graphicFrameMk id="243" creationId="{4B9BCC88-A272-D9B2-EB64-D39EB9BF71B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29:55.235" v="75758"/>
          <ac:graphicFrameMkLst>
            <pc:docMk/>
            <pc:sldMk cId="4252749090" sldId="389"/>
            <ac:graphicFrameMk id="244" creationId="{8FB4A1CB-1928-F097-F3C7-2965FD0E58A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30:00.067" v="75797"/>
          <ac:graphicFrameMkLst>
            <pc:docMk/>
            <pc:sldMk cId="4252749090" sldId="389"/>
            <ac:graphicFrameMk id="245" creationId="{1DBE8597-AFAB-6761-7BDF-8A97FF292F8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30:01.846" v="75835"/>
          <ac:graphicFrameMkLst>
            <pc:docMk/>
            <pc:sldMk cId="4252749090" sldId="389"/>
            <ac:graphicFrameMk id="246" creationId="{0830413F-31C1-A0B3-60C3-3F1F0B7B50F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30:03.483" v="75873"/>
          <ac:graphicFrameMkLst>
            <pc:docMk/>
            <pc:sldMk cId="4252749090" sldId="389"/>
            <ac:graphicFrameMk id="247" creationId="{F33D965F-CE32-EDE5-7EA6-30EA9EB289C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30:08.667" v="75911"/>
          <ac:graphicFrameMkLst>
            <pc:docMk/>
            <pc:sldMk cId="4252749090" sldId="389"/>
            <ac:graphicFrameMk id="248" creationId="{3F9BC34A-E214-1947-5017-2EB2BF8923B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33:50.958" v="75949"/>
          <ac:graphicFrameMkLst>
            <pc:docMk/>
            <pc:sldMk cId="4252749090" sldId="389"/>
            <ac:graphicFrameMk id="249" creationId="{CC22028F-3998-4934-A180-8289DD92CF6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39:49.003" v="76104"/>
          <ac:graphicFrameMkLst>
            <pc:docMk/>
            <pc:sldMk cId="4252749090" sldId="389"/>
            <ac:graphicFrameMk id="250" creationId="{7B6D48ED-F5F6-29FC-FC0C-45D6B86AED6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2:34.417" v="76304"/>
          <ac:graphicFrameMkLst>
            <pc:docMk/>
            <pc:sldMk cId="4252749090" sldId="389"/>
            <ac:graphicFrameMk id="251" creationId="{2642C7A7-407D-A88D-52B9-A5C764AF69C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39:53.291" v="76142"/>
          <ac:graphicFrameMkLst>
            <pc:docMk/>
            <pc:sldMk cId="4252749090" sldId="389"/>
            <ac:graphicFrameMk id="252" creationId="{F643B8F3-41F6-1C33-65DD-FCDA6AF82E3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1:39.151" v="76180"/>
          <ac:graphicFrameMkLst>
            <pc:docMk/>
            <pc:sldMk cId="4252749090" sldId="389"/>
            <ac:graphicFrameMk id="253" creationId="{827A1A01-3040-95BE-2F91-92883996124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1:46.619" v="76218"/>
          <ac:graphicFrameMkLst>
            <pc:docMk/>
            <pc:sldMk cId="4252749090" sldId="389"/>
            <ac:graphicFrameMk id="254" creationId="{4E8A99EE-9975-C2D4-D266-606FE0A58BA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5:00.361" v="76419"/>
          <ac:graphicFrameMkLst>
            <pc:docMk/>
            <pc:sldMk cId="4252749090" sldId="389"/>
            <ac:graphicFrameMk id="255" creationId="{EA482A30-67A1-09D1-BA78-367AE92098F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6:38.057" v="77345"/>
          <ac:graphicFrameMkLst>
            <pc:docMk/>
            <pc:sldMk cId="4252749090" sldId="389"/>
            <ac:graphicFrameMk id="258" creationId="{5C19C08D-EC22-5A14-C299-CC432E10D9B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6:41.815" v="77460"/>
          <ac:graphicFrameMkLst>
            <pc:docMk/>
            <pc:sldMk cId="4252749090" sldId="389"/>
            <ac:graphicFrameMk id="262" creationId="{18D84941-FDC4-7606-8878-ACF413E36DB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6:12.940" v="76517"/>
          <ac:graphicFrameMkLst>
            <pc:docMk/>
            <pc:sldMk cId="4252749090" sldId="389"/>
            <ac:graphicFrameMk id="265" creationId="{288E597A-3901-0F15-058F-B8E9EF2952D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6:16.329" v="76565"/>
          <ac:graphicFrameMkLst>
            <pc:docMk/>
            <pc:sldMk cId="4252749090" sldId="389"/>
            <ac:graphicFrameMk id="267" creationId="{235C9B9F-C50D-B899-4AE8-D95E0CCABDD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6:20.499" v="76611"/>
          <ac:graphicFrameMkLst>
            <pc:docMk/>
            <pc:sldMk cId="4252749090" sldId="389"/>
            <ac:graphicFrameMk id="268" creationId="{19363C63-10EF-9FD5-BFD0-6A3FFEE20A9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6:22.660" v="76822"/>
          <ac:graphicFrameMkLst>
            <pc:docMk/>
            <pc:sldMk cId="4252749090" sldId="389"/>
            <ac:graphicFrameMk id="269" creationId="{5B29235A-48CC-A2C5-5DA6-BE424E72D57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6:26.088" v="76884"/>
          <ac:graphicFrameMkLst>
            <pc:docMk/>
            <pc:sldMk cId="4252749090" sldId="389"/>
            <ac:graphicFrameMk id="273" creationId="{E1D090E4-719B-600A-5D8F-E10C26D9095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6:34.038" v="76987"/>
          <ac:graphicFrameMkLst>
            <pc:docMk/>
            <pc:sldMk cId="4252749090" sldId="389"/>
            <ac:graphicFrameMk id="274" creationId="{60932937-9EFA-61D8-7D60-6E60D5F6D66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2:53.423" v="77830"/>
          <ac:graphicFrameMkLst>
            <pc:docMk/>
            <pc:sldMk cId="4252749090" sldId="389"/>
            <ac:graphicFrameMk id="276" creationId="{D2FFA095-1B81-B085-1DFC-4BACEF98F43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5:59.380" v="78035"/>
          <ac:graphicFrameMkLst>
            <pc:docMk/>
            <pc:sldMk cId="4252749090" sldId="389"/>
            <ac:graphicFrameMk id="284" creationId="{93A7B27B-2CFA-8562-B7EE-DFC93CDFDAA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2T23:46:44.762" v="77508"/>
          <ac:graphicFrameMkLst>
            <pc:docMk/>
            <pc:sldMk cId="4252749090" sldId="389"/>
            <ac:graphicFrameMk id="286" creationId="{56C555AC-D2B2-720C-EA3D-40FF8E9CDFC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2:26.457" v="77554"/>
          <ac:graphicFrameMkLst>
            <pc:docMk/>
            <pc:sldMk cId="4252749090" sldId="389"/>
            <ac:graphicFrameMk id="287" creationId="{9234094B-E065-FB32-BE3A-2890CA2C843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2:31.820" v="77600"/>
          <ac:graphicFrameMkLst>
            <pc:docMk/>
            <pc:sldMk cId="4252749090" sldId="389"/>
            <ac:graphicFrameMk id="288" creationId="{F318BC86-4A3C-49DF-A635-5FE7F3B1574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2:33.894" v="77646"/>
          <ac:graphicFrameMkLst>
            <pc:docMk/>
            <pc:sldMk cId="4252749090" sldId="389"/>
            <ac:graphicFrameMk id="289" creationId="{67D770C4-0409-8B8B-50B0-5D760484B22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2:35.146" v="77692"/>
          <ac:graphicFrameMkLst>
            <pc:docMk/>
            <pc:sldMk cId="4252749090" sldId="389"/>
            <ac:graphicFrameMk id="290" creationId="{749123FA-F47C-2E89-4DCE-1BBC3ABC397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2:42.177" v="77738"/>
          <ac:graphicFrameMkLst>
            <pc:docMk/>
            <pc:sldMk cId="4252749090" sldId="389"/>
            <ac:graphicFrameMk id="291" creationId="{501836BB-16A2-232E-9179-FDF469A9D34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2:45.152" v="77784"/>
          <ac:graphicFrameMkLst>
            <pc:docMk/>
            <pc:sldMk cId="4252749090" sldId="389"/>
            <ac:graphicFrameMk id="292" creationId="{1ACA01FA-3DCC-B4F4-4C8F-90AF1A39343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3:22.393" v="77876"/>
          <ac:graphicFrameMkLst>
            <pc:docMk/>
            <pc:sldMk cId="4252749090" sldId="389"/>
            <ac:graphicFrameMk id="293" creationId="{A9102AC1-2F29-0535-2561-C826101DA49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8:26.993" v="78683"/>
          <ac:graphicFrameMkLst>
            <pc:docMk/>
            <pc:sldMk cId="4252749090" sldId="389"/>
            <ac:graphicFrameMk id="294" creationId="{52BF5513-3A74-0D36-1158-FDD25904655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3:31.044" v="77922"/>
          <ac:graphicFrameMkLst>
            <pc:docMk/>
            <pc:sldMk cId="4252749090" sldId="389"/>
            <ac:graphicFrameMk id="295" creationId="{7DEF78C3-4198-976A-9A38-3286830ADD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5:56.068" v="77968"/>
          <ac:graphicFrameMkLst>
            <pc:docMk/>
            <pc:sldMk cId="4252749090" sldId="389"/>
            <ac:graphicFrameMk id="296" creationId="{17040A04-C043-9E42-059E-5BE281A5B48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6:08.280" v="78282"/>
          <ac:graphicFrameMkLst>
            <pc:docMk/>
            <pc:sldMk cId="4252749090" sldId="389"/>
            <ac:graphicFrameMk id="297" creationId="{E57A8593-F3E6-58D5-0307-6907A4BDA82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6:00.459" v="78102"/>
          <ac:graphicFrameMkLst>
            <pc:docMk/>
            <pc:sldMk cId="4252749090" sldId="389"/>
            <ac:graphicFrameMk id="298" creationId="{F389BD87-E4CE-77D3-EA11-092DBCEEA4C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6:02.537" v="78169"/>
          <ac:graphicFrameMkLst>
            <pc:docMk/>
            <pc:sldMk cId="4252749090" sldId="389"/>
            <ac:graphicFrameMk id="299" creationId="{605EE1B9-DA30-24F3-7F19-E9AC85F499A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6:04.084" v="78236"/>
          <ac:graphicFrameMkLst>
            <pc:docMk/>
            <pc:sldMk cId="4252749090" sldId="389"/>
            <ac:graphicFrameMk id="300" creationId="{79F6FB18-F0C1-BF22-34D6-AEBB2979936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6:54.423" v="78383"/>
          <ac:graphicFrameMkLst>
            <pc:docMk/>
            <pc:sldMk cId="4252749090" sldId="389"/>
            <ac:graphicFrameMk id="301" creationId="{069167B7-0084-97DD-B036-02B97D78930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7:01.406" v="78430"/>
          <ac:graphicFrameMkLst>
            <pc:docMk/>
            <pc:sldMk cId="4252749090" sldId="389"/>
            <ac:graphicFrameMk id="302" creationId="{971144D6-4613-5F65-681A-97AB394046D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13:12.593" v="80329"/>
          <ac:graphicFrameMkLst>
            <pc:docMk/>
            <pc:sldMk cId="4252749090" sldId="389"/>
            <ac:graphicFrameMk id="304" creationId="{7179D530-36A6-CF75-6D63-F7D1C5E1EA1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36:06.220" v="79249"/>
          <ac:graphicFrameMkLst>
            <pc:docMk/>
            <pc:sldMk cId="4252749090" sldId="389"/>
            <ac:graphicFrameMk id="305" creationId="{54E085E4-6CBE-1151-EE7C-0A7D8260058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8:14.233" v="78594"/>
          <ac:graphicFrameMkLst>
            <pc:docMk/>
            <pc:sldMk cId="4252749090" sldId="389"/>
            <ac:graphicFrameMk id="308" creationId="{048420AC-BBF9-B0D9-CE62-3BCA5E2BC71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8:49.915" v="78861"/>
          <ac:graphicFrameMkLst>
            <pc:docMk/>
            <pc:sldMk cId="4252749090" sldId="389"/>
            <ac:graphicFrameMk id="310" creationId="{46EC0DFA-9814-EFD7-A894-9576CE35792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8:28.345" v="78772"/>
          <ac:graphicFrameMkLst>
            <pc:docMk/>
            <pc:sldMk cId="4252749090" sldId="389"/>
            <ac:graphicFrameMk id="312" creationId="{2AFBA58E-0A5A-FF10-5438-4FF2D80D28B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35:41.987" v="79198"/>
          <ac:graphicFrameMkLst>
            <pc:docMk/>
            <pc:sldMk cId="4252749090" sldId="389"/>
            <ac:graphicFrameMk id="314" creationId="{3CFF8145-D6CC-95DA-F3D2-0EA120A8A90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28:52.734" v="78950"/>
          <ac:graphicFrameMkLst>
            <pc:docMk/>
            <pc:sldMk cId="4252749090" sldId="389"/>
            <ac:graphicFrameMk id="316" creationId="{B40D5D5B-F18C-04AA-857F-E0417CBEDF1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30:03.600" v="79025"/>
          <ac:graphicFrameMkLst>
            <pc:docMk/>
            <pc:sldMk cId="4252749090" sldId="389"/>
            <ac:graphicFrameMk id="318" creationId="{3C3F2227-D560-DE32-AB44-E03DF7CD873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35:39.277" v="79147"/>
          <ac:graphicFrameMkLst>
            <pc:docMk/>
            <pc:sldMk cId="4252749090" sldId="389"/>
            <ac:graphicFrameMk id="319" creationId="{13627431-2FF9-FF08-65EB-76460354416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37:28.903" v="79354"/>
          <ac:graphicFrameMkLst>
            <pc:docMk/>
            <pc:sldMk cId="4252749090" sldId="389"/>
            <ac:graphicFrameMk id="323" creationId="{3F8D7BD2-FB86-F5EF-B6E7-19AD1EB3012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6:37:24.844" v="79303"/>
          <ac:graphicFrameMkLst>
            <pc:docMk/>
            <pc:sldMk cId="4252749090" sldId="389"/>
            <ac:graphicFrameMk id="324" creationId="{86068537-3FBA-93E4-94B7-C29A4150F23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13:08.888" v="80256"/>
          <ac:graphicFrameMkLst>
            <pc:docMk/>
            <pc:sldMk cId="4252749090" sldId="389"/>
            <ac:graphicFrameMk id="325" creationId="{51B55946-B111-27FD-E7D9-274EF6B53E0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3:24.217" v="124033"/>
          <ac:graphicFrameMkLst>
            <pc:docMk/>
            <pc:sldMk cId="4252749090" sldId="389"/>
            <ac:graphicFrameMk id="326" creationId="{B9B72BFC-F100-3CF7-A9F9-1FDC3AFCDAD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3:44.012" v="124223"/>
          <ac:graphicFrameMkLst>
            <pc:docMk/>
            <pc:sldMk cId="4252749090" sldId="389"/>
            <ac:graphicFrameMk id="327" creationId="{F8B413BD-EAC7-107F-AA8C-1FA9171E456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13:25.488" v="80455"/>
          <ac:graphicFrameMkLst>
            <pc:docMk/>
            <pc:sldMk cId="4252749090" sldId="389"/>
            <ac:graphicFrameMk id="329" creationId="{0411F38E-A7D6-BD57-DF83-CD7A006D1CC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13:15.612" v="80402"/>
          <ac:graphicFrameMkLst>
            <pc:docMk/>
            <pc:sldMk cId="4252749090" sldId="389"/>
            <ac:graphicFrameMk id="330" creationId="{A5B6DF6D-0778-D312-1DAF-5215B1B349F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8:33.570" v="107206"/>
          <ac:graphicFrameMkLst>
            <pc:docMk/>
            <pc:sldMk cId="4252749090" sldId="389"/>
            <ac:graphicFrameMk id="331" creationId="{B5BE589C-8962-3C36-A573-4EE36930A76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0:45.185" v="80777"/>
          <ac:graphicFrameMkLst>
            <pc:docMk/>
            <pc:sldMk cId="4252749090" sldId="389"/>
            <ac:graphicFrameMk id="332" creationId="{9C3F929C-713D-CF89-99EE-ED34D4A1D4D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0:47.883" v="80830"/>
          <ac:graphicFrameMkLst>
            <pc:docMk/>
            <pc:sldMk cId="4252749090" sldId="389"/>
            <ac:graphicFrameMk id="346" creationId="{BB8575F7-B1B9-A7C8-47C6-E6BB238572E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0:50.178" v="80883"/>
          <ac:graphicFrameMkLst>
            <pc:docMk/>
            <pc:sldMk cId="4252749090" sldId="389"/>
            <ac:graphicFrameMk id="347" creationId="{8DAC0826-FAED-B745-1144-96AA80484CA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1:03.566" v="80937"/>
          <ac:graphicFrameMkLst>
            <pc:docMk/>
            <pc:sldMk cId="4252749090" sldId="389"/>
            <ac:graphicFrameMk id="348" creationId="{D346910D-DB1F-86A6-6343-1C3590CE049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0:09.695" v="94859"/>
          <ac:graphicFrameMkLst>
            <pc:docMk/>
            <pc:sldMk cId="4252749090" sldId="389"/>
            <ac:graphicFrameMk id="349" creationId="{D379E7D9-6E51-917F-83EF-EF6BC45A986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0:15.499" v="94913"/>
          <ac:graphicFrameMkLst>
            <pc:docMk/>
            <pc:sldMk cId="4252749090" sldId="389"/>
            <ac:graphicFrameMk id="350" creationId="{19D72964-F001-50DF-3AAA-51CFB085F79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8:30.906" v="107050"/>
          <ac:graphicFrameMkLst>
            <pc:docMk/>
            <pc:sldMk cId="4252749090" sldId="389"/>
            <ac:graphicFrameMk id="351" creationId="{E897C139-C0EA-3D28-BBE7-9B8C6E8118D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8:37.750" v="107415"/>
          <ac:graphicFrameMkLst>
            <pc:docMk/>
            <pc:sldMk cId="4252749090" sldId="389"/>
            <ac:graphicFrameMk id="352" creationId="{681D8A06-5577-FC93-11F2-7107AFE83AB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8:35.018" v="107362"/>
          <ac:graphicFrameMkLst>
            <pc:docMk/>
            <pc:sldMk cId="4252749090" sldId="389"/>
            <ac:graphicFrameMk id="359" creationId="{91C1B221-BBF9-E143-326A-8494616A9C6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7:56.780" v="120178"/>
          <ac:graphicFrameMkLst>
            <pc:docMk/>
            <pc:sldMk cId="4252749090" sldId="389"/>
            <ac:graphicFrameMk id="366" creationId="{4409EE55-C5B0-49B0-D5D1-931F2684937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8:42.315" v="107469"/>
          <ac:graphicFrameMkLst>
            <pc:docMk/>
            <pc:sldMk cId="4252749090" sldId="389"/>
            <ac:graphicFrameMk id="367" creationId="{41EC1E98-8412-D895-B9AD-F48496208D2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8:46.326" v="107522"/>
          <ac:graphicFrameMkLst>
            <pc:docMk/>
            <pc:sldMk cId="4252749090" sldId="389"/>
            <ac:graphicFrameMk id="368" creationId="{4681A72E-DDAE-028A-FA0B-6635C75AD0C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8:48.554" v="107575"/>
          <ac:graphicFrameMkLst>
            <pc:docMk/>
            <pc:sldMk cId="4252749090" sldId="389"/>
            <ac:graphicFrameMk id="369" creationId="{DF8D7D5D-F116-A40A-00C7-E17E3D2A4A7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39:18.343" v="107638"/>
          <ac:graphicFrameMkLst>
            <pc:docMk/>
            <pc:sldMk cId="4252749090" sldId="389"/>
            <ac:graphicFrameMk id="370" creationId="{41BD7C47-F125-15E0-57FD-B7B71075EC5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31:32.771" v="123841"/>
          <ac:graphicFrameMkLst>
            <pc:docMk/>
            <pc:sldMk cId="4252749090" sldId="389"/>
            <ac:graphicFrameMk id="371" creationId="{374823F1-7A6C-C374-156F-976C690CC99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8:01.448" v="120560"/>
          <ac:graphicFrameMkLst>
            <pc:docMk/>
            <pc:sldMk cId="4252749090" sldId="389"/>
            <ac:graphicFrameMk id="390" creationId="{193682F4-12E2-DF6A-355A-92DDAB28167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8:12.099" v="120741"/>
          <ac:graphicFrameMkLst>
            <pc:docMk/>
            <pc:sldMk cId="4252749090" sldId="389"/>
            <ac:graphicFrameMk id="400" creationId="{C1581C65-42AB-2719-06CD-7ADF3A0CC74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8:18.797" v="121058"/>
          <ac:graphicFrameMkLst>
            <pc:docMk/>
            <pc:sldMk cId="4252749090" sldId="389"/>
            <ac:graphicFrameMk id="404" creationId="{BAEE85EF-C427-1444-BF97-A2F751D6E1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8:25.196" v="121143"/>
          <ac:graphicFrameMkLst>
            <pc:docMk/>
            <pc:sldMk cId="4252749090" sldId="389"/>
            <ac:graphicFrameMk id="414" creationId="{E142D8B1-E8B4-382E-8455-8EACB9E3D5C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8:36.359" v="121210"/>
          <ac:graphicFrameMkLst>
            <pc:docMk/>
            <pc:sldMk cId="4252749090" sldId="389"/>
            <ac:graphicFrameMk id="416" creationId="{8D6BC4B4-9B32-4572-53D9-56FC2CF345C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8:50.830" v="121278"/>
          <ac:graphicFrameMkLst>
            <pc:docMk/>
            <pc:sldMk cId="4252749090" sldId="389"/>
            <ac:graphicFrameMk id="417" creationId="{86521AAC-142E-425D-DE84-13D6267592F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06.182" v="122338"/>
          <ac:graphicFrameMkLst>
            <pc:docMk/>
            <pc:sldMk cId="4252749090" sldId="389"/>
            <ac:graphicFrameMk id="418" creationId="{B6C0CFD2-3D92-889E-05F2-238F2E79379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11.089" v="122432"/>
          <ac:graphicFrameMkLst>
            <pc:docMk/>
            <pc:sldMk cId="4252749090" sldId="389"/>
            <ac:graphicFrameMk id="435" creationId="{86EAA3AE-8773-F46F-E891-432F4316D55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18.576" v="122684"/>
          <ac:graphicFrameMkLst>
            <pc:docMk/>
            <pc:sldMk cId="4252749090" sldId="389"/>
            <ac:graphicFrameMk id="436" creationId="{CE720574-1B07-E9C2-7BAC-9F85F5669F9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24.041" v="122771"/>
          <ac:graphicFrameMkLst>
            <pc:docMk/>
            <pc:sldMk cId="4252749090" sldId="389"/>
            <ac:graphicFrameMk id="438" creationId="{1219540C-E382-EC3E-5987-DC3724E9BB9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25.212" v="122865"/>
          <ac:graphicFrameMkLst>
            <pc:docMk/>
            <pc:sldMk cId="4252749090" sldId="389"/>
            <ac:graphicFrameMk id="439" creationId="{03267279-D666-24B2-1624-A97C80B51D8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27.014" v="122952"/>
          <ac:graphicFrameMkLst>
            <pc:docMk/>
            <pc:sldMk cId="4252749090" sldId="389"/>
            <ac:graphicFrameMk id="440" creationId="{03223BE5-E999-2BB3-0B43-531D768778A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30.442" v="123036"/>
          <ac:graphicFrameMkLst>
            <pc:docMk/>
            <pc:sldMk cId="4252749090" sldId="389"/>
            <ac:graphicFrameMk id="441" creationId="{DFD27A0A-13D9-16E3-026E-90C5ED59190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32.029" v="123121"/>
          <ac:graphicFrameMkLst>
            <pc:docMk/>
            <pc:sldMk cId="4252749090" sldId="389"/>
            <ac:graphicFrameMk id="442" creationId="{32B53359-6EEC-3718-1D41-83911F8582D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32.781" v="123201"/>
          <ac:graphicFrameMkLst>
            <pc:docMk/>
            <pc:sldMk cId="4252749090" sldId="389"/>
            <ac:graphicFrameMk id="443" creationId="{535372C6-5511-DEE7-2A43-D8037DF6123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33.507" v="123281"/>
          <ac:graphicFrameMkLst>
            <pc:docMk/>
            <pc:sldMk cId="4252749090" sldId="389"/>
            <ac:graphicFrameMk id="444" creationId="{65B7048A-F73B-B797-B988-12B78ED1400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35.847" v="123368"/>
          <ac:graphicFrameMkLst>
            <pc:docMk/>
            <pc:sldMk cId="4252749090" sldId="389"/>
            <ac:graphicFrameMk id="445" creationId="{34A04B65-4880-649C-585D-874BD29935E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36.401" v="123445"/>
          <ac:graphicFrameMkLst>
            <pc:docMk/>
            <pc:sldMk cId="4252749090" sldId="389"/>
            <ac:graphicFrameMk id="446" creationId="{96543E12-0E36-0D41-5C25-4228BDC44D3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37.027" v="123535"/>
          <ac:graphicFrameMkLst>
            <pc:docMk/>
            <pc:sldMk cId="4252749090" sldId="389"/>
            <ac:graphicFrameMk id="447" creationId="{3C7CAB73-464F-05D0-02B2-C0F416E5DE6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38.676" v="123611"/>
          <ac:graphicFrameMkLst>
            <pc:docMk/>
            <pc:sldMk cId="4252749090" sldId="389"/>
            <ac:graphicFrameMk id="448" creationId="{A6CF4B35-A6B6-EEBE-97EE-9CAC9F84C87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39.716" v="123682"/>
          <ac:graphicFrameMkLst>
            <pc:docMk/>
            <pc:sldMk cId="4252749090" sldId="389"/>
            <ac:graphicFrameMk id="449" creationId="{28C1267C-37C3-D807-0456-EFD60668C6B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9:40.493" v="123748"/>
          <ac:graphicFrameMkLst>
            <pc:docMk/>
            <pc:sldMk cId="4252749090" sldId="389"/>
            <ac:graphicFrameMk id="450" creationId="{EB75C20D-EF21-0B04-2816-112FCF25460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9:46.326" v="205962"/>
          <ac:graphicFrameMkLst>
            <pc:docMk/>
            <pc:sldMk cId="4252749090" sldId="389"/>
            <ac:graphicFrameMk id="451" creationId="{A42E0D49-235F-5342-F390-9C2BBF2DCBB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31:35.046" v="123936"/>
          <ac:graphicFrameMkLst>
            <pc:docMk/>
            <pc:sldMk cId="4252749090" sldId="389"/>
            <ac:graphicFrameMk id="453" creationId="{C746C1CC-FED4-5B2E-9011-892B0D5E6B4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9:52.707" v="206059"/>
          <ac:graphicFrameMkLst>
            <pc:docMk/>
            <pc:sldMk cId="4252749090" sldId="389"/>
            <ac:graphicFrameMk id="455" creationId="{D2C8D167-D2CC-1802-4372-B7950B95196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3:33.705" v="124128"/>
          <ac:graphicFrameMkLst>
            <pc:docMk/>
            <pc:sldMk cId="4252749090" sldId="389"/>
            <ac:graphicFrameMk id="457" creationId="{4D07F7C6-B738-9804-0EA6-6B3716D38E2B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5T00:19:56.249" v="206155"/>
          <ac:graphicFrameMkLst>
            <pc:docMk/>
            <pc:sldMk cId="4252749090" sldId="389"/>
            <ac:graphicFrameMk id="459" creationId="{54853098-7D57-AD19-C18D-3E63B1C1EBE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43:46.651" v="124318"/>
          <ac:graphicFrameMkLst>
            <pc:docMk/>
            <pc:sldMk cId="4252749090" sldId="389"/>
            <ac:graphicFrameMk id="461" creationId="{BCC068F2-A151-44A1-8CBB-76C5BC3BAF8C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5T00:19:56.249" v="206157"/>
          <ac:graphicFrameMkLst>
            <pc:docMk/>
            <pc:sldMk cId="4252749090" sldId="389"/>
            <ac:graphicFrameMk id="463" creationId="{00895A3C-F4B5-C7B8-571C-698B74F183F8}"/>
          </ac:graphicFrameMkLst>
        </pc:graphicFrameChg>
        <pc:picChg chg="add mod">
          <ac:chgData name="Merlin Gutter" userId="2abc6f04-74af-430b-bdc8-569c3bfa1dda" providerId="ADAL" clId="{CB1EFBC3-10F5-3048-8961-5969497C0019}" dt="2022-11-25T00:19:56.250" v="206164"/>
          <ac:picMkLst>
            <pc:docMk/>
            <pc:sldMk cId="4252749090" sldId="389"/>
            <ac:picMk id="376" creationId="{425C2652-0E81-01F4-6159-8260736B2151}"/>
          </ac:picMkLst>
        </pc:picChg>
        <pc:picChg chg="add mod">
          <ac:chgData name="Merlin Gutter" userId="2abc6f04-74af-430b-bdc8-569c3bfa1dda" providerId="ADAL" clId="{CB1EFBC3-10F5-3048-8961-5969497C0019}" dt="2022-11-25T00:19:56.251" v="206165"/>
          <ac:picMkLst>
            <pc:docMk/>
            <pc:sldMk cId="4252749090" sldId="389"/>
            <ac:picMk id="377" creationId="{580F4D75-8769-ECED-8D6D-B52AC7E4153F}"/>
          </ac:picMkLst>
        </pc:picChg>
        <pc:cxnChg chg="add del mod replST">
          <ac:chgData name="Merlin Gutter" userId="2abc6f04-74af-430b-bdc8-569c3bfa1dda" providerId="ADAL" clId="{CB1EFBC3-10F5-3048-8961-5969497C0019}" dt="2022-11-22T22:46:59.682" v="66226"/>
          <ac:cxnSpMkLst>
            <pc:docMk/>
            <pc:sldMk cId="4252749090" sldId="389"/>
            <ac:cxnSpMk id="28" creationId="{81E23DF5-2042-4278-DC68-27933195FD24}"/>
          </ac:cxnSpMkLst>
        </pc:cxnChg>
        <pc:cxnChg chg="add del mod replST">
          <ac:chgData name="Merlin Gutter" userId="2abc6f04-74af-430b-bdc8-569c3bfa1dda" providerId="ADAL" clId="{CB1EFBC3-10F5-3048-8961-5969497C0019}" dt="2022-11-22T22:47:15.822" v="66850"/>
          <ac:cxnSpMkLst>
            <pc:docMk/>
            <pc:sldMk cId="4252749090" sldId="389"/>
            <ac:cxnSpMk id="57" creationId="{AB1837EC-2D68-EAAC-6C90-31C35174D67F}"/>
          </ac:cxnSpMkLst>
        </pc:cxnChg>
        <pc:cxnChg chg="add del mod replST">
          <ac:chgData name="Merlin Gutter" userId="2abc6f04-74af-430b-bdc8-569c3bfa1dda" providerId="ADAL" clId="{CB1EFBC3-10F5-3048-8961-5969497C0019}" dt="2022-11-22T22:47:15.824" v="66857"/>
          <ac:cxnSpMkLst>
            <pc:docMk/>
            <pc:sldMk cId="4252749090" sldId="389"/>
            <ac:cxnSpMk id="58" creationId="{06E743EA-AD50-4E7C-F513-573CF510CE76}"/>
          </ac:cxnSpMkLst>
        </pc:cxnChg>
        <pc:cxnChg chg="add del mod replST">
          <ac:chgData name="Merlin Gutter" userId="2abc6f04-74af-430b-bdc8-569c3bfa1dda" providerId="ADAL" clId="{CB1EFBC3-10F5-3048-8961-5969497C0019}" dt="2022-11-22T22:48:56.226" v="68722"/>
          <ac:cxnSpMkLst>
            <pc:docMk/>
            <pc:sldMk cId="4252749090" sldId="389"/>
            <ac:cxnSpMk id="85" creationId="{9F0887E5-25C4-98FC-A4FD-B8143B25FA13}"/>
          </ac:cxnSpMkLst>
        </pc:cxnChg>
        <pc:cxnChg chg="add del mod replST">
          <ac:chgData name="Merlin Gutter" userId="2abc6f04-74af-430b-bdc8-569c3bfa1dda" providerId="ADAL" clId="{CB1EFBC3-10F5-3048-8961-5969497C0019}" dt="2022-11-22T22:48:43.336" v="68338"/>
          <ac:cxnSpMkLst>
            <pc:docMk/>
            <pc:sldMk cId="4252749090" sldId="389"/>
            <ac:cxnSpMk id="86" creationId="{27515ECB-79F8-0668-13C8-71B3D9210E2F}"/>
          </ac:cxnSpMkLst>
        </pc:cxnChg>
        <pc:cxnChg chg="add del mod replST">
          <ac:chgData name="Merlin Gutter" userId="2abc6f04-74af-430b-bdc8-569c3bfa1dda" providerId="ADAL" clId="{CB1EFBC3-10F5-3048-8961-5969497C0019}" dt="2022-11-22T22:48:43.337" v="68340"/>
          <ac:cxnSpMkLst>
            <pc:docMk/>
            <pc:sldMk cId="4252749090" sldId="389"/>
            <ac:cxnSpMk id="87" creationId="{B8376C54-0869-4DE2-196F-F2F62D98BC16}"/>
          </ac:cxnSpMkLst>
        </pc:cxnChg>
        <pc:cxnChg chg="add del mod replST">
          <ac:chgData name="Merlin Gutter" userId="2abc6f04-74af-430b-bdc8-569c3bfa1dda" providerId="ADAL" clId="{CB1EFBC3-10F5-3048-8961-5969497C0019}" dt="2022-11-22T22:48:43.335" v="68332"/>
          <ac:cxnSpMkLst>
            <pc:docMk/>
            <pc:sldMk cId="4252749090" sldId="389"/>
            <ac:cxnSpMk id="90" creationId="{BE8BB701-C44A-D300-72F9-D6101ECFECDE}"/>
          </ac:cxnSpMkLst>
        </pc:cxnChg>
        <pc:cxnChg chg="add del mod replST">
          <ac:chgData name="Merlin Gutter" userId="2abc6f04-74af-430b-bdc8-569c3bfa1dda" providerId="ADAL" clId="{CB1EFBC3-10F5-3048-8961-5969497C0019}" dt="2022-11-22T22:48:53.043" v="68524"/>
          <ac:cxnSpMkLst>
            <pc:docMk/>
            <pc:sldMk cId="4252749090" sldId="389"/>
            <ac:cxnSpMk id="100" creationId="{BD60DF48-5306-96C4-2AEC-68DB7FE4C274}"/>
          </ac:cxnSpMkLst>
        </pc:cxnChg>
        <pc:cxnChg chg="add del mod replST">
          <ac:chgData name="Merlin Gutter" userId="2abc6f04-74af-430b-bdc8-569c3bfa1dda" providerId="ADAL" clId="{CB1EFBC3-10F5-3048-8961-5969497C0019}" dt="2022-11-22T22:50:56.401" v="72005"/>
          <ac:cxnSpMkLst>
            <pc:docMk/>
            <pc:sldMk cId="4252749090" sldId="389"/>
            <ac:cxnSpMk id="156" creationId="{38EAA69E-4194-1EFC-C204-59791E487D0A}"/>
          </ac:cxnSpMkLst>
        </pc:cxnChg>
        <pc:cxnChg chg="add del mod replST">
          <ac:chgData name="Merlin Gutter" userId="2abc6f04-74af-430b-bdc8-569c3bfa1dda" providerId="ADAL" clId="{CB1EFBC3-10F5-3048-8961-5969497C0019}" dt="2022-11-22T22:50:56.401" v="72009"/>
          <ac:cxnSpMkLst>
            <pc:docMk/>
            <pc:sldMk cId="4252749090" sldId="389"/>
            <ac:cxnSpMk id="157" creationId="{1FECE2E5-EF01-C167-08E5-CC500A8D1043}"/>
          </ac:cxnSpMkLst>
        </pc:cxnChg>
        <pc:cxnChg chg="add mod">
          <ac:chgData name="Merlin Gutter" userId="2abc6f04-74af-430b-bdc8-569c3bfa1dda" providerId="ADAL" clId="{CB1EFBC3-10F5-3048-8961-5969497C0019}" dt="2022-11-25T00:19:56.248" v="206150"/>
          <ac:cxnSpMkLst>
            <pc:docMk/>
            <pc:sldMk cId="4252749090" sldId="389"/>
            <ac:cxnSpMk id="259" creationId="{E3D86F7D-0D7F-4B2A-D707-A4436451F7EA}"/>
          </ac:cxnSpMkLst>
        </pc:cxnChg>
        <pc:cxnChg chg="add mod">
          <ac:chgData name="Merlin Gutter" userId="2abc6f04-74af-430b-bdc8-569c3bfa1dda" providerId="ADAL" clId="{CB1EFBC3-10F5-3048-8961-5969497C0019}" dt="2022-11-25T00:19:56.248" v="206151"/>
          <ac:cxnSpMkLst>
            <pc:docMk/>
            <pc:sldMk cId="4252749090" sldId="389"/>
            <ac:cxnSpMk id="260" creationId="{D35C2706-DD9F-9677-4876-2F8B902F973A}"/>
          </ac:cxnSpMkLst>
        </pc:cxnChg>
        <pc:cxnChg chg="add del mod replST">
          <ac:chgData name="Merlin Gutter" userId="2abc6f04-74af-430b-bdc8-569c3bfa1dda" providerId="ADAL" clId="{CB1EFBC3-10F5-3048-8961-5969497C0019}" dt="2022-11-23T22:29:18.565" v="122642"/>
          <ac:cxnSpMkLst>
            <pc:docMk/>
            <pc:sldMk cId="4252749090" sldId="389"/>
            <ac:cxnSpMk id="434" creationId="{AEF83EEE-7769-F2CC-7C48-0E24F4BAA581}"/>
          </ac:cxnSpMkLst>
        </pc:cxnChg>
      </pc:sldChg>
      <pc:sldChg chg="addSp modSp mod chgLayout">
        <pc:chgData name="Merlin Gutter" userId="2abc6f04-74af-430b-bdc8-569c3bfa1dda" providerId="ADAL" clId="{CB1EFBC3-10F5-3048-8961-5969497C0019}" dt="2022-11-24T19:33:15.226" v="130685" actId="1076"/>
        <pc:sldMkLst>
          <pc:docMk/>
          <pc:sldMk cId="840332457" sldId="391"/>
        </pc:sldMkLst>
        <pc:spChg chg="mod">
          <ac:chgData name="Merlin Gutter" userId="2abc6f04-74af-430b-bdc8-569c3bfa1dda" providerId="ADAL" clId="{CB1EFBC3-10F5-3048-8961-5969497C0019}" dt="2022-11-24T19:33:15.226" v="130685" actId="1076"/>
          <ac:spMkLst>
            <pc:docMk/>
            <pc:sldMk cId="840332457" sldId="391"/>
            <ac:spMk id="2" creationId="{ED46F2C1-7E38-AFD9-11D1-985945A26A55}"/>
          </ac:spMkLst>
        </pc:spChg>
        <pc:spChg chg="mod ord">
          <ac:chgData name="Merlin Gutter" userId="2abc6f04-74af-430b-bdc8-569c3bfa1dda" providerId="ADAL" clId="{CB1EFBC3-10F5-3048-8961-5969497C0019}" dt="2022-11-24T19:25:05.244" v="130658"/>
          <ac:spMkLst>
            <pc:docMk/>
            <pc:sldMk cId="840332457" sldId="391"/>
            <ac:spMk id="4" creationId="{419A56F2-33FC-B13B-F824-5320C14683F0}"/>
          </ac:spMkLst>
        </pc:spChg>
        <pc:spChg chg="mod ord">
          <ac:chgData name="Merlin Gutter" userId="2abc6f04-74af-430b-bdc8-569c3bfa1dda" providerId="ADAL" clId="{CB1EFBC3-10F5-3048-8961-5969497C0019}" dt="2022-11-24T19:25:05.244" v="130658"/>
          <ac:spMkLst>
            <pc:docMk/>
            <pc:sldMk cId="840332457" sldId="391"/>
            <ac:spMk id="5" creationId="{64E62B09-B628-9390-D8F1-925831825F25}"/>
          </ac:spMkLst>
        </pc:spChg>
        <pc:spChg chg="mod ord">
          <ac:chgData name="Merlin Gutter" userId="2abc6f04-74af-430b-bdc8-569c3bfa1dda" providerId="ADAL" clId="{CB1EFBC3-10F5-3048-8961-5969497C0019}" dt="2022-11-24T19:25:05.244" v="130658"/>
          <ac:spMkLst>
            <pc:docMk/>
            <pc:sldMk cId="840332457" sldId="391"/>
            <ac:spMk id="6" creationId="{5CD15DEF-BD86-6BAD-F618-0FCA1640781D}"/>
          </ac:spMkLst>
        </pc:spChg>
        <pc:spChg chg="add mod ord">
          <ac:chgData name="Merlin Gutter" userId="2abc6f04-74af-430b-bdc8-569c3bfa1dda" providerId="ADAL" clId="{CB1EFBC3-10F5-3048-8961-5969497C0019}" dt="2022-11-24T19:25:05.244" v="130658"/>
          <ac:spMkLst>
            <pc:docMk/>
            <pc:sldMk cId="840332457" sldId="391"/>
            <ac:spMk id="9" creationId="{50E0DDBC-49ED-E33C-9644-26A5D86F8967}"/>
          </ac:spMkLst>
        </pc:spChg>
        <pc:spChg chg="add mod ord">
          <ac:chgData name="Merlin Gutter" userId="2abc6f04-74af-430b-bdc8-569c3bfa1dda" providerId="ADAL" clId="{CB1EFBC3-10F5-3048-8961-5969497C0019}" dt="2022-11-24T19:25:07.183" v="130659"/>
          <ac:spMkLst>
            <pc:docMk/>
            <pc:sldMk cId="840332457" sldId="391"/>
            <ac:spMk id="10" creationId="{1B60FF2E-A585-41B0-A0C1-F3D2F8C96D17}"/>
          </ac:spMkLst>
        </pc:spChg>
        <pc:picChg chg="mod">
          <ac:chgData name="Merlin Gutter" userId="2abc6f04-74af-430b-bdc8-569c3bfa1dda" providerId="ADAL" clId="{CB1EFBC3-10F5-3048-8961-5969497C0019}" dt="2022-11-24T19:33:06.339" v="130684"/>
          <ac:picMkLst>
            <pc:docMk/>
            <pc:sldMk cId="840332457" sldId="391"/>
            <ac:picMk id="3" creationId="{E78D1940-ACA5-B09F-5619-8797478A3B0F}"/>
          </ac:picMkLst>
        </pc:picChg>
      </pc:sldChg>
      <pc:sldChg chg="modSp mod">
        <pc:chgData name="Merlin Gutter" userId="2abc6f04-74af-430b-bdc8-569c3bfa1dda" providerId="ADAL" clId="{CB1EFBC3-10F5-3048-8961-5969497C0019}" dt="2022-11-24T22:43:09.505" v="184263" actId="1076"/>
        <pc:sldMkLst>
          <pc:docMk/>
          <pc:sldMk cId="3172311671" sldId="392"/>
        </pc:sldMkLst>
        <pc:spChg chg="mod">
          <ac:chgData name="Merlin Gutter" userId="2abc6f04-74af-430b-bdc8-569c3bfa1dda" providerId="ADAL" clId="{CB1EFBC3-10F5-3048-8961-5969497C0019}" dt="2022-11-24T20:10:03.622" v="150250"/>
          <ac:spMkLst>
            <pc:docMk/>
            <pc:sldMk cId="3172311671" sldId="392"/>
            <ac:spMk id="2" creationId="{EBDD7A3D-4F52-3DE2-F933-8449D83DCF02}"/>
          </ac:spMkLst>
        </pc:spChg>
        <pc:spChg chg="mod">
          <ac:chgData name="Merlin Gutter" userId="2abc6f04-74af-430b-bdc8-569c3bfa1dda" providerId="ADAL" clId="{CB1EFBC3-10F5-3048-8961-5969497C0019}" dt="2022-11-24T22:43:09.505" v="184263" actId="1076"/>
          <ac:spMkLst>
            <pc:docMk/>
            <pc:sldMk cId="3172311671" sldId="392"/>
            <ac:spMk id="3" creationId="{CE9F8312-CA7B-DA68-95FE-848748A3D2DB}"/>
          </ac:spMkLst>
        </pc:spChg>
        <pc:spChg chg="mod">
          <ac:chgData name="Merlin Gutter" userId="2abc6f04-74af-430b-bdc8-569c3bfa1dda" providerId="ADAL" clId="{CB1EFBC3-10F5-3048-8961-5969497C0019}" dt="2022-11-24T20:10:03.622" v="150251"/>
          <ac:spMkLst>
            <pc:docMk/>
            <pc:sldMk cId="3172311671" sldId="392"/>
            <ac:spMk id="4" creationId="{419A56F2-33FC-B13B-F824-5320C14683F0}"/>
          </ac:spMkLst>
        </pc:spChg>
        <pc:spChg chg="mod">
          <ac:chgData name="Merlin Gutter" userId="2abc6f04-74af-430b-bdc8-569c3bfa1dda" providerId="ADAL" clId="{CB1EFBC3-10F5-3048-8961-5969497C0019}" dt="2022-11-24T20:10:03.622" v="150252"/>
          <ac:spMkLst>
            <pc:docMk/>
            <pc:sldMk cId="3172311671" sldId="392"/>
            <ac:spMk id="5" creationId="{64E62B09-B628-9390-D8F1-925831825F25}"/>
          </ac:spMkLst>
        </pc:spChg>
        <pc:spChg chg="mod">
          <ac:chgData name="Merlin Gutter" userId="2abc6f04-74af-430b-bdc8-569c3bfa1dda" providerId="ADAL" clId="{CB1EFBC3-10F5-3048-8961-5969497C0019}" dt="2022-11-24T20:10:03.623" v="150253"/>
          <ac:spMkLst>
            <pc:docMk/>
            <pc:sldMk cId="3172311671" sldId="392"/>
            <ac:spMk id="6" creationId="{5CD15DEF-BD86-6BAD-F618-0FCA1640781D}"/>
          </ac:spMkLst>
        </pc:spChg>
        <pc:graphicFrameChg chg="mod">
          <ac:chgData name="Merlin Gutter" userId="2abc6f04-74af-430b-bdc8-569c3bfa1dda" providerId="ADAL" clId="{CB1EFBC3-10F5-3048-8961-5969497C0019}" dt="2022-11-24T20:10:03.625" v="150260"/>
          <ac:graphicFrameMkLst>
            <pc:docMk/>
            <pc:sldMk cId="3172311671" sldId="392"/>
            <ac:graphicFrameMk id="16" creationId="{834B41B2-5D57-7823-F22B-40C9F502BD7F}"/>
          </ac:graphicFrameMkLst>
        </pc:graphicFrameChg>
        <pc:picChg chg="mod">
          <ac:chgData name="Merlin Gutter" userId="2abc6f04-74af-430b-bdc8-569c3bfa1dda" providerId="ADAL" clId="{CB1EFBC3-10F5-3048-8961-5969497C0019}" dt="2022-11-24T20:10:03.618" v="150249"/>
          <ac:picMkLst>
            <pc:docMk/>
            <pc:sldMk cId="3172311671" sldId="392"/>
            <ac:picMk id="9" creationId="{9668BD5F-DC63-9428-BCDC-D180123B8814}"/>
          </ac:picMkLst>
        </pc:picChg>
        <pc:cxnChg chg="mod">
          <ac:chgData name="Merlin Gutter" userId="2abc6f04-74af-430b-bdc8-569c3bfa1dda" providerId="ADAL" clId="{CB1EFBC3-10F5-3048-8961-5969497C0019}" dt="2022-11-24T20:10:03.623" v="150254"/>
          <ac:cxnSpMkLst>
            <pc:docMk/>
            <pc:sldMk cId="3172311671" sldId="392"/>
            <ac:cxnSpMk id="7" creationId="{6CD833BF-6EC0-776C-5E18-9C96D0167D02}"/>
          </ac:cxnSpMkLst>
        </pc:cxnChg>
        <pc:cxnChg chg="mod">
          <ac:chgData name="Merlin Gutter" userId="2abc6f04-74af-430b-bdc8-569c3bfa1dda" providerId="ADAL" clId="{CB1EFBC3-10F5-3048-8961-5969497C0019}" dt="2022-11-24T20:10:03.623" v="150255"/>
          <ac:cxnSpMkLst>
            <pc:docMk/>
            <pc:sldMk cId="3172311671" sldId="392"/>
            <ac:cxnSpMk id="8" creationId="{F1396AF4-3FDF-FDB0-5EC0-E0CC39AFE9DA}"/>
          </ac:cxnSpMkLst>
        </pc:cxnChg>
      </pc:sldChg>
      <pc:sldChg chg="addSp delSp modSp new add mod">
        <pc:chgData name="Merlin Gutter" userId="2abc6f04-74af-430b-bdc8-569c3bfa1dda" providerId="ADAL" clId="{CB1EFBC3-10F5-3048-8961-5969497C0019}" dt="2022-11-24T19:24:41.998" v="130652"/>
        <pc:sldMkLst>
          <pc:docMk/>
          <pc:sldMk cId="478543402" sldId="393"/>
        </pc:sldMkLst>
        <pc:spChg chg="mod">
          <ac:chgData name="Merlin Gutter" userId="2abc6f04-74af-430b-bdc8-569c3bfa1dda" providerId="ADAL" clId="{CB1EFBC3-10F5-3048-8961-5969497C0019}" dt="2022-11-24T19:24:41.998" v="130652"/>
          <ac:spMkLst>
            <pc:docMk/>
            <pc:sldMk cId="478543402" sldId="393"/>
            <ac:spMk id="2" creationId="{338B8041-9BC1-0531-4A15-21EACF4ACFF8}"/>
          </ac:spMkLst>
        </pc:spChg>
        <pc:spChg chg="mod">
          <ac:chgData name="Merlin Gutter" userId="2abc6f04-74af-430b-bdc8-569c3bfa1dda" providerId="ADAL" clId="{CB1EFBC3-10F5-3048-8961-5969497C0019}" dt="2022-11-23T16:53:47.399" v="79467" actId="20577"/>
          <ac:spMkLst>
            <pc:docMk/>
            <pc:sldMk cId="478543402" sldId="393"/>
            <ac:spMk id="4" creationId="{C68E9395-8E1A-06CA-7EC9-1C279B215E7D}"/>
          </ac:spMkLst>
        </pc:spChg>
        <pc:spChg chg="mod">
          <ac:chgData name="Merlin Gutter" userId="2abc6f04-74af-430b-bdc8-569c3bfa1dda" providerId="ADAL" clId="{CB1EFBC3-10F5-3048-8961-5969497C0019}" dt="2022-11-24T19:09:42.340" v="130402" actId="21"/>
          <ac:spMkLst>
            <pc:docMk/>
            <pc:sldMk cId="478543402" sldId="393"/>
            <ac:spMk id="5" creationId="{31EE0521-E9F6-D4FA-A1DD-2DCE354EC490}"/>
          </ac:spMkLst>
        </pc:spChg>
        <pc:spChg chg="add mod">
          <ac:chgData name="Merlin Gutter" userId="2abc6f04-74af-430b-bdc8-569c3bfa1dda" providerId="ADAL" clId="{CB1EFBC3-10F5-3048-8961-5969497C0019}" dt="2022-11-23T16:53:38.183" v="79444"/>
          <ac:spMkLst>
            <pc:docMk/>
            <pc:sldMk cId="478543402" sldId="393"/>
            <ac:spMk id="7" creationId="{B6E5A783-97F0-875F-0EB1-9E85310B8F61}"/>
          </ac:spMkLst>
        </pc:spChg>
        <pc:spChg chg="add mod">
          <ac:chgData name="Merlin Gutter" userId="2abc6f04-74af-430b-bdc8-569c3bfa1dda" providerId="ADAL" clId="{CB1EFBC3-10F5-3048-8961-5969497C0019}" dt="2022-11-23T16:53:38.183" v="79444"/>
          <ac:spMkLst>
            <pc:docMk/>
            <pc:sldMk cId="478543402" sldId="393"/>
            <ac:spMk id="8" creationId="{EBD77E36-5F5D-EA29-18C3-AC249FAA2418}"/>
          </ac:spMkLst>
        </pc:spChg>
        <pc:spChg chg="mod topLvl">
          <ac:chgData name="Merlin Gutter" userId="2abc6f04-74af-430b-bdc8-569c3bfa1dda" providerId="ADAL" clId="{CB1EFBC3-10F5-3048-8961-5969497C0019}" dt="2022-11-23T16:58:08.412" v="79574" actId="165"/>
          <ac:spMkLst>
            <pc:docMk/>
            <pc:sldMk cId="478543402" sldId="393"/>
            <ac:spMk id="10" creationId="{1FDB66EB-2417-310D-9036-219588A8F4F9}"/>
          </ac:spMkLst>
        </pc:spChg>
        <pc:spChg chg="mod topLvl">
          <ac:chgData name="Merlin Gutter" userId="2abc6f04-74af-430b-bdc8-569c3bfa1dda" providerId="ADAL" clId="{CB1EFBC3-10F5-3048-8961-5969497C0019}" dt="2022-11-23T16:58:08.412" v="79574" actId="165"/>
          <ac:spMkLst>
            <pc:docMk/>
            <pc:sldMk cId="478543402" sldId="393"/>
            <ac:spMk id="13" creationId="{283ED9CD-6E33-5FE9-C2C3-53190F20AE8A}"/>
          </ac:spMkLst>
        </pc:spChg>
        <pc:spChg chg="mod">
          <ac:chgData name="Merlin Gutter" userId="2abc6f04-74af-430b-bdc8-569c3bfa1dda" providerId="ADAL" clId="{CB1EFBC3-10F5-3048-8961-5969497C0019}" dt="2022-11-23T16:58:36.619" v="79584"/>
          <ac:spMkLst>
            <pc:docMk/>
            <pc:sldMk cId="478543402" sldId="393"/>
            <ac:spMk id="15" creationId="{15AF3259-D352-F846-6B77-6A51AC41BBE5}"/>
          </ac:spMkLst>
        </pc:spChg>
        <pc:spChg chg="mod">
          <ac:chgData name="Merlin Gutter" userId="2abc6f04-74af-430b-bdc8-569c3bfa1dda" providerId="ADAL" clId="{CB1EFBC3-10F5-3048-8961-5969497C0019}" dt="2022-11-23T16:58:36.619" v="79584"/>
          <ac:spMkLst>
            <pc:docMk/>
            <pc:sldMk cId="478543402" sldId="393"/>
            <ac:spMk id="16" creationId="{C60DA505-3E3C-4672-A1F3-682575BC8E7D}"/>
          </ac:spMkLst>
        </pc:spChg>
        <pc:spChg chg="mod">
          <ac:chgData name="Merlin Gutter" userId="2abc6f04-74af-430b-bdc8-569c3bfa1dda" providerId="ADAL" clId="{CB1EFBC3-10F5-3048-8961-5969497C0019}" dt="2022-11-23T16:59:36.872" v="79594" actId="207"/>
          <ac:spMkLst>
            <pc:docMk/>
            <pc:sldMk cId="478543402" sldId="393"/>
            <ac:spMk id="17" creationId="{8DA63BCE-86E8-AA57-8145-D014F58FF8F8}"/>
          </ac:spMkLst>
        </pc:spChg>
        <pc:spChg chg="mod">
          <ac:chgData name="Merlin Gutter" userId="2abc6f04-74af-430b-bdc8-569c3bfa1dda" providerId="ADAL" clId="{CB1EFBC3-10F5-3048-8961-5969497C0019}" dt="2022-11-23T16:59:10.913" v="79592"/>
          <ac:spMkLst>
            <pc:docMk/>
            <pc:sldMk cId="478543402" sldId="393"/>
            <ac:spMk id="18" creationId="{66F49BC5-FF7F-0275-1796-DC289166B080}"/>
          </ac:spMkLst>
        </pc:spChg>
        <pc:spChg chg="mod">
          <ac:chgData name="Merlin Gutter" userId="2abc6f04-74af-430b-bdc8-569c3bfa1dda" providerId="ADAL" clId="{CB1EFBC3-10F5-3048-8961-5969497C0019}" dt="2022-11-23T16:58:46.033" v="79586" actId="207"/>
          <ac:spMkLst>
            <pc:docMk/>
            <pc:sldMk cId="478543402" sldId="393"/>
            <ac:spMk id="19" creationId="{073E2987-442E-032D-763D-1D4091AEF046}"/>
          </ac:spMkLst>
        </pc:spChg>
        <pc:spChg chg="mod">
          <ac:chgData name="Merlin Gutter" userId="2abc6f04-74af-430b-bdc8-569c3bfa1dda" providerId="ADAL" clId="{CB1EFBC3-10F5-3048-8961-5969497C0019}" dt="2022-11-23T16:58:16.462" v="79576"/>
          <ac:spMkLst>
            <pc:docMk/>
            <pc:sldMk cId="478543402" sldId="393"/>
            <ac:spMk id="20" creationId="{797D1ABF-7A6F-947A-E501-290EAACD5167}"/>
          </ac:spMkLst>
        </pc:spChg>
        <pc:spChg chg="add mod">
          <ac:chgData name="Merlin Gutter" userId="2abc6f04-74af-430b-bdc8-569c3bfa1dda" providerId="ADAL" clId="{CB1EFBC3-10F5-3048-8961-5969497C0019}" dt="2022-11-23T16:53:38.183" v="79444"/>
          <ac:spMkLst>
            <pc:docMk/>
            <pc:sldMk cId="478543402" sldId="393"/>
            <ac:spMk id="21" creationId="{142373CC-5765-0CB2-91E7-94BE6CBC7381}"/>
          </ac:spMkLst>
        </pc:spChg>
        <pc:spChg chg="add mod">
          <ac:chgData name="Merlin Gutter" userId="2abc6f04-74af-430b-bdc8-569c3bfa1dda" providerId="ADAL" clId="{CB1EFBC3-10F5-3048-8961-5969497C0019}" dt="2022-11-23T16:53:38.183" v="79444"/>
          <ac:spMkLst>
            <pc:docMk/>
            <pc:sldMk cId="478543402" sldId="393"/>
            <ac:spMk id="22" creationId="{73AB9D61-5511-1025-9408-42ADF6E2EC0A}"/>
          </ac:spMkLst>
        </pc:spChg>
        <pc:spChg chg="add mod">
          <ac:chgData name="Merlin Gutter" userId="2abc6f04-74af-430b-bdc8-569c3bfa1dda" providerId="ADAL" clId="{CB1EFBC3-10F5-3048-8961-5969497C0019}" dt="2022-11-23T16:53:38.183" v="79444"/>
          <ac:spMkLst>
            <pc:docMk/>
            <pc:sldMk cId="478543402" sldId="393"/>
            <ac:spMk id="23" creationId="{3B118E20-BF88-70C7-DC3C-89694F930079}"/>
          </ac:spMkLst>
        </pc:spChg>
        <pc:spChg chg="add del mod">
          <ac:chgData name="Merlin Gutter" userId="2abc6f04-74af-430b-bdc8-569c3bfa1dda" providerId="ADAL" clId="{CB1EFBC3-10F5-3048-8961-5969497C0019}" dt="2022-11-24T19:09:52.346" v="130407" actId="478"/>
          <ac:spMkLst>
            <pc:docMk/>
            <pc:sldMk cId="478543402" sldId="393"/>
            <ac:spMk id="25" creationId="{069AAE91-C5A5-8A02-9217-0FCDC4C0A1AB}"/>
          </ac:spMkLst>
        </pc:spChg>
        <pc:spChg chg="add mod">
          <ac:chgData name="Merlin Gutter" userId="2abc6f04-74af-430b-bdc8-569c3bfa1dda" providerId="ADAL" clId="{CB1EFBC3-10F5-3048-8961-5969497C0019}" dt="2022-11-24T19:09:50.695" v="130406" actId="20577"/>
          <ac:spMkLst>
            <pc:docMk/>
            <pc:sldMk cId="478543402" sldId="393"/>
            <ac:spMk id="26" creationId="{D6350E61-A3F7-9DE2-F886-C4EFA7EAB9FD}"/>
          </ac:spMkLst>
        </pc:spChg>
        <pc:grpChg chg="add del mod">
          <ac:chgData name="Merlin Gutter" userId="2abc6f04-74af-430b-bdc8-569c3bfa1dda" providerId="ADAL" clId="{CB1EFBC3-10F5-3048-8961-5969497C0019}" dt="2022-11-23T16:58:08.412" v="79574" actId="165"/>
          <ac:grpSpMkLst>
            <pc:docMk/>
            <pc:sldMk cId="478543402" sldId="393"/>
            <ac:grpSpMk id="9" creationId="{75A6EA9E-2C32-A5BA-2EA8-CDDB256396BF}"/>
          </ac:grpSpMkLst>
        </pc:grpChg>
        <pc:grpChg chg="mod topLvl">
          <ac:chgData name="Merlin Gutter" userId="2abc6f04-74af-430b-bdc8-569c3bfa1dda" providerId="ADAL" clId="{CB1EFBC3-10F5-3048-8961-5969497C0019}" dt="2022-11-23T16:58:16.462" v="79576"/>
          <ac:grpSpMkLst>
            <pc:docMk/>
            <pc:sldMk cId="478543402" sldId="393"/>
            <ac:grpSpMk id="11" creationId="{4B1F24A1-D188-BD76-5734-B4ED25F292F2}"/>
          </ac:grpSpMkLst>
        </pc:grpChg>
        <pc:grpChg chg="mod topLvl">
          <ac:chgData name="Merlin Gutter" userId="2abc6f04-74af-430b-bdc8-569c3bfa1dda" providerId="ADAL" clId="{CB1EFBC3-10F5-3048-8961-5969497C0019}" dt="2022-11-23T16:59:10.913" v="79592"/>
          <ac:grpSpMkLst>
            <pc:docMk/>
            <pc:sldMk cId="478543402" sldId="393"/>
            <ac:grpSpMk id="12" creationId="{404FF087-3529-19D9-84B9-525A41C1ACB4}"/>
          </ac:grpSpMkLst>
        </pc:grpChg>
        <pc:grpChg chg="mod topLvl">
          <ac:chgData name="Merlin Gutter" userId="2abc6f04-74af-430b-bdc8-569c3bfa1dda" providerId="ADAL" clId="{CB1EFBC3-10F5-3048-8961-5969497C0019}" dt="2022-11-23T16:58:36.619" v="79584"/>
          <ac:grpSpMkLst>
            <pc:docMk/>
            <pc:sldMk cId="478543402" sldId="393"/>
            <ac:grpSpMk id="14" creationId="{D620DED3-2898-A238-1594-7E4F6DAE766C}"/>
          </ac:grpSpMkLst>
        </pc:grpChg>
        <pc:graphicFrameChg chg="add mod">
          <ac:chgData name="Merlin Gutter" userId="2abc6f04-74af-430b-bdc8-569c3bfa1dda" providerId="ADAL" clId="{CB1EFBC3-10F5-3048-8961-5969497C0019}" dt="2022-11-23T16:53:38.183" v="79444"/>
          <ac:graphicFrameMkLst>
            <pc:docMk/>
            <pc:sldMk cId="478543402" sldId="393"/>
            <ac:graphicFrameMk id="24" creationId="{6061688B-6E37-FA67-5B72-B6C721EA717B}"/>
          </ac:graphicFrameMkLst>
        </pc:graphicFrameChg>
      </pc:sldChg>
      <pc:sldChg chg="new add del">
        <pc:chgData name="Merlin Gutter" userId="2abc6f04-74af-430b-bdc8-569c3bfa1dda" providerId="ADAL" clId="{CB1EFBC3-10F5-3048-8961-5969497C0019}" dt="2022-11-23T16:53:27.138" v="79441" actId="2696"/>
        <pc:sldMkLst>
          <pc:docMk/>
          <pc:sldMk cId="1547292064" sldId="393"/>
        </pc:sldMkLst>
      </pc:sldChg>
      <pc:sldChg chg="addSp delSp modSp add mod ord">
        <pc:chgData name="Merlin Gutter" userId="2abc6f04-74af-430b-bdc8-569c3bfa1dda" providerId="ADAL" clId="{CB1EFBC3-10F5-3048-8961-5969497C0019}" dt="2022-11-25T01:18:13.098" v="208421"/>
        <pc:sldMkLst>
          <pc:docMk/>
          <pc:sldMk cId="1798789550" sldId="394"/>
        </pc:sldMkLst>
        <pc:spChg chg="add del mod">
          <ac:chgData name="Merlin Gutter" userId="2abc6f04-74af-430b-bdc8-569c3bfa1dda" providerId="ADAL" clId="{CB1EFBC3-10F5-3048-8961-5969497C0019}" dt="2022-11-25T00:25:02.584" v="206663" actId="478"/>
          <ac:spMkLst>
            <pc:docMk/>
            <pc:sldMk cId="1798789550" sldId="394"/>
            <ac:spMk id="2" creationId="{9CCDFF34-B518-BD4E-B3CF-733869116F8A}"/>
          </ac:spMkLst>
        </pc:spChg>
        <pc:spChg chg="add del mod">
          <ac:chgData name="Merlin Gutter" userId="2abc6f04-74af-430b-bdc8-569c3bfa1dda" providerId="ADAL" clId="{CB1EFBC3-10F5-3048-8961-5969497C0019}" dt="2022-11-25T00:20:56.576" v="206173"/>
          <ac:spMkLst>
            <pc:docMk/>
            <pc:sldMk cId="1798789550" sldId="394"/>
            <ac:spMk id="3" creationId="{3A1EC534-38D9-6FB9-EFFC-280149E227EA}"/>
          </ac:spMkLst>
        </pc:spChg>
        <pc:spChg chg="add mod">
          <ac:chgData name="Merlin Gutter" userId="2abc6f04-74af-430b-bdc8-569c3bfa1dda" providerId="ADAL" clId="{CB1EFBC3-10F5-3048-8961-5969497C0019}" dt="2022-11-25T00:28:17.919" v="206876"/>
          <ac:spMkLst>
            <pc:docMk/>
            <pc:sldMk cId="1798789550" sldId="394"/>
            <ac:spMk id="4" creationId="{12CF7BCA-962B-B3D3-EED0-A23B029586BA}"/>
          </ac:spMkLst>
        </pc:spChg>
        <pc:spChg chg="add mod">
          <ac:chgData name="Merlin Gutter" userId="2abc6f04-74af-430b-bdc8-569c3bfa1dda" providerId="ADAL" clId="{CB1EFBC3-10F5-3048-8961-5969497C0019}" dt="2022-11-25T00:28:17.919" v="206876"/>
          <ac:spMkLst>
            <pc:docMk/>
            <pc:sldMk cId="1798789550" sldId="394"/>
            <ac:spMk id="5" creationId="{0F83EB97-D8D3-F7ED-FBAE-96663701DABA}"/>
          </ac:spMkLst>
        </pc:spChg>
        <pc:spChg chg="add mod">
          <ac:chgData name="Merlin Gutter" userId="2abc6f04-74af-430b-bdc8-569c3bfa1dda" providerId="ADAL" clId="{CB1EFBC3-10F5-3048-8961-5969497C0019}" dt="2022-11-25T01:18:13.098" v="208421"/>
          <ac:spMkLst>
            <pc:docMk/>
            <pc:sldMk cId="1798789550" sldId="394"/>
            <ac:spMk id="6" creationId="{BE021D68-C580-C913-86CC-D84A5E78B27A}"/>
          </ac:spMkLst>
        </pc:spChg>
        <pc:spChg chg="add mod">
          <ac:chgData name="Merlin Gutter" userId="2abc6f04-74af-430b-bdc8-569c3bfa1dda" providerId="ADAL" clId="{CB1EFBC3-10F5-3048-8961-5969497C0019}" dt="2022-11-25T00:28:17.919" v="206876"/>
          <ac:spMkLst>
            <pc:docMk/>
            <pc:sldMk cId="1798789550" sldId="394"/>
            <ac:spMk id="7" creationId="{61D512A6-6AEB-DCBA-3D40-C1474CF7FAEC}"/>
          </ac:spMkLst>
        </pc:spChg>
        <pc:spChg chg="add mod">
          <ac:chgData name="Merlin Gutter" userId="2abc6f04-74af-430b-bdc8-569c3bfa1dda" providerId="ADAL" clId="{CB1EFBC3-10F5-3048-8961-5969497C0019}" dt="2022-11-25T00:28:17.919" v="206876"/>
          <ac:spMkLst>
            <pc:docMk/>
            <pc:sldMk cId="1798789550" sldId="394"/>
            <ac:spMk id="8" creationId="{6AFEDC70-A1A6-FF2D-D109-08B0E04B53E6}"/>
          </ac:spMkLst>
        </pc:spChg>
        <pc:spChg chg="add mod">
          <ac:chgData name="Merlin Gutter" userId="2abc6f04-74af-430b-bdc8-569c3bfa1dda" providerId="ADAL" clId="{CB1EFBC3-10F5-3048-8961-5969497C0019}" dt="2022-11-25T00:28:17.919" v="206876"/>
          <ac:spMkLst>
            <pc:docMk/>
            <pc:sldMk cId="1798789550" sldId="394"/>
            <ac:spMk id="9" creationId="{95B90725-CE2F-2CFB-C91E-263D57778E25}"/>
          </ac:spMkLst>
        </pc:spChg>
        <pc:spChg chg="mod">
          <ac:chgData name="Merlin Gutter" userId="2abc6f04-74af-430b-bdc8-569c3bfa1dda" providerId="ADAL" clId="{CB1EFBC3-10F5-3048-8961-5969497C0019}" dt="2022-11-23T16:57:05.826" v="79553"/>
          <ac:spMkLst>
            <pc:docMk/>
            <pc:sldMk cId="1798789550" sldId="394"/>
            <ac:spMk id="16" creationId="{20C30B95-34B0-F86F-7CE9-DD1C10E6D5A0}"/>
          </ac:spMkLst>
        </pc:spChg>
        <pc:grpChg chg="del">
          <ac:chgData name="Merlin Gutter" userId="2abc6f04-74af-430b-bdc8-569c3bfa1dda" providerId="ADAL" clId="{CB1EFBC3-10F5-3048-8961-5969497C0019}" dt="2022-11-23T16:55:09.181" v="79499" actId="478"/>
          <ac:grpSpMkLst>
            <pc:docMk/>
            <pc:sldMk cId="1798789550" sldId="394"/>
            <ac:grpSpMk id="5" creationId="{14299BB8-2204-6BD8-C36D-DD3A120D9EF9}"/>
          </ac:grpSpMkLst>
        </pc:grpChg>
        <pc:grpChg chg="del">
          <ac:chgData name="Merlin Gutter" userId="2abc6f04-74af-430b-bdc8-569c3bfa1dda" providerId="ADAL" clId="{CB1EFBC3-10F5-3048-8961-5969497C0019}" dt="2022-11-23T16:55:09.181" v="79499" actId="478"/>
          <ac:grpSpMkLst>
            <pc:docMk/>
            <pc:sldMk cId="1798789550" sldId="394"/>
            <ac:grpSpMk id="9" creationId="{1DC49DF9-04D1-9EA0-7F5B-5EF73E670809}"/>
          </ac:grpSpMkLst>
        </pc:grpChg>
        <pc:grpChg chg="add mod">
          <ac:chgData name="Merlin Gutter" userId="2abc6f04-74af-430b-bdc8-569c3bfa1dda" providerId="ADAL" clId="{CB1EFBC3-10F5-3048-8961-5969497C0019}" dt="2022-11-25T00:28:17.919" v="206876"/>
          <ac:grpSpMkLst>
            <pc:docMk/>
            <pc:sldMk cId="1798789550" sldId="394"/>
            <ac:grpSpMk id="10" creationId="{952DDC5B-4F6F-4D3A-F00C-D2607491A359}"/>
          </ac:grpSpMkLst>
        </pc:grpChg>
        <pc:grpChg chg="add mod">
          <ac:chgData name="Merlin Gutter" userId="2abc6f04-74af-430b-bdc8-569c3bfa1dda" providerId="ADAL" clId="{CB1EFBC3-10F5-3048-8961-5969497C0019}" dt="2022-11-25T00:28:17.919" v="206876"/>
          <ac:grpSpMkLst>
            <pc:docMk/>
            <pc:sldMk cId="1798789550" sldId="394"/>
            <ac:grpSpMk id="11" creationId="{823C1367-ECCE-FFDA-B3A2-0EAC6E1C77E5}"/>
          </ac:grpSpMkLst>
        </pc:grpChg>
        <pc:grpChg chg="add mod">
          <ac:chgData name="Merlin Gutter" userId="2abc6f04-74af-430b-bdc8-569c3bfa1dda" providerId="ADAL" clId="{CB1EFBC3-10F5-3048-8961-5969497C0019}" dt="2022-11-25T00:28:17.919" v="206876"/>
          <ac:grpSpMkLst>
            <pc:docMk/>
            <pc:sldMk cId="1798789550" sldId="394"/>
            <ac:grpSpMk id="12" creationId="{66717AEA-328F-32DC-FE71-52493DD1B081}"/>
          </ac:grpSpMkLst>
        </pc:grpChg>
        <pc:grpChg chg="del">
          <ac:chgData name="Merlin Gutter" userId="2abc6f04-74af-430b-bdc8-569c3bfa1dda" providerId="ADAL" clId="{CB1EFBC3-10F5-3048-8961-5969497C0019}" dt="2022-11-23T16:55:09.181" v="79499" actId="478"/>
          <ac:grpSpMkLst>
            <pc:docMk/>
            <pc:sldMk cId="1798789550" sldId="394"/>
            <ac:grpSpMk id="28" creationId="{80F1A54F-6A0A-158B-4AFF-86CA6062BEE3}"/>
          </ac:grpSpMkLst>
        </pc:grpChg>
        <pc:grpChg chg="del">
          <ac:chgData name="Merlin Gutter" userId="2abc6f04-74af-430b-bdc8-569c3bfa1dda" providerId="ADAL" clId="{CB1EFBC3-10F5-3048-8961-5969497C0019}" dt="2022-11-23T16:55:09.181" v="79499" actId="478"/>
          <ac:grpSpMkLst>
            <pc:docMk/>
            <pc:sldMk cId="1798789550" sldId="394"/>
            <ac:grpSpMk id="29" creationId="{2483A260-60DC-69A1-C3D4-632562702E84}"/>
          </ac:grpSpMkLst>
        </pc:grpChg>
      </pc:sldChg>
      <pc:sldChg chg="addSp delSp modSp add del mod">
        <pc:chgData name="Merlin Gutter" userId="2abc6f04-74af-430b-bdc8-569c3bfa1dda" providerId="ADAL" clId="{CB1EFBC3-10F5-3048-8961-5969497C0019}" dt="2022-11-23T17:24:25.404" v="84082" actId="2696"/>
        <pc:sldMkLst>
          <pc:docMk/>
          <pc:sldMk cId="2083351184" sldId="395"/>
        </pc:sldMkLst>
        <pc:spChg chg="add mod">
          <ac:chgData name="Merlin Gutter" userId="2abc6f04-74af-430b-bdc8-569c3bfa1dda" providerId="ADAL" clId="{CB1EFBC3-10F5-3048-8961-5969497C0019}" dt="2022-11-23T17:11:39.927" v="80246" actId="1035"/>
          <ac:spMkLst>
            <pc:docMk/>
            <pc:sldMk cId="2083351184" sldId="395"/>
            <ac:spMk id="10" creationId="{24323348-6412-EF19-EA46-8CEA164E454F}"/>
          </ac:spMkLst>
        </pc:spChg>
        <pc:spChg chg="add del mod">
          <ac:chgData name="Merlin Gutter" userId="2abc6f04-74af-430b-bdc8-569c3bfa1dda" providerId="ADAL" clId="{CB1EFBC3-10F5-3048-8961-5969497C0019}" dt="2022-11-23T17:09:06.344" v="80194" actId="478"/>
          <ac:spMkLst>
            <pc:docMk/>
            <pc:sldMk cId="2083351184" sldId="395"/>
            <ac:spMk id="14" creationId="{44A7DBF8-F2BC-7030-2613-C0F587CD102C}"/>
          </ac:spMkLst>
        </pc:spChg>
        <pc:spChg chg="add mod">
          <ac:chgData name="Merlin Gutter" userId="2abc6f04-74af-430b-bdc8-569c3bfa1dda" providerId="ADAL" clId="{CB1EFBC3-10F5-3048-8961-5969497C0019}" dt="2022-11-23T17:11:48.174" v="80248"/>
          <ac:spMkLst>
            <pc:docMk/>
            <pc:sldMk cId="2083351184" sldId="395"/>
            <ac:spMk id="15" creationId="{CC6A62E4-E6F0-2512-1FC2-33EE52B543C8}"/>
          </ac:spMkLst>
        </pc:spChg>
        <pc:spChg chg="add mod">
          <ac:chgData name="Merlin Gutter" userId="2abc6f04-74af-430b-bdc8-569c3bfa1dda" providerId="ADAL" clId="{CB1EFBC3-10F5-3048-8961-5969497C0019}" dt="2022-11-23T17:11:39.927" v="80246" actId="1035"/>
          <ac:spMkLst>
            <pc:docMk/>
            <pc:sldMk cId="2083351184" sldId="395"/>
            <ac:spMk id="16" creationId="{1B2601E8-FC66-1C25-CFBB-3D42FB1F6895}"/>
          </ac:spMkLst>
        </pc:spChg>
        <pc:spChg chg="del">
          <ac:chgData name="Merlin Gutter" userId="2abc6f04-74af-430b-bdc8-569c3bfa1dda" providerId="ADAL" clId="{CB1EFBC3-10F5-3048-8961-5969497C0019}" dt="2022-11-23T17:08:49.065" v="80188" actId="478"/>
          <ac:spMkLst>
            <pc:docMk/>
            <pc:sldMk cId="2083351184" sldId="395"/>
            <ac:spMk id="17" creationId="{DD44C274-FD08-2D09-311F-E4389C7B00B0}"/>
          </ac:spMkLst>
        </pc:spChg>
        <pc:spChg chg="add mod">
          <ac:chgData name="Merlin Gutter" userId="2abc6f04-74af-430b-bdc8-569c3bfa1dda" providerId="ADAL" clId="{CB1EFBC3-10F5-3048-8961-5969497C0019}" dt="2022-11-23T17:11:48.177" v="80250"/>
          <ac:spMkLst>
            <pc:docMk/>
            <pc:sldMk cId="2083351184" sldId="395"/>
            <ac:spMk id="18" creationId="{5DE6064C-8D86-64D0-17D5-5A318F259ACC}"/>
          </ac:spMkLst>
        </pc:spChg>
        <pc:spChg chg="del">
          <ac:chgData name="Merlin Gutter" userId="2abc6f04-74af-430b-bdc8-569c3bfa1dda" providerId="ADAL" clId="{CB1EFBC3-10F5-3048-8961-5969497C0019}" dt="2022-11-23T17:08:49.065" v="80188" actId="478"/>
          <ac:spMkLst>
            <pc:docMk/>
            <pc:sldMk cId="2083351184" sldId="395"/>
            <ac:spMk id="19" creationId="{C6AC4D07-7F73-4940-3C80-324F7C0892C1}"/>
          </ac:spMkLst>
        </pc:spChg>
        <pc:spChg chg="del">
          <ac:chgData name="Merlin Gutter" userId="2abc6f04-74af-430b-bdc8-569c3bfa1dda" providerId="ADAL" clId="{CB1EFBC3-10F5-3048-8961-5969497C0019}" dt="2022-11-23T17:08:49.065" v="80188" actId="478"/>
          <ac:spMkLst>
            <pc:docMk/>
            <pc:sldMk cId="2083351184" sldId="395"/>
            <ac:spMk id="21" creationId="{37AB68F3-CA7E-77F5-58C1-D832A565C52F}"/>
          </ac:spMkLst>
        </pc:spChg>
        <pc:spChg chg="add mod">
          <ac:chgData name="Merlin Gutter" userId="2abc6f04-74af-430b-bdc8-569c3bfa1dda" providerId="ADAL" clId="{CB1EFBC3-10F5-3048-8961-5969497C0019}" dt="2022-11-23T17:11:39.927" v="80246" actId="1035"/>
          <ac:spMkLst>
            <pc:docMk/>
            <pc:sldMk cId="2083351184" sldId="395"/>
            <ac:spMk id="22" creationId="{762FE224-4748-3330-47DC-F9776F9E94DE}"/>
          </ac:spMkLst>
        </pc:spChg>
        <pc:spChg chg="del">
          <ac:chgData name="Merlin Gutter" userId="2abc6f04-74af-430b-bdc8-569c3bfa1dda" providerId="ADAL" clId="{CB1EFBC3-10F5-3048-8961-5969497C0019}" dt="2022-11-23T17:08:49.065" v="80188" actId="478"/>
          <ac:spMkLst>
            <pc:docMk/>
            <pc:sldMk cId="2083351184" sldId="395"/>
            <ac:spMk id="24" creationId="{8BD5EC25-7BF3-EDEB-C243-2E367D96EA94}"/>
          </ac:spMkLst>
        </pc:spChg>
        <pc:spChg chg="del">
          <ac:chgData name="Merlin Gutter" userId="2abc6f04-74af-430b-bdc8-569c3bfa1dda" providerId="ADAL" clId="{CB1EFBC3-10F5-3048-8961-5969497C0019}" dt="2022-11-23T17:08:49.065" v="80188" actId="478"/>
          <ac:spMkLst>
            <pc:docMk/>
            <pc:sldMk cId="2083351184" sldId="395"/>
            <ac:spMk id="25" creationId="{7EFCEFA2-BD43-FAAA-E7A3-9B1EAE82C022}"/>
          </ac:spMkLst>
        </pc:spChg>
        <pc:spChg chg="del">
          <ac:chgData name="Merlin Gutter" userId="2abc6f04-74af-430b-bdc8-569c3bfa1dda" providerId="ADAL" clId="{CB1EFBC3-10F5-3048-8961-5969497C0019}" dt="2022-11-23T17:08:49.065" v="80188" actId="478"/>
          <ac:spMkLst>
            <pc:docMk/>
            <pc:sldMk cId="2083351184" sldId="395"/>
            <ac:spMk id="26" creationId="{C1CD8BDF-5978-5C92-F1EB-8F5F44BA29BD}"/>
          </ac:spMkLst>
        </pc:spChg>
        <pc:spChg chg="add mod">
          <ac:chgData name="Merlin Gutter" userId="2abc6f04-74af-430b-bdc8-569c3bfa1dda" providerId="ADAL" clId="{CB1EFBC3-10F5-3048-8961-5969497C0019}" dt="2022-11-23T17:11:48.177" v="80252"/>
          <ac:spMkLst>
            <pc:docMk/>
            <pc:sldMk cId="2083351184" sldId="395"/>
            <ac:spMk id="39" creationId="{619A6EEA-7E7A-EEA8-1BF9-3041B09DCE2F}"/>
          </ac:spMkLst>
        </pc:spChg>
        <pc:spChg chg="del">
          <ac:chgData name="Merlin Gutter" userId="2abc6f04-74af-430b-bdc8-569c3bfa1dda" providerId="ADAL" clId="{CB1EFBC3-10F5-3048-8961-5969497C0019}" dt="2022-11-23T17:08:49.065" v="80188" actId="478"/>
          <ac:spMkLst>
            <pc:docMk/>
            <pc:sldMk cId="2083351184" sldId="395"/>
            <ac:spMk id="47" creationId="{81DFD405-5312-0EE5-93C1-D3D639815F6E}"/>
          </ac:spMkLst>
        </pc:spChg>
        <pc:spChg chg="del">
          <ac:chgData name="Merlin Gutter" userId="2abc6f04-74af-430b-bdc8-569c3bfa1dda" providerId="ADAL" clId="{CB1EFBC3-10F5-3048-8961-5969497C0019}" dt="2022-11-23T17:08:56.318" v="80191" actId="478"/>
          <ac:spMkLst>
            <pc:docMk/>
            <pc:sldMk cId="2083351184" sldId="395"/>
            <ac:spMk id="414" creationId="{F02F9840-5CF3-A09F-3CFB-95A63CE8FA4D}"/>
          </ac:spMkLst>
        </pc:spChg>
        <pc:graphicFrameChg chg="mod">
          <ac:chgData name="Merlin Gutter" userId="2abc6f04-74af-430b-bdc8-569c3bfa1dda" providerId="ADAL" clId="{CB1EFBC3-10F5-3048-8961-5969497C0019}" dt="2022-11-23T17:24:24.715" v="84081"/>
          <ac:graphicFrameMkLst>
            <pc:docMk/>
            <pc:sldMk cId="2083351184" sldId="395"/>
            <ac:graphicFrameMk id="20" creationId="{6813096F-D721-0653-587E-E254F033A5A9}"/>
          </ac:graphicFrameMkLst>
        </pc:graphicFrameChg>
      </pc:sldChg>
      <pc:sldChg chg="addSp delSp modSp mod">
        <pc:chgData name="Merlin Gutter" userId="2abc6f04-74af-430b-bdc8-569c3bfa1dda" providerId="ADAL" clId="{CB1EFBC3-10F5-3048-8961-5969497C0019}" dt="2022-11-25T00:09:01.604" v="191087"/>
        <pc:sldMkLst>
          <pc:docMk/>
          <pc:sldMk cId="3159712418" sldId="396"/>
        </pc:sldMkLst>
        <pc:spChg chg="mod">
          <ac:chgData name="Merlin Gutter" userId="2abc6f04-74af-430b-bdc8-569c3bfa1dda" providerId="ADAL" clId="{CB1EFBC3-10F5-3048-8961-5969497C0019}" dt="2022-11-24T19:24:56.680" v="130655"/>
          <ac:spMkLst>
            <pc:docMk/>
            <pc:sldMk cId="3159712418" sldId="396"/>
            <ac:spMk id="2" creationId="{EBDD7A3D-4F52-3DE2-F933-8449D83DCF02}"/>
          </ac:spMkLst>
        </pc:spChg>
        <pc:spChg chg="mod">
          <ac:chgData name="Merlin Gutter" userId="2abc6f04-74af-430b-bdc8-569c3bfa1dda" providerId="ADAL" clId="{CB1EFBC3-10F5-3048-8961-5969497C0019}" dt="2022-11-25T00:09:01.604" v="191087"/>
          <ac:spMkLst>
            <pc:docMk/>
            <pc:sldMk cId="3159712418" sldId="396"/>
            <ac:spMk id="5" creationId="{64E62B09-B628-9390-D8F1-925831825F25}"/>
          </ac:spMkLst>
        </pc:spChg>
        <pc:spChg chg="add del mod modVis">
          <ac:chgData name="Merlin Gutter" userId="2abc6f04-74af-430b-bdc8-569c3bfa1dda" providerId="ADAL" clId="{CB1EFBC3-10F5-3048-8961-5969497C0019}" dt="2022-11-23T17:47:01.056" v="108363"/>
          <ac:spMkLst>
            <pc:docMk/>
            <pc:sldMk cId="3159712418" sldId="396"/>
            <ac:spMk id="29" creationId="{445D2DD3-6DAD-05D2-DE8C-9CFDEC770B7F}"/>
          </ac:spMkLst>
        </pc:spChg>
        <pc:spChg chg="mod">
          <ac:chgData name="Merlin Gutter" userId="2abc6f04-74af-430b-bdc8-569c3bfa1dda" providerId="ADAL" clId="{CB1EFBC3-10F5-3048-8961-5969497C0019}" dt="2022-11-23T17:47:01.053" v="108355" actId="208"/>
          <ac:spMkLst>
            <pc:docMk/>
            <pc:sldMk cId="3159712418" sldId="396"/>
            <ac:spMk id="121" creationId="{10850182-A9FC-1887-1DE0-7D091C5D453E}"/>
          </ac:spMkLst>
        </pc:spChg>
        <pc:spChg chg="mod">
          <ac:chgData name="Merlin Gutter" userId="2abc6f04-74af-430b-bdc8-569c3bfa1dda" providerId="ADAL" clId="{CB1EFBC3-10F5-3048-8961-5969497C0019}" dt="2022-11-23T17:47:01.051" v="108341" actId="208"/>
          <ac:spMkLst>
            <pc:docMk/>
            <pc:sldMk cId="3159712418" sldId="396"/>
            <ac:spMk id="122" creationId="{8AA7409E-A483-E125-FA46-63E6DD2903D1}"/>
          </ac:spMkLst>
        </pc:spChg>
        <pc:spChg chg="mod">
          <ac:chgData name="Merlin Gutter" userId="2abc6f04-74af-430b-bdc8-569c3bfa1dda" providerId="ADAL" clId="{CB1EFBC3-10F5-3048-8961-5969497C0019}" dt="2022-11-23T17:47:01.042" v="108299" actId="208"/>
          <ac:spMkLst>
            <pc:docMk/>
            <pc:sldMk cId="3159712418" sldId="396"/>
            <ac:spMk id="123" creationId="{E50DE5DB-0838-05EA-3E1C-8C30F8F90865}"/>
          </ac:spMkLst>
        </pc:spChg>
        <pc:spChg chg="mod">
          <ac:chgData name="Merlin Gutter" userId="2abc6f04-74af-430b-bdc8-569c3bfa1dda" providerId="ADAL" clId="{CB1EFBC3-10F5-3048-8961-5969497C0019}" dt="2022-11-23T17:47:01.045" v="108313" actId="208"/>
          <ac:spMkLst>
            <pc:docMk/>
            <pc:sldMk cId="3159712418" sldId="396"/>
            <ac:spMk id="124" creationId="{89750B6B-F620-045D-4FF6-ACD45557461D}"/>
          </ac:spMkLst>
        </pc:spChg>
        <pc:spChg chg="mod">
          <ac:chgData name="Merlin Gutter" userId="2abc6f04-74af-430b-bdc8-569c3bfa1dda" providerId="ADAL" clId="{CB1EFBC3-10F5-3048-8961-5969497C0019}" dt="2022-11-23T17:47:01.048" v="108327" actId="208"/>
          <ac:spMkLst>
            <pc:docMk/>
            <pc:sldMk cId="3159712418" sldId="396"/>
            <ac:spMk id="175" creationId="{E6490C23-DC03-4108-D0FE-2D2ED72A8672}"/>
          </ac:spMkLst>
        </pc:spChg>
        <pc:spChg chg="mod">
          <ac:chgData name="Merlin Gutter" userId="2abc6f04-74af-430b-bdc8-569c3bfa1dda" providerId="ADAL" clId="{CB1EFBC3-10F5-3048-8961-5969497C0019}" dt="2022-11-23T17:47:01.040" v="108285" actId="208"/>
          <ac:spMkLst>
            <pc:docMk/>
            <pc:sldMk cId="3159712418" sldId="396"/>
            <ac:spMk id="176" creationId="{0F633143-F22B-4C7E-7DCB-AFDB5C264DF3}"/>
          </ac:spMkLst>
        </pc:spChg>
        <pc:spChg chg="mod">
          <ac:chgData name="Merlin Gutter" userId="2abc6f04-74af-430b-bdc8-569c3bfa1dda" providerId="ADAL" clId="{CB1EFBC3-10F5-3048-8961-5969497C0019}" dt="2022-11-23T17:47:01.046" v="108317"/>
          <ac:spMkLst>
            <pc:docMk/>
            <pc:sldMk cId="3159712418" sldId="396"/>
            <ac:spMk id="177" creationId="{F6C1C26D-E8CA-5AF1-8C07-4CFF2A2D1E0E}"/>
          </ac:spMkLst>
        </pc:spChg>
        <pc:spChg chg="mod">
          <ac:chgData name="Merlin Gutter" userId="2abc6f04-74af-430b-bdc8-569c3bfa1dda" providerId="ADAL" clId="{CB1EFBC3-10F5-3048-8961-5969497C0019}" dt="2022-11-23T17:47:01.049" v="108331"/>
          <ac:spMkLst>
            <pc:docMk/>
            <pc:sldMk cId="3159712418" sldId="396"/>
            <ac:spMk id="178" creationId="{0740734B-4436-B4C7-5E30-18A6D4E4C7B0}"/>
          </ac:spMkLst>
        </pc:spChg>
        <pc:spChg chg="mod">
          <ac:chgData name="Merlin Gutter" userId="2abc6f04-74af-430b-bdc8-569c3bfa1dda" providerId="ADAL" clId="{CB1EFBC3-10F5-3048-8961-5969497C0019}" dt="2022-11-23T17:47:01.043" v="108303"/>
          <ac:spMkLst>
            <pc:docMk/>
            <pc:sldMk cId="3159712418" sldId="396"/>
            <ac:spMk id="179" creationId="{CB90C217-2617-A1D1-8563-3437985D455F}"/>
          </ac:spMkLst>
        </pc:spChg>
        <pc:spChg chg="mod">
          <ac:chgData name="Merlin Gutter" userId="2abc6f04-74af-430b-bdc8-569c3bfa1dda" providerId="ADAL" clId="{CB1EFBC3-10F5-3048-8961-5969497C0019}" dt="2022-11-23T17:47:01.054" v="108359"/>
          <ac:spMkLst>
            <pc:docMk/>
            <pc:sldMk cId="3159712418" sldId="396"/>
            <ac:spMk id="180" creationId="{5A231CA8-8AED-95C9-7D99-064BDA18A59B}"/>
          </ac:spMkLst>
        </pc:spChg>
        <pc:spChg chg="mod">
          <ac:chgData name="Merlin Gutter" userId="2abc6f04-74af-430b-bdc8-569c3bfa1dda" providerId="ADAL" clId="{CB1EFBC3-10F5-3048-8961-5969497C0019}" dt="2022-11-23T17:47:01.052" v="108345"/>
          <ac:spMkLst>
            <pc:docMk/>
            <pc:sldMk cId="3159712418" sldId="396"/>
            <ac:spMk id="181" creationId="{C6A895DF-5436-5FDB-630C-5A01003FCCA4}"/>
          </ac:spMkLst>
        </pc:spChg>
        <pc:spChg chg="mod">
          <ac:chgData name="Merlin Gutter" userId="2abc6f04-74af-430b-bdc8-569c3bfa1dda" providerId="ADAL" clId="{CB1EFBC3-10F5-3048-8961-5969497C0019}" dt="2022-11-23T17:47:01.041" v="108289"/>
          <ac:spMkLst>
            <pc:docMk/>
            <pc:sldMk cId="3159712418" sldId="396"/>
            <ac:spMk id="182" creationId="{7F35BA97-8165-FB2C-9BB8-198C21693245}"/>
          </ac:spMkLst>
        </pc:spChg>
        <pc:graphicFrameChg chg="mod">
          <ac:chgData name="Merlin Gutter" userId="2abc6f04-74af-430b-bdc8-569c3bfa1dda" providerId="ADAL" clId="{CB1EFBC3-10F5-3048-8961-5969497C0019}" dt="2022-11-23T17:47:01.064" v="108365"/>
          <ac:graphicFrameMkLst>
            <pc:docMk/>
            <pc:sldMk cId="3159712418" sldId="396"/>
            <ac:graphicFrameMk id="20" creationId="{6813096F-D721-0653-587E-E254F033A5A9}"/>
          </ac:graphicFrameMkLst>
        </pc:graphicFrameChg>
      </pc:sldChg>
      <pc:sldChg chg="modSp mod">
        <pc:chgData name="Merlin Gutter" userId="2abc6f04-74af-430b-bdc8-569c3bfa1dda" providerId="ADAL" clId="{CB1EFBC3-10F5-3048-8961-5969497C0019}" dt="2022-11-24T19:34:17.766" v="130698"/>
        <pc:sldMkLst>
          <pc:docMk/>
          <pc:sldMk cId="4050223877" sldId="397"/>
        </pc:sldMkLst>
        <pc:spChg chg="mod">
          <ac:chgData name="Merlin Gutter" userId="2abc6f04-74af-430b-bdc8-569c3bfa1dda" providerId="ADAL" clId="{CB1EFBC3-10F5-3048-8961-5969497C0019}" dt="2022-11-24T19:25:12.601" v="130661"/>
          <ac:spMkLst>
            <pc:docMk/>
            <pc:sldMk cId="4050223877" sldId="397"/>
            <ac:spMk id="2" creationId="{EBDD7A3D-4F52-3DE2-F933-8449D83DCF02}"/>
          </ac:spMkLst>
        </pc:spChg>
        <pc:picChg chg="mod">
          <ac:chgData name="Merlin Gutter" userId="2abc6f04-74af-430b-bdc8-569c3bfa1dda" providerId="ADAL" clId="{CB1EFBC3-10F5-3048-8961-5969497C0019}" dt="2022-11-24T19:34:17.766" v="130698"/>
          <ac:picMkLst>
            <pc:docMk/>
            <pc:sldMk cId="4050223877" sldId="397"/>
            <ac:picMk id="3" creationId="{9E2E92C8-B4E5-7ADD-BD5A-B6B84D3F6E0F}"/>
          </ac:picMkLst>
        </pc:picChg>
      </pc:sldChg>
      <pc:sldChg chg="addSp delSp modSp add del mod">
        <pc:chgData name="Merlin Gutter" userId="2abc6f04-74af-430b-bdc8-569c3bfa1dda" providerId="ADAL" clId="{CB1EFBC3-10F5-3048-8961-5969497C0019}" dt="2022-11-23T17:23:58.596" v="81829" actId="2696"/>
        <pc:sldMkLst>
          <pc:docMk/>
          <pc:sldMk cId="978373668" sldId="398"/>
        </pc:sldMkLst>
        <pc:spChg chg="mod">
          <ac:chgData name="Merlin Gutter" userId="2abc6f04-74af-430b-bdc8-569c3bfa1dda" providerId="ADAL" clId="{CB1EFBC3-10F5-3048-8961-5969497C0019}" dt="2022-11-23T17:23:39.254" v="81562"/>
          <ac:spMkLst>
            <pc:docMk/>
            <pc:sldMk cId="978373668" sldId="398"/>
            <ac:spMk id="2" creationId="{EBDD7A3D-4F52-3DE2-F933-8449D83DCF02}"/>
          </ac:spMkLst>
        </pc:spChg>
        <pc:spChg chg="mod">
          <ac:chgData name="Merlin Gutter" userId="2abc6f04-74af-430b-bdc8-569c3bfa1dda" providerId="ADAL" clId="{CB1EFBC3-10F5-3048-8961-5969497C0019}" dt="2022-11-23T17:23:39.255" v="81563"/>
          <ac:spMkLst>
            <pc:docMk/>
            <pc:sldMk cId="978373668" sldId="398"/>
            <ac:spMk id="3" creationId="{4B23F066-78F6-ED99-A2E1-FCA243435AA8}"/>
          </ac:spMkLst>
        </pc:spChg>
        <pc:spChg chg="mod">
          <ac:chgData name="Merlin Gutter" userId="2abc6f04-74af-430b-bdc8-569c3bfa1dda" providerId="ADAL" clId="{CB1EFBC3-10F5-3048-8961-5969497C0019}" dt="2022-11-23T17:23:39.255" v="81564"/>
          <ac:spMkLst>
            <pc:docMk/>
            <pc:sldMk cId="978373668" sldId="398"/>
            <ac:spMk id="4" creationId="{419A56F2-33FC-B13B-F824-5320C14683F0}"/>
          </ac:spMkLst>
        </pc:spChg>
        <pc:spChg chg="mod">
          <ac:chgData name="Merlin Gutter" userId="2abc6f04-74af-430b-bdc8-569c3bfa1dda" providerId="ADAL" clId="{CB1EFBC3-10F5-3048-8961-5969497C0019}" dt="2022-11-23T17:23:39.255" v="81565"/>
          <ac:spMkLst>
            <pc:docMk/>
            <pc:sldMk cId="978373668" sldId="398"/>
            <ac:spMk id="5" creationId="{64E62B09-B628-9390-D8F1-925831825F25}"/>
          </ac:spMkLst>
        </pc:spChg>
        <pc:spChg chg="mod">
          <ac:chgData name="Merlin Gutter" userId="2abc6f04-74af-430b-bdc8-569c3bfa1dda" providerId="ADAL" clId="{CB1EFBC3-10F5-3048-8961-5969497C0019}" dt="2022-11-23T17:23:39.255" v="81566"/>
          <ac:spMkLst>
            <pc:docMk/>
            <pc:sldMk cId="978373668" sldId="398"/>
            <ac:spMk id="6" creationId="{5CD15DEF-BD86-6BAD-F618-0FCA1640781D}"/>
          </ac:spMkLst>
        </pc:spChg>
        <pc:spChg chg="mod">
          <ac:chgData name="Merlin Gutter" userId="2abc6f04-74af-430b-bdc8-569c3bfa1dda" providerId="ADAL" clId="{CB1EFBC3-10F5-3048-8961-5969497C0019}" dt="2022-11-23T17:23:39.279" v="81657"/>
          <ac:spMkLst>
            <pc:docMk/>
            <pc:sldMk cId="978373668" sldId="398"/>
            <ac:spMk id="9" creationId="{A288F178-0675-D978-CFEB-B90888260247}"/>
          </ac:spMkLst>
        </pc:spChg>
        <pc:spChg chg="mod">
          <ac:chgData name="Merlin Gutter" userId="2abc6f04-74af-430b-bdc8-569c3bfa1dda" providerId="ADAL" clId="{CB1EFBC3-10F5-3048-8961-5969497C0019}" dt="2022-11-23T17:23:39.283" v="81670"/>
          <ac:spMkLst>
            <pc:docMk/>
            <pc:sldMk cId="978373668" sldId="398"/>
            <ac:spMk id="10" creationId="{24323348-6412-EF19-EA46-8CEA164E454F}"/>
          </ac:spMkLst>
        </pc:spChg>
        <pc:spChg chg="del">
          <ac:chgData name="Merlin Gutter" userId="2abc6f04-74af-430b-bdc8-569c3bfa1dda" providerId="ADAL" clId="{CB1EFBC3-10F5-3048-8961-5969497C0019}" dt="2022-11-23T17:23:39.034" v="81071"/>
          <ac:spMkLst>
            <pc:docMk/>
            <pc:sldMk cId="978373668" sldId="398"/>
            <ac:spMk id="11" creationId="{A53FEEEA-7C1F-95E2-9F1D-826981E30A99}"/>
          </ac:spMkLst>
        </pc:spChg>
        <pc:spChg chg="del">
          <ac:chgData name="Merlin Gutter" userId="2abc6f04-74af-430b-bdc8-569c3bfa1dda" providerId="ADAL" clId="{CB1EFBC3-10F5-3048-8961-5969497C0019}" dt="2022-11-23T17:23:39.040" v="81087"/>
          <ac:spMkLst>
            <pc:docMk/>
            <pc:sldMk cId="978373668" sldId="398"/>
            <ac:spMk id="12" creationId="{ADDE32B0-4671-19EE-14EC-7DB8A8F0E55A}"/>
          </ac:spMkLst>
        </pc:spChg>
        <pc:spChg chg="del">
          <ac:chgData name="Merlin Gutter" userId="2abc6f04-74af-430b-bdc8-569c3bfa1dda" providerId="ADAL" clId="{CB1EFBC3-10F5-3048-8961-5969497C0019}" dt="2022-11-23T17:23:39.044" v="81104"/>
          <ac:spMkLst>
            <pc:docMk/>
            <pc:sldMk cId="978373668" sldId="398"/>
            <ac:spMk id="13" creationId="{0E67283A-44CA-8FAF-8B7B-725B81291DE0}"/>
          </ac:spMkLst>
        </pc:spChg>
        <pc:spChg chg="add del mod modVis">
          <ac:chgData name="Merlin Gutter" userId="2abc6f04-74af-430b-bdc8-569c3bfa1dda" providerId="ADAL" clId="{CB1EFBC3-10F5-3048-8961-5969497C0019}" dt="2022-11-23T17:23:39.287" v="81686"/>
          <ac:spMkLst>
            <pc:docMk/>
            <pc:sldMk cId="978373668" sldId="398"/>
            <ac:spMk id="14" creationId="{DF9A9BB9-36A3-FA69-7377-05E783F6693B}"/>
          </ac:spMkLst>
        </pc:spChg>
        <pc:spChg chg="mod">
          <ac:chgData name="Merlin Gutter" userId="2abc6f04-74af-430b-bdc8-569c3bfa1dda" providerId="ADAL" clId="{CB1EFBC3-10F5-3048-8961-5969497C0019}" dt="2022-11-23T17:23:39.283" v="81671"/>
          <ac:spMkLst>
            <pc:docMk/>
            <pc:sldMk cId="978373668" sldId="398"/>
            <ac:spMk id="15" creationId="{CC6A62E4-E6F0-2512-1FC2-33EE52B543C8}"/>
          </ac:spMkLst>
        </pc:spChg>
        <pc:spChg chg="mod">
          <ac:chgData name="Merlin Gutter" userId="2abc6f04-74af-430b-bdc8-569c3bfa1dda" providerId="ADAL" clId="{CB1EFBC3-10F5-3048-8961-5969497C0019}" dt="2022-11-23T17:23:39.283" v="81672"/>
          <ac:spMkLst>
            <pc:docMk/>
            <pc:sldMk cId="978373668" sldId="398"/>
            <ac:spMk id="16" creationId="{1B2601E8-FC66-1C25-CFBB-3D42FB1F6895}"/>
          </ac:spMkLst>
        </pc:spChg>
        <pc:spChg chg="add del mod replST">
          <ac:chgData name="Merlin Gutter" userId="2abc6f04-74af-430b-bdc8-569c3bfa1dda" providerId="ADAL" clId="{CB1EFBC3-10F5-3048-8961-5969497C0019}" dt="2022-11-23T17:23:41.384" v="81820"/>
          <ac:spMkLst>
            <pc:docMk/>
            <pc:sldMk cId="978373668" sldId="398"/>
            <ac:spMk id="17" creationId="{DC3738F9-9EE6-F370-66D0-7106BC2099BA}"/>
          </ac:spMkLst>
        </pc:spChg>
        <pc:spChg chg="mod">
          <ac:chgData name="Merlin Gutter" userId="2abc6f04-74af-430b-bdc8-569c3bfa1dda" providerId="ADAL" clId="{CB1EFBC3-10F5-3048-8961-5969497C0019}" dt="2022-11-23T17:23:39.284" v="81673"/>
          <ac:spMkLst>
            <pc:docMk/>
            <pc:sldMk cId="978373668" sldId="398"/>
            <ac:spMk id="18" creationId="{5DE6064C-8D86-64D0-17D5-5A318F259ACC}"/>
          </ac:spMkLst>
        </pc:spChg>
        <pc:spChg chg="add del mod replST">
          <ac:chgData name="Merlin Gutter" userId="2abc6f04-74af-430b-bdc8-569c3bfa1dda" providerId="ADAL" clId="{CB1EFBC3-10F5-3048-8961-5969497C0019}" dt="2022-11-23T17:23:41.384" v="81819"/>
          <ac:spMkLst>
            <pc:docMk/>
            <pc:sldMk cId="978373668" sldId="398"/>
            <ac:spMk id="19" creationId="{631F8D86-92FB-26DC-7295-0BAEB60F9FCA}"/>
          </ac:spMkLst>
        </pc:spChg>
        <pc:spChg chg="add del mod replST">
          <ac:chgData name="Merlin Gutter" userId="2abc6f04-74af-430b-bdc8-569c3bfa1dda" providerId="ADAL" clId="{CB1EFBC3-10F5-3048-8961-5969497C0019}" dt="2022-11-23T17:23:41.384" v="81818"/>
          <ac:spMkLst>
            <pc:docMk/>
            <pc:sldMk cId="978373668" sldId="398"/>
            <ac:spMk id="21" creationId="{5A5637FA-80A8-614D-5334-D825EEFB6F71}"/>
          </ac:spMkLst>
        </pc:spChg>
        <pc:spChg chg="mod">
          <ac:chgData name="Merlin Gutter" userId="2abc6f04-74af-430b-bdc8-569c3bfa1dda" providerId="ADAL" clId="{CB1EFBC3-10F5-3048-8961-5969497C0019}" dt="2022-11-23T17:23:39.284" v="81674"/>
          <ac:spMkLst>
            <pc:docMk/>
            <pc:sldMk cId="978373668" sldId="398"/>
            <ac:spMk id="22" creationId="{762FE224-4748-3330-47DC-F9776F9E94DE}"/>
          </ac:spMkLst>
        </pc:spChg>
        <pc:spChg chg="del mod">
          <ac:chgData name="Merlin Gutter" userId="2abc6f04-74af-430b-bdc8-569c3bfa1dda" providerId="ADAL" clId="{CB1EFBC3-10F5-3048-8961-5969497C0019}" dt="2022-11-23T17:23:41.372" v="81762"/>
          <ac:spMkLst>
            <pc:docMk/>
            <pc:sldMk cId="978373668" sldId="398"/>
            <ac:spMk id="23" creationId="{DC9273EB-C6FF-14E8-51E2-69145B1C568C}"/>
          </ac:spMkLst>
        </pc:spChg>
        <pc:spChg chg="add del mod replST">
          <ac:chgData name="Merlin Gutter" userId="2abc6f04-74af-430b-bdc8-569c3bfa1dda" providerId="ADAL" clId="{CB1EFBC3-10F5-3048-8961-5969497C0019}" dt="2022-11-23T17:23:39.184" v="81381"/>
          <ac:spMkLst>
            <pc:docMk/>
            <pc:sldMk cId="978373668" sldId="398"/>
            <ac:spMk id="24" creationId="{526359E5-63D9-5443-9B82-5753BC5C7BB8}"/>
          </ac:spMkLst>
        </pc:spChg>
        <pc:spChg chg="del mod">
          <ac:chgData name="Merlin Gutter" userId="2abc6f04-74af-430b-bdc8-569c3bfa1dda" providerId="ADAL" clId="{CB1EFBC3-10F5-3048-8961-5969497C0019}" dt="2022-11-23T17:23:41.372" v="81765"/>
          <ac:spMkLst>
            <pc:docMk/>
            <pc:sldMk cId="978373668" sldId="398"/>
            <ac:spMk id="27" creationId="{F7100A5A-841E-E2C8-B3C9-2586A03514A3}"/>
          </ac:spMkLst>
        </pc:spChg>
        <pc:spChg chg="del mod">
          <ac:chgData name="Merlin Gutter" userId="2abc6f04-74af-430b-bdc8-569c3bfa1dda" providerId="ADAL" clId="{CB1EFBC3-10F5-3048-8961-5969497C0019}" dt="2022-11-23T17:23:41.374" v="81772"/>
          <ac:spMkLst>
            <pc:docMk/>
            <pc:sldMk cId="978373668" sldId="398"/>
            <ac:spMk id="28" creationId="{9C92382B-3252-975B-491D-3C319195521F}"/>
          </ac:spMkLst>
        </pc:spChg>
        <pc:spChg chg="del mod">
          <ac:chgData name="Merlin Gutter" userId="2abc6f04-74af-430b-bdc8-569c3bfa1dda" providerId="ADAL" clId="{CB1EFBC3-10F5-3048-8961-5969497C0019}" dt="2022-11-23T17:23:41.373" v="81769"/>
          <ac:spMkLst>
            <pc:docMk/>
            <pc:sldMk cId="978373668" sldId="398"/>
            <ac:spMk id="29" creationId="{54302D63-9E30-93F1-8B2F-B2B66D817369}"/>
          </ac:spMkLst>
        </pc:spChg>
        <pc:spChg chg="del mod">
          <ac:chgData name="Merlin Gutter" userId="2abc6f04-74af-430b-bdc8-569c3bfa1dda" providerId="ADAL" clId="{CB1EFBC3-10F5-3048-8961-5969497C0019}" dt="2022-11-23T17:23:41.372" v="81763"/>
          <ac:spMkLst>
            <pc:docMk/>
            <pc:sldMk cId="978373668" sldId="398"/>
            <ac:spMk id="30" creationId="{489FD541-C06B-1A32-2BBE-F7651954E86A}"/>
          </ac:spMkLst>
        </pc:spChg>
        <pc:spChg chg="del mod">
          <ac:chgData name="Merlin Gutter" userId="2abc6f04-74af-430b-bdc8-569c3bfa1dda" providerId="ADAL" clId="{CB1EFBC3-10F5-3048-8961-5969497C0019}" dt="2022-11-23T17:23:41.372" v="81766"/>
          <ac:spMkLst>
            <pc:docMk/>
            <pc:sldMk cId="978373668" sldId="398"/>
            <ac:spMk id="31" creationId="{B179F675-4222-915E-50E3-0F874B2D2246}"/>
          </ac:spMkLst>
        </pc:spChg>
        <pc:spChg chg="del mod">
          <ac:chgData name="Merlin Gutter" userId="2abc6f04-74af-430b-bdc8-569c3bfa1dda" providerId="ADAL" clId="{CB1EFBC3-10F5-3048-8961-5969497C0019}" dt="2022-11-23T17:23:41.374" v="81774"/>
          <ac:spMkLst>
            <pc:docMk/>
            <pc:sldMk cId="978373668" sldId="398"/>
            <ac:spMk id="32" creationId="{343DB04A-433F-933A-1918-FA31581C5DD4}"/>
          </ac:spMkLst>
        </pc:spChg>
        <pc:spChg chg="del mod">
          <ac:chgData name="Merlin Gutter" userId="2abc6f04-74af-430b-bdc8-569c3bfa1dda" providerId="ADAL" clId="{CB1EFBC3-10F5-3048-8961-5969497C0019}" dt="2022-11-23T17:23:41.373" v="81771"/>
          <ac:spMkLst>
            <pc:docMk/>
            <pc:sldMk cId="978373668" sldId="398"/>
            <ac:spMk id="33" creationId="{96A54093-5254-D635-FFCC-101565A9D5BD}"/>
          </ac:spMkLst>
        </pc:spChg>
        <pc:spChg chg="del mod">
          <ac:chgData name="Merlin Gutter" userId="2abc6f04-74af-430b-bdc8-569c3bfa1dda" providerId="ADAL" clId="{CB1EFBC3-10F5-3048-8961-5969497C0019}" dt="2022-11-23T17:23:41.373" v="81768"/>
          <ac:spMkLst>
            <pc:docMk/>
            <pc:sldMk cId="978373668" sldId="398"/>
            <ac:spMk id="34" creationId="{D16D1F97-A490-067E-F166-2196A5026DB3}"/>
          </ac:spMkLst>
        </pc:spChg>
        <pc:spChg chg="del mod">
          <ac:chgData name="Merlin Gutter" userId="2abc6f04-74af-430b-bdc8-569c3bfa1dda" providerId="ADAL" clId="{CB1EFBC3-10F5-3048-8961-5969497C0019}" dt="2022-11-23T17:23:41.375" v="81777"/>
          <ac:spMkLst>
            <pc:docMk/>
            <pc:sldMk cId="978373668" sldId="398"/>
            <ac:spMk id="36" creationId="{E97931BC-87D8-0BBA-0D21-319EF9F777EA}"/>
          </ac:spMkLst>
        </pc:spChg>
        <pc:spChg chg="del mod">
          <ac:chgData name="Merlin Gutter" userId="2abc6f04-74af-430b-bdc8-569c3bfa1dda" providerId="ADAL" clId="{CB1EFBC3-10F5-3048-8961-5969497C0019}" dt="2022-11-23T17:23:41.374" v="81775"/>
          <ac:spMkLst>
            <pc:docMk/>
            <pc:sldMk cId="978373668" sldId="398"/>
            <ac:spMk id="37" creationId="{E566F33B-0E26-EB72-47C4-0D5C9E5F657E}"/>
          </ac:spMkLst>
        </pc:spChg>
        <pc:spChg chg="del mod">
          <ac:chgData name="Merlin Gutter" userId="2abc6f04-74af-430b-bdc8-569c3bfa1dda" providerId="ADAL" clId="{CB1EFBC3-10F5-3048-8961-5969497C0019}" dt="2022-11-23T17:23:41.375" v="81778"/>
          <ac:spMkLst>
            <pc:docMk/>
            <pc:sldMk cId="978373668" sldId="398"/>
            <ac:spMk id="38" creationId="{9784F329-C167-C5D6-9344-D4DC82A41177}"/>
          </ac:spMkLst>
        </pc:spChg>
        <pc:spChg chg="mod">
          <ac:chgData name="Merlin Gutter" userId="2abc6f04-74af-430b-bdc8-569c3bfa1dda" providerId="ADAL" clId="{CB1EFBC3-10F5-3048-8961-5969497C0019}" dt="2022-11-23T17:23:39.284" v="81675"/>
          <ac:spMkLst>
            <pc:docMk/>
            <pc:sldMk cId="978373668" sldId="398"/>
            <ac:spMk id="39" creationId="{619A6EEA-7E7A-EEA8-1BF9-3041B09DCE2F}"/>
          </ac:spMkLst>
        </pc:spChg>
        <pc:spChg chg="mod">
          <ac:chgData name="Merlin Gutter" userId="2abc6f04-74af-430b-bdc8-569c3bfa1dda" providerId="ADAL" clId="{CB1EFBC3-10F5-3048-8961-5969497C0019}" dt="2022-11-23T17:23:39.284" v="81676"/>
          <ac:spMkLst>
            <pc:docMk/>
            <pc:sldMk cId="978373668" sldId="398"/>
            <ac:spMk id="40" creationId="{CF7ED3B8-7EDA-E2AC-E1A6-07FE8FB367AE}"/>
          </ac:spMkLst>
        </pc:spChg>
        <pc:spChg chg="mod">
          <ac:chgData name="Merlin Gutter" userId="2abc6f04-74af-430b-bdc8-569c3bfa1dda" providerId="ADAL" clId="{CB1EFBC3-10F5-3048-8961-5969497C0019}" dt="2022-11-23T17:23:39.285" v="81677"/>
          <ac:spMkLst>
            <pc:docMk/>
            <pc:sldMk cId="978373668" sldId="398"/>
            <ac:spMk id="42" creationId="{0C06680F-40FF-AB8F-DC29-414D19EA23ED}"/>
          </ac:spMkLst>
        </pc:spChg>
        <pc:spChg chg="mod">
          <ac:chgData name="Merlin Gutter" userId="2abc6f04-74af-430b-bdc8-569c3bfa1dda" providerId="ADAL" clId="{CB1EFBC3-10F5-3048-8961-5969497C0019}" dt="2022-11-23T17:23:39.285" v="81678"/>
          <ac:spMkLst>
            <pc:docMk/>
            <pc:sldMk cId="978373668" sldId="398"/>
            <ac:spMk id="43" creationId="{5E0F6D59-4924-FA4E-D4A7-EF064A9D9D36}"/>
          </ac:spMkLst>
        </pc:spChg>
        <pc:spChg chg="del mod">
          <ac:chgData name="Merlin Gutter" userId="2abc6f04-74af-430b-bdc8-569c3bfa1dda" providerId="ADAL" clId="{CB1EFBC3-10F5-3048-8961-5969497C0019}" dt="2022-11-23T17:23:44.959" v="81828" actId="478"/>
          <ac:spMkLst>
            <pc:docMk/>
            <pc:sldMk cId="978373668" sldId="398"/>
            <ac:spMk id="45" creationId="{6E96FBD5-096D-A5B2-690D-33DB03B48C36}"/>
          </ac:spMkLst>
        </pc:spChg>
        <pc:spChg chg="del mod">
          <ac:chgData name="Merlin Gutter" userId="2abc6f04-74af-430b-bdc8-569c3bfa1dda" providerId="ADAL" clId="{CB1EFBC3-10F5-3048-8961-5969497C0019}" dt="2022-11-23T17:23:41.371" v="81760"/>
          <ac:spMkLst>
            <pc:docMk/>
            <pc:sldMk cId="978373668" sldId="398"/>
            <ac:spMk id="125" creationId="{DE60708C-C90B-3DFC-AE23-71A9F3AEAF48}"/>
          </ac:spMkLst>
        </pc:spChg>
        <pc:spChg chg="del mod">
          <ac:chgData name="Merlin Gutter" userId="2abc6f04-74af-430b-bdc8-569c3bfa1dda" providerId="ADAL" clId="{CB1EFBC3-10F5-3048-8961-5969497C0019}" dt="2022-11-23T17:23:41.371" v="81759"/>
          <ac:spMkLst>
            <pc:docMk/>
            <pc:sldMk cId="978373668" sldId="398"/>
            <ac:spMk id="126" creationId="{93D1F641-308D-9713-5F4B-6C85F504F8B1}"/>
          </ac:spMkLst>
        </pc:spChg>
        <pc:spChg chg="del mod">
          <ac:chgData name="Merlin Gutter" userId="2abc6f04-74af-430b-bdc8-569c3bfa1dda" providerId="ADAL" clId="{CB1EFBC3-10F5-3048-8961-5969497C0019}" dt="2022-11-23T17:23:41.371" v="81758"/>
          <ac:spMkLst>
            <pc:docMk/>
            <pc:sldMk cId="978373668" sldId="398"/>
            <ac:spMk id="127" creationId="{C6B2962A-FB1B-3469-95D8-629FD74FE675}"/>
          </ac:spMkLst>
        </pc:spChg>
        <pc:spChg chg="del mod">
          <ac:chgData name="Merlin Gutter" userId="2abc6f04-74af-430b-bdc8-569c3bfa1dda" providerId="ADAL" clId="{CB1EFBC3-10F5-3048-8961-5969497C0019}" dt="2022-11-23T17:23:41.370" v="81757"/>
          <ac:spMkLst>
            <pc:docMk/>
            <pc:sldMk cId="978373668" sldId="398"/>
            <ac:spMk id="128" creationId="{C16680B5-DB37-2F62-5B84-AFEB3120FABF}"/>
          </ac:spMkLst>
        </pc:spChg>
        <pc:spChg chg="del mod">
          <ac:chgData name="Merlin Gutter" userId="2abc6f04-74af-430b-bdc8-569c3bfa1dda" providerId="ADAL" clId="{CB1EFBC3-10F5-3048-8961-5969497C0019}" dt="2022-11-23T17:23:41.370" v="81756"/>
          <ac:spMkLst>
            <pc:docMk/>
            <pc:sldMk cId="978373668" sldId="398"/>
            <ac:spMk id="129" creationId="{249EC2D3-8F67-704B-301C-A65728D8723C}"/>
          </ac:spMkLst>
        </pc:spChg>
        <pc:spChg chg="del mod">
          <ac:chgData name="Merlin Gutter" userId="2abc6f04-74af-430b-bdc8-569c3bfa1dda" providerId="ADAL" clId="{CB1EFBC3-10F5-3048-8961-5969497C0019}" dt="2022-11-23T17:23:41.370" v="81755"/>
          <ac:spMkLst>
            <pc:docMk/>
            <pc:sldMk cId="978373668" sldId="398"/>
            <ac:spMk id="130" creationId="{C983C178-09C1-45E5-362D-7FCAC7DDE5B1}"/>
          </ac:spMkLst>
        </pc:spChg>
        <pc:spChg chg="del mod">
          <ac:chgData name="Merlin Gutter" userId="2abc6f04-74af-430b-bdc8-569c3bfa1dda" providerId="ADAL" clId="{CB1EFBC3-10F5-3048-8961-5969497C0019}" dt="2022-11-23T17:23:41.370" v="81754"/>
          <ac:spMkLst>
            <pc:docMk/>
            <pc:sldMk cId="978373668" sldId="398"/>
            <ac:spMk id="131" creationId="{83C6DF27-0B51-C660-244B-01EA3BD93791}"/>
          </ac:spMkLst>
        </pc:spChg>
        <pc:spChg chg="del mod">
          <ac:chgData name="Merlin Gutter" userId="2abc6f04-74af-430b-bdc8-569c3bfa1dda" providerId="ADAL" clId="{CB1EFBC3-10F5-3048-8961-5969497C0019}" dt="2022-11-23T17:23:41.369" v="81753"/>
          <ac:spMkLst>
            <pc:docMk/>
            <pc:sldMk cId="978373668" sldId="398"/>
            <ac:spMk id="132" creationId="{BF41C1AA-8718-2498-87B2-AD74A78674ED}"/>
          </ac:spMkLst>
        </pc:spChg>
        <pc:spChg chg="del mod">
          <ac:chgData name="Merlin Gutter" userId="2abc6f04-74af-430b-bdc8-569c3bfa1dda" providerId="ADAL" clId="{CB1EFBC3-10F5-3048-8961-5969497C0019}" dt="2022-11-23T17:23:41.369" v="81752"/>
          <ac:spMkLst>
            <pc:docMk/>
            <pc:sldMk cId="978373668" sldId="398"/>
            <ac:spMk id="133" creationId="{B1A10525-C936-C150-CB97-4A0674D9D86E}"/>
          </ac:spMkLst>
        </pc:spChg>
        <pc:spChg chg="del mod">
          <ac:chgData name="Merlin Gutter" userId="2abc6f04-74af-430b-bdc8-569c3bfa1dda" providerId="ADAL" clId="{CB1EFBC3-10F5-3048-8961-5969497C0019}" dt="2022-11-23T17:23:41.369" v="81751"/>
          <ac:spMkLst>
            <pc:docMk/>
            <pc:sldMk cId="978373668" sldId="398"/>
            <ac:spMk id="134" creationId="{135CA4E2-CCA3-BCED-DDA1-95A66642CBB8}"/>
          </ac:spMkLst>
        </pc:spChg>
        <pc:spChg chg="del mod">
          <ac:chgData name="Merlin Gutter" userId="2abc6f04-74af-430b-bdc8-569c3bfa1dda" providerId="ADAL" clId="{CB1EFBC3-10F5-3048-8961-5969497C0019}" dt="2022-11-23T17:23:41.369" v="81750"/>
          <ac:spMkLst>
            <pc:docMk/>
            <pc:sldMk cId="978373668" sldId="398"/>
            <ac:spMk id="135" creationId="{E61E8E78-6D7D-62BD-FFB2-E51497EB21FF}"/>
          </ac:spMkLst>
        </pc:spChg>
        <pc:spChg chg="del mod">
          <ac:chgData name="Merlin Gutter" userId="2abc6f04-74af-430b-bdc8-569c3bfa1dda" providerId="ADAL" clId="{CB1EFBC3-10F5-3048-8961-5969497C0019}" dt="2022-11-23T17:23:41.368" v="81749"/>
          <ac:spMkLst>
            <pc:docMk/>
            <pc:sldMk cId="978373668" sldId="398"/>
            <ac:spMk id="136" creationId="{A30C869F-4C44-1FEB-2E00-766EA02E2871}"/>
          </ac:spMkLst>
        </pc:spChg>
        <pc:spChg chg="del mod">
          <ac:chgData name="Merlin Gutter" userId="2abc6f04-74af-430b-bdc8-569c3bfa1dda" providerId="ADAL" clId="{CB1EFBC3-10F5-3048-8961-5969497C0019}" dt="2022-11-23T17:23:41.368" v="81748"/>
          <ac:spMkLst>
            <pc:docMk/>
            <pc:sldMk cId="978373668" sldId="398"/>
            <ac:spMk id="137" creationId="{90A0CE48-2CE3-B352-EB4A-C226EEC28B00}"/>
          </ac:spMkLst>
        </pc:spChg>
        <pc:spChg chg="del mod">
          <ac:chgData name="Merlin Gutter" userId="2abc6f04-74af-430b-bdc8-569c3bfa1dda" providerId="ADAL" clId="{CB1EFBC3-10F5-3048-8961-5969497C0019}" dt="2022-11-23T17:23:41.368" v="81747"/>
          <ac:spMkLst>
            <pc:docMk/>
            <pc:sldMk cId="978373668" sldId="398"/>
            <ac:spMk id="138" creationId="{8BC9E89F-5EA9-704E-3BC1-F582ACEBF715}"/>
          </ac:spMkLst>
        </pc:spChg>
        <pc:spChg chg="del mod">
          <ac:chgData name="Merlin Gutter" userId="2abc6f04-74af-430b-bdc8-569c3bfa1dda" providerId="ADAL" clId="{CB1EFBC3-10F5-3048-8961-5969497C0019}" dt="2022-11-23T17:23:41.368" v="81746"/>
          <ac:spMkLst>
            <pc:docMk/>
            <pc:sldMk cId="978373668" sldId="398"/>
            <ac:spMk id="139" creationId="{995343CC-C281-045E-CD70-B7B7949058D7}"/>
          </ac:spMkLst>
        </pc:spChg>
        <pc:spChg chg="del mod">
          <ac:chgData name="Merlin Gutter" userId="2abc6f04-74af-430b-bdc8-569c3bfa1dda" providerId="ADAL" clId="{CB1EFBC3-10F5-3048-8961-5969497C0019}" dt="2022-11-23T17:23:41.367" v="81745"/>
          <ac:spMkLst>
            <pc:docMk/>
            <pc:sldMk cId="978373668" sldId="398"/>
            <ac:spMk id="140" creationId="{995ABC59-F07B-2A6B-E371-6B58815C820F}"/>
          </ac:spMkLst>
        </pc:spChg>
        <pc:spChg chg="del mod">
          <ac:chgData name="Merlin Gutter" userId="2abc6f04-74af-430b-bdc8-569c3bfa1dda" providerId="ADAL" clId="{CB1EFBC3-10F5-3048-8961-5969497C0019}" dt="2022-11-23T17:23:41.367" v="81744"/>
          <ac:spMkLst>
            <pc:docMk/>
            <pc:sldMk cId="978373668" sldId="398"/>
            <ac:spMk id="141" creationId="{08B3CF0E-168B-FD45-758D-71B5E2C25E8D}"/>
          </ac:spMkLst>
        </pc:spChg>
        <pc:spChg chg="del mod">
          <ac:chgData name="Merlin Gutter" userId="2abc6f04-74af-430b-bdc8-569c3bfa1dda" providerId="ADAL" clId="{CB1EFBC3-10F5-3048-8961-5969497C0019}" dt="2022-11-23T17:23:41.367" v="81743"/>
          <ac:spMkLst>
            <pc:docMk/>
            <pc:sldMk cId="978373668" sldId="398"/>
            <ac:spMk id="142" creationId="{578517E2-F1FE-D68E-DEA2-ADCBE8740C15}"/>
          </ac:spMkLst>
        </pc:spChg>
        <pc:spChg chg="del mod">
          <ac:chgData name="Merlin Gutter" userId="2abc6f04-74af-430b-bdc8-569c3bfa1dda" providerId="ADAL" clId="{CB1EFBC3-10F5-3048-8961-5969497C0019}" dt="2022-11-23T17:23:41.367" v="81742"/>
          <ac:spMkLst>
            <pc:docMk/>
            <pc:sldMk cId="978373668" sldId="398"/>
            <ac:spMk id="143" creationId="{DD14D22D-B152-0144-49A1-CB16D4DEAE7C}"/>
          </ac:spMkLst>
        </pc:spChg>
        <pc:spChg chg="del mod">
          <ac:chgData name="Merlin Gutter" userId="2abc6f04-74af-430b-bdc8-569c3bfa1dda" providerId="ADAL" clId="{CB1EFBC3-10F5-3048-8961-5969497C0019}" dt="2022-11-23T17:23:41.366" v="81741"/>
          <ac:spMkLst>
            <pc:docMk/>
            <pc:sldMk cId="978373668" sldId="398"/>
            <ac:spMk id="144" creationId="{972779A2-C737-9FAF-422F-1F3017E1FFF8}"/>
          </ac:spMkLst>
        </pc:spChg>
        <pc:spChg chg="del mod">
          <ac:chgData name="Merlin Gutter" userId="2abc6f04-74af-430b-bdc8-569c3bfa1dda" providerId="ADAL" clId="{CB1EFBC3-10F5-3048-8961-5969497C0019}" dt="2022-11-23T17:23:41.366" v="81740"/>
          <ac:spMkLst>
            <pc:docMk/>
            <pc:sldMk cId="978373668" sldId="398"/>
            <ac:spMk id="145" creationId="{7AC40686-4E40-C6A1-E20A-F8B4CB4F3AD8}"/>
          </ac:spMkLst>
        </pc:spChg>
        <pc:spChg chg="del mod">
          <ac:chgData name="Merlin Gutter" userId="2abc6f04-74af-430b-bdc8-569c3bfa1dda" providerId="ADAL" clId="{CB1EFBC3-10F5-3048-8961-5969497C0019}" dt="2022-11-23T17:23:41.366" v="81739"/>
          <ac:spMkLst>
            <pc:docMk/>
            <pc:sldMk cId="978373668" sldId="398"/>
            <ac:spMk id="146" creationId="{EFE7EF36-3478-1DD0-3FD7-DB93C2773EB0}"/>
          </ac:spMkLst>
        </pc:spChg>
        <pc:spChg chg="del mod">
          <ac:chgData name="Merlin Gutter" userId="2abc6f04-74af-430b-bdc8-569c3bfa1dda" providerId="ADAL" clId="{CB1EFBC3-10F5-3048-8961-5969497C0019}" dt="2022-11-23T17:23:41.366" v="81738"/>
          <ac:spMkLst>
            <pc:docMk/>
            <pc:sldMk cId="978373668" sldId="398"/>
            <ac:spMk id="147" creationId="{FA29487A-4402-1B15-A560-7DF41B2A8352}"/>
          </ac:spMkLst>
        </pc:spChg>
        <pc:spChg chg="del mod">
          <ac:chgData name="Merlin Gutter" userId="2abc6f04-74af-430b-bdc8-569c3bfa1dda" providerId="ADAL" clId="{CB1EFBC3-10F5-3048-8961-5969497C0019}" dt="2022-11-23T17:23:41.365" v="81737"/>
          <ac:spMkLst>
            <pc:docMk/>
            <pc:sldMk cId="978373668" sldId="398"/>
            <ac:spMk id="148" creationId="{F664D887-8534-D264-5EE8-81DABA811AD0}"/>
          </ac:spMkLst>
        </pc:spChg>
        <pc:spChg chg="del mod">
          <ac:chgData name="Merlin Gutter" userId="2abc6f04-74af-430b-bdc8-569c3bfa1dda" providerId="ADAL" clId="{CB1EFBC3-10F5-3048-8961-5969497C0019}" dt="2022-11-23T17:23:41.365" v="81736"/>
          <ac:spMkLst>
            <pc:docMk/>
            <pc:sldMk cId="978373668" sldId="398"/>
            <ac:spMk id="149" creationId="{1660FB55-9F23-B26A-3A09-E37CF90F73CA}"/>
          </ac:spMkLst>
        </pc:spChg>
        <pc:spChg chg="del mod">
          <ac:chgData name="Merlin Gutter" userId="2abc6f04-74af-430b-bdc8-569c3bfa1dda" providerId="ADAL" clId="{CB1EFBC3-10F5-3048-8961-5969497C0019}" dt="2022-11-23T17:23:41.365" v="81735"/>
          <ac:spMkLst>
            <pc:docMk/>
            <pc:sldMk cId="978373668" sldId="398"/>
            <ac:spMk id="150" creationId="{0D29C39E-F2EF-F6F8-626C-DFF5AA585A83}"/>
          </ac:spMkLst>
        </pc:spChg>
        <pc:spChg chg="del mod">
          <ac:chgData name="Merlin Gutter" userId="2abc6f04-74af-430b-bdc8-569c3bfa1dda" providerId="ADAL" clId="{CB1EFBC3-10F5-3048-8961-5969497C0019}" dt="2022-11-23T17:23:41.365" v="81734"/>
          <ac:spMkLst>
            <pc:docMk/>
            <pc:sldMk cId="978373668" sldId="398"/>
            <ac:spMk id="151" creationId="{6203F2F5-E415-4903-0BD5-F13812216840}"/>
          </ac:spMkLst>
        </pc:spChg>
        <pc:spChg chg="del mod">
          <ac:chgData name="Merlin Gutter" userId="2abc6f04-74af-430b-bdc8-569c3bfa1dda" providerId="ADAL" clId="{CB1EFBC3-10F5-3048-8961-5969497C0019}" dt="2022-11-23T17:23:41.364" v="81733"/>
          <ac:spMkLst>
            <pc:docMk/>
            <pc:sldMk cId="978373668" sldId="398"/>
            <ac:spMk id="152" creationId="{FDD022B4-9263-1D0B-0FA7-25997597224A}"/>
          </ac:spMkLst>
        </pc:spChg>
        <pc:spChg chg="del mod">
          <ac:chgData name="Merlin Gutter" userId="2abc6f04-74af-430b-bdc8-569c3bfa1dda" providerId="ADAL" clId="{CB1EFBC3-10F5-3048-8961-5969497C0019}" dt="2022-11-23T17:23:41.364" v="81732"/>
          <ac:spMkLst>
            <pc:docMk/>
            <pc:sldMk cId="978373668" sldId="398"/>
            <ac:spMk id="153" creationId="{487FF4C6-75BC-74B7-595C-048CA566E232}"/>
          </ac:spMkLst>
        </pc:spChg>
        <pc:spChg chg="del mod">
          <ac:chgData name="Merlin Gutter" userId="2abc6f04-74af-430b-bdc8-569c3bfa1dda" providerId="ADAL" clId="{CB1EFBC3-10F5-3048-8961-5969497C0019}" dt="2022-11-23T17:23:41.364" v="81731"/>
          <ac:spMkLst>
            <pc:docMk/>
            <pc:sldMk cId="978373668" sldId="398"/>
            <ac:spMk id="154" creationId="{1BE0DC21-9A03-D7B6-1A07-B82C5056D735}"/>
          </ac:spMkLst>
        </pc:spChg>
        <pc:spChg chg="del mod">
          <ac:chgData name="Merlin Gutter" userId="2abc6f04-74af-430b-bdc8-569c3bfa1dda" providerId="ADAL" clId="{CB1EFBC3-10F5-3048-8961-5969497C0019}" dt="2022-11-23T17:23:41.364" v="81730"/>
          <ac:spMkLst>
            <pc:docMk/>
            <pc:sldMk cId="978373668" sldId="398"/>
            <ac:spMk id="155" creationId="{B9FB4172-78EC-1DBD-430E-8D44879E9715}"/>
          </ac:spMkLst>
        </pc:spChg>
        <pc:spChg chg="del mod">
          <ac:chgData name="Merlin Gutter" userId="2abc6f04-74af-430b-bdc8-569c3bfa1dda" providerId="ADAL" clId="{CB1EFBC3-10F5-3048-8961-5969497C0019}" dt="2022-11-23T17:23:41.363" v="81729"/>
          <ac:spMkLst>
            <pc:docMk/>
            <pc:sldMk cId="978373668" sldId="398"/>
            <ac:spMk id="156" creationId="{D2E26725-795F-692E-D465-B3D5673AA974}"/>
          </ac:spMkLst>
        </pc:spChg>
        <pc:spChg chg="del mod">
          <ac:chgData name="Merlin Gutter" userId="2abc6f04-74af-430b-bdc8-569c3bfa1dda" providerId="ADAL" clId="{CB1EFBC3-10F5-3048-8961-5969497C0019}" dt="2022-11-23T17:23:41.363" v="81728"/>
          <ac:spMkLst>
            <pc:docMk/>
            <pc:sldMk cId="978373668" sldId="398"/>
            <ac:spMk id="157" creationId="{060DBE4B-0768-E5A2-73A8-A9CEF6967041}"/>
          </ac:spMkLst>
        </pc:spChg>
        <pc:spChg chg="del mod">
          <ac:chgData name="Merlin Gutter" userId="2abc6f04-74af-430b-bdc8-569c3bfa1dda" providerId="ADAL" clId="{CB1EFBC3-10F5-3048-8961-5969497C0019}" dt="2022-11-23T17:23:41.363" v="81727"/>
          <ac:spMkLst>
            <pc:docMk/>
            <pc:sldMk cId="978373668" sldId="398"/>
            <ac:spMk id="158" creationId="{2B7BE101-9172-0609-7E48-D9C5B7F4AE01}"/>
          </ac:spMkLst>
        </pc:spChg>
        <pc:spChg chg="del mod">
          <ac:chgData name="Merlin Gutter" userId="2abc6f04-74af-430b-bdc8-569c3bfa1dda" providerId="ADAL" clId="{CB1EFBC3-10F5-3048-8961-5969497C0019}" dt="2022-11-23T17:23:41.362" v="81726"/>
          <ac:spMkLst>
            <pc:docMk/>
            <pc:sldMk cId="978373668" sldId="398"/>
            <ac:spMk id="159" creationId="{36BBC77D-07A7-CC56-DF9A-F863D16FCFC3}"/>
          </ac:spMkLst>
        </pc:spChg>
        <pc:spChg chg="del mod">
          <ac:chgData name="Merlin Gutter" userId="2abc6f04-74af-430b-bdc8-569c3bfa1dda" providerId="ADAL" clId="{CB1EFBC3-10F5-3048-8961-5969497C0019}" dt="2022-11-23T17:23:41.362" v="81725"/>
          <ac:spMkLst>
            <pc:docMk/>
            <pc:sldMk cId="978373668" sldId="398"/>
            <ac:spMk id="160" creationId="{0314C8F0-3CD9-EEF6-ADED-D49E7D8353FC}"/>
          </ac:spMkLst>
        </pc:spChg>
        <pc:spChg chg="del mod">
          <ac:chgData name="Merlin Gutter" userId="2abc6f04-74af-430b-bdc8-569c3bfa1dda" providerId="ADAL" clId="{CB1EFBC3-10F5-3048-8961-5969497C0019}" dt="2022-11-23T17:23:41.362" v="81724"/>
          <ac:spMkLst>
            <pc:docMk/>
            <pc:sldMk cId="978373668" sldId="398"/>
            <ac:spMk id="161" creationId="{B2FF1CBD-0CCC-417F-818E-F1A8E08F58EB}"/>
          </ac:spMkLst>
        </pc:spChg>
        <pc:spChg chg="del mod">
          <ac:chgData name="Merlin Gutter" userId="2abc6f04-74af-430b-bdc8-569c3bfa1dda" providerId="ADAL" clId="{CB1EFBC3-10F5-3048-8961-5969497C0019}" dt="2022-11-23T17:23:41.361" v="81723"/>
          <ac:spMkLst>
            <pc:docMk/>
            <pc:sldMk cId="978373668" sldId="398"/>
            <ac:spMk id="162" creationId="{27977A41-AB41-C72B-02F1-F456C6EB7DCB}"/>
          </ac:spMkLst>
        </pc:spChg>
        <pc:spChg chg="del mod">
          <ac:chgData name="Merlin Gutter" userId="2abc6f04-74af-430b-bdc8-569c3bfa1dda" providerId="ADAL" clId="{CB1EFBC3-10F5-3048-8961-5969497C0019}" dt="2022-11-23T17:23:41.361" v="81722"/>
          <ac:spMkLst>
            <pc:docMk/>
            <pc:sldMk cId="978373668" sldId="398"/>
            <ac:spMk id="163" creationId="{5C4E85DC-2CE8-41D1-B83A-03F8C561A0CE}"/>
          </ac:spMkLst>
        </pc:spChg>
        <pc:spChg chg="del mod">
          <ac:chgData name="Merlin Gutter" userId="2abc6f04-74af-430b-bdc8-569c3bfa1dda" providerId="ADAL" clId="{CB1EFBC3-10F5-3048-8961-5969497C0019}" dt="2022-11-23T17:23:41.361" v="81721"/>
          <ac:spMkLst>
            <pc:docMk/>
            <pc:sldMk cId="978373668" sldId="398"/>
            <ac:spMk id="164" creationId="{3448B320-747D-C22C-8C36-4F04CD473BF9}"/>
          </ac:spMkLst>
        </pc:spChg>
        <pc:spChg chg="del mod">
          <ac:chgData name="Merlin Gutter" userId="2abc6f04-74af-430b-bdc8-569c3bfa1dda" providerId="ADAL" clId="{CB1EFBC3-10F5-3048-8961-5969497C0019}" dt="2022-11-23T17:23:41.360" v="81720"/>
          <ac:spMkLst>
            <pc:docMk/>
            <pc:sldMk cId="978373668" sldId="398"/>
            <ac:spMk id="165" creationId="{35F8EC9B-E066-6A85-AD3B-7C759E5052E6}"/>
          </ac:spMkLst>
        </pc:spChg>
        <pc:spChg chg="del mod">
          <ac:chgData name="Merlin Gutter" userId="2abc6f04-74af-430b-bdc8-569c3bfa1dda" providerId="ADAL" clId="{CB1EFBC3-10F5-3048-8961-5969497C0019}" dt="2022-11-23T17:23:41.360" v="81719"/>
          <ac:spMkLst>
            <pc:docMk/>
            <pc:sldMk cId="978373668" sldId="398"/>
            <ac:spMk id="166" creationId="{9E75DBEC-F848-151D-59CF-CF802B007ED5}"/>
          </ac:spMkLst>
        </pc:spChg>
        <pc:spChg chg="del mod">
          <ac:chgData name="Merlin Gutter" userId="2abc6f04-74af-430b-bdc8-569c3bfa1dda" providerId="ADAL" clId="{CB1EFBC3-10F5-3048-8961-5969497C0019}" dt="2022-11-23T17:23:41.360" v="81718"/>
          <ac:spMkLst>
            <pc:docMk/>
            <pc:sldMk cId="978373668" sldId="398"/>
            <ac:spMk id="167" creationId="{C9D964D3-5384-A093-D3E1-75F979956F26}"/>
          </ac:spMkLst>
        </pc:spChg>
        <pc:spChg chg="del mod">
          <ac:chgData name="Merlin Gutter" userId="2abc6f04-74af-430b-bdc8-569c3bfa1dda" providerId="ADAL" clId="{CB1EFBC3-10F5-3048-8961-5969497C0019}" dt="2022-11-23T17:23:41.360" v="81717"/>
          <ac:spMkLst>
            <pc:docMk/>
            <pc:sldMk cId="978373668" sldId="398"/>
            <ac:spMk id="168" creationId="{26219115-148A-1BA4-7641-BE8C47E30640}"/>
          </ac:spMkLst>
        </pc:spChg>
        <pc:spChg chg="del mod">
          <ac:chgData name="Merlin Gutter" userId="2abc6f04-74af-430b-bdc8-569c3bfa1dda" providerId="ADAL" clId="{CB1EFBC3-10F5-3048-8961-5969497C0019}" dt="2022-11-23T17:23:41.359" v="81716"/>
          <ac:spMkLst>
            <pc:docMk/>
            <pc:sldMk cId="978373668" sldId="398"/>
            <ac:spMk id="169" creationId="{BC95B0D2-88F3-A643-2A2D-34F6A89CB1DF}"/>
          </ac:spMkLst>
        </pc:spChg>
        <pc:spChg chg="del mod">
          <ac:chgData name="Merlin Gutter" userId="2abc6f04-74af-430b-bdc8-569c3bfa1dda" providerId="ADAL" clId="{CB1EFBC3-10F5-3048-8961-5969497C0019}" dt="2022-11-23T17:23:41.359" v="81715"/>
          <ac:spMkLst>
            <pc:docMk/>
            <pc:sldMk cId="978373668" sldId="398"/>
            <ac:spMk id="170" creationId="{C655087D-AF87-8885-6B98-070818D2B9D8}"/>
          </ac:spMkLst>
        </pc:spChg>
        <pc:spChg chg="del mod">
          <ac:chgData name="Merlin Gutter" userId="2abc6f04-74af-430b-bdc8-569c3bfa1dda" providerId="ADAL" clId="{CB1EFBC3-10F5-3048-8961-5969497C0019}" dt="2022-11-23T17:23:41.359" v="81714"/>
          <ac:spMkLst>
            <pc:docMk/>
            <pc:sldMk cId="978373668" sldId="398"/>
            <ac:spMk id="171" creationId="{9ECE62BE-B535-650F-267D-7E23F4B7E401}"/>
          </ac:spMkLst>
        </pc:spChg>
        <pc:spChg chg="del mod">
          <ac:chgData name="Merlin Gutter" userId="2abc6f04-74af-430b-bdc8-569c3bfa1dda" providerId="ADAL" clId="{CB1EFBC3-10F5-3048-8961-5969497C0019}" dt="2022-11-23T17:23:41.358" v="81713"/>
          <ac:spMkLst>
            <pc:docMk/>
            <pc:sldMk cId="978373668" sldId="398"/>
            <ac:spMk id="172" creationId="{DA7E4DEF-A5C0-3F5C-ACE7-35DCF57E0E47}"/>
          </ac:spMkLst>
        </pc:spChg>
        <pc:spChg chg="del mod">
          <ac:chgData name="Merlin Gutter" userId="2abc6f04-74af-430b-bdc8-569c3bfa1dda" providerId="ADAL" clId="{CB1EFBC3-10F5-3048-8961-5969497C0019}" dt="2022-11-23T17:23:41.358" v="81712"/>
          <ac:spMkLst>
            <pc:docMk/>
            <pc:sldMk cId="978373668" sldId="398"/>
            <ac:spMk id="173" creationId="{0554C27D-A1F7-6F82-5906-3AC2476CF0A8}"/>
          </ac:spMkLst>
        </pc:spChg>
        <pc:spChg chg="del mod">
          <ac:chgData name="Merlin Gutter" userId="2abc6f04-74af-430b-bdc8-569c3bfa1dda" providerId="ADAL" clId="{CB1EFBC3-10F5-3048-8961-5969497C0019}" dt="2022-11-23T17:23:41.358" v="81711"/>
          <ac:spMkLst>
            <pc:docMk/>
            <pc:sldMk cId="978373668" sldId="398"/>
            <ac:spMk id="174" creationId="{FDA60125-CB12-7656-A25D-E2EACDFBF9AA}"/>
          </ac:spMkLst>
        </pc:spChg>
        <pc:spChg chg="del mod">
          <ac:chgData name="Merlin Gutter" userId="2abc6f04-74af-430b-bdc8-569c3bfa1dda" providerId="ADAL" clId="{CB1EFBC3-10F5-3048-8961-5969497C0019}" dt="2022-11-23T17:23:41.383" v="81814"/>
          <ac:spMkLst>
            <pc:docMk/>
            <pc:sldMk cId="978373668" sldId="398"/>
            <ac:spMk id="220" creationId="{E4B69861-E3F5-0F16-CC91-A82610558EC4}"/>
          </ac:spMkLst>
        </pc:spChg>
        <pc:spChg chg="del mod">
          <ac:chgData name="Merlin Gutter" userId="2abc6f04-74af-430b-bdc8-569c3bfa1dda" providerId="ADAL" clId="{CB1EFBC3-10F5-3048-8961-5969497C0019}" dt="2022-11-23T17:23:41.380" v="81799"/>
          <ac:spMkLst>
            <pc:docMk/>
            <pc:sldMk cId="978373668" sldId="398"/>
            <ac:spMk id="223" creationId="{8AB1E456-CB01-D0C6-2400-431698263CBE}"/>
          </ac:spMkLst>
        </pc:spChg>
        <pc:spChg chg="del mod">
          <ac:chgData name="Merlin Gutter" userId="2abc6f04-74af-430b-bdc8-569c3bfa1dda" providerId="ADAL" clId="{CB1EFBC3-10F5-3048-8961-5969497C0019}" dt="2022-11-23T17:23:41.378" v="81789"/>
          <ac:spMkLst>
            <pc:docMk/>
            <pc:sldMk cId="978373668" sldId="398"/>
            <ac:spMk id="225" creationId="{7E3BCF8A-261D-191B-B446-31C4905B05AF}"/>
          </ac:spMkLst>
        </pc:spChg>
        <pc:spChg chg="del mod">
          <ac:chgData name="Merlin Gutter" userId="2abc6f04-74af-430b-bdc8-569c3bfa1dda" providerId="ADAL" clId="{CB1EFBC3-10F5-3048-8961-5969497C0019}" dt="2022-11-23T17:23:41.376" v="81779"/>
          <ac:spMkLst>
            <pc:docMk/>
            <pc:sldMk cId="978373668" sldId="398"/>
            <ac:spMk id="227" creationId="{5706404A-C5A3-7F57-5FF3-E2871360F7FB}"/>
          </ac:spMkLst>
        </pc:spChg>
        <pc:spChg chg="del mod">
          <ac:chgData name="Merlin Gutter" userId="2abc6f04-74af-430b-bdc8-569c3bfa1dda" providerId="ADAL" clId="{CB1EFBC3-10F5-3048-8961-5969497C0019}" dt="2022-11-23T17:23:41.355" v="81704"/>
          <ac:spMkLst>
            <pc:docMk/>
            <pc:sldMk cId="978373668" sldId="398"/>
            <ac:spMk id="380" creationId="{A4277D2A-A17B-94FB-372B-44CBF51AF92D}"/>
          </ac:spMkLst>
        </pc:spChg>
        <pc:spChg chg="del mod">
          <ac:chgData name="Merlin Gutter" userId="2abc6f04-74af-430b-bdc8-569c3bfa1dda" providerId="ADAL" clId="{CB1EFBC3-10F5-3048-8961-5969497C0019}" dt="2022-11-23T17:23:41.352" v="81696"/>
          <ac:spMkLst>
            <pc:docMk/>
            <pc:sldMk cId="978373668" sldId="398"/>
            <ac:spMk id="386" creationId="{99C6B807-141E-3D78-57FC-17751DD454CB}"/>
          </ac:spMkLst>
        </pc:spChg>
        <pc:spChg chg="del mod">
          <ac:chgData name="Merlin Gutter" userId="2abc6f04-74af-430b-bdc8-569c3bfa1dda" providerId="ADAL" clId="{CB1EFBC3-10F5-3048-8961-5969497C0019}" dt="2022-11-23T17:23:41.382" v="81809"/>
          <ac:spMkLst>
            <pc:docMk/>
            <pc:sldMk cId="978373668" sldId="398"/>
            <ac:spMk id="427" creationId="{C3038790-BF3B-EDDB-0C60-3504D554CDB1}"/>
          </ac:spMkLst>
        </pc:spChg>
        <pc:spChg chg="del mod">
          <ac:chgData name="Merlin Gutter" userId="2abc6f04-74af-430b-bdc8-569c3bfa1dda" providerId="ADAL" clId="{CB1EFBC3-10F5-3048-8961-5969497C0019}" dt="2022-11-23T17:23:41.381" v="81804"/>
          <ac:spMkLst>
            <pc:docMk/>
            <pc:sldMk cId="978373668" sldId="398"/>
            <ac:spMk id="428" creationId="{6E265CAE-BFEB-4B0A-A749-56CBE14B0CB9}"/>
          </ac:spMkLst>
        </pc:spChg>
        <pc:spChg chg="del mod">
          <ac:chgData name="Merlin Gutter" userId="2abc6f04-74af-430b-bdc8-569c3bfa1dda" providerId="ADAL" clId="{CB1EFBC3-10F5-3048-8961-5969497C0019}" dt="2022-11-23T17:23:41.379" v="81794"/>
          <ac:spMkLst>
            <pc:docMk/>
            <pc:sldMk cId="978373668" sldId="398"/>
            <ac:spMk id="429" creationId="{C4CAB5DA-4966-FE15-AD40-1B97D4C48366}"/>
          </ac:spMkLst>
        </pc:spChg>
        <pc:spChg chg="del mod">
          <ac:chgData name="Merlin Gutter" userId="2abc6f04-74af-430b-bdc8-569c3bfa1dda" providerId="ADAL" clId="{CB1EFBC3-10F5-3048-8961-5969497C0019}" dt="2022-11-23T17:23:41.377" v="81784"/>
          <ac:spMkLst>
            <pc:docMk/>
            <pc:sldMk cId="978373668" sldId="398"/>
            <ac:spMk id="430" creationId="{DB444AD2-669B-993E-D2E8-BBD5ED92F094}"/>
          </ac:spMkLst>
        </pc:spChg>
        <pc:graphicFrameChg chg="mod">
          <ac:chgData name="Merlin Gutter" userId="2abc6f04-74af-430b-bdc8-569c3bfa1dda" providerId="ADAL" clId="{CB1EFBC3-10F5-3048-8961-5969497C0019}" dt="2022-11-23T17:23:41.394" v="81826"/>
          <ac:graphicFrameMkLst>
            <pc:docMk/>
            <pc:sldMk cId="978373668" sldId="398"/>
            <ac:graphicFrameMk id="20" creationId="{6813096F-D721-0653-587E-E254F033A5A9}"/>
          </ac:graphicFrameMkLst>
        </pc:graphicFrameChg>
        <pc:graphicFrameChg chg="del">
          <ac:chgData name="Merlin Gutter" userId="2abc6f04-74af-430b-bdc8-569c3bfa1dda" providerId="ADAL" clId="{CB1EFBC3-10F5-3048-8961-5969497C0019}" dt="2022-11-23T17:23:39.218" v="81471"/>
          <ac:graphicFrameMkLst>
            <pc:docMk/>
            <pc:sldMk cId="978373668" sldId="398"/>
            <ac:graphicFrameMk id="35" creationId="{EC8CCEB7-B0D1-8F33-239D-1428AA8739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3:41.385" v="81822"/>
          <ac:graphicFrameMkLst>
            <pc:docMk/>
            <pc:sldMk cId="978373668" sldId="398"/>
            <ac:graphicFrameMk id="46" creationId="{95899968-7A50-2505-961A-6863B73E8424}"/>
          </ac:graphicFrameMkLst>
        </pc:graphicFrameChg>
        <pc:cxnChg chg="mod">
          <ac:chgData name="Merlin Gutter" userId="2abc6f04-74af-430b-bdc8-569c3bfa1dda" providerId="ADAL" clId="{CB1EFBC3-10F5-3048-8961-5969497C0019}" dt="2022-11-23T17:23:39.279" v="81655"/>
          <ac:cxnSpMkLst>
            <pc:docMk/>
            <pc:sldMk cId="978373668" sldId="398"/>
            <ac:cxnSpMk id="7" creationId="{BAF6F246-54A1-4312-90AB-0320FAD7CD8A}"/>
          </ac:cxnSpMkLst>
        </pc:cxnChg>
        <pc:cxnChg chg="mod">
          <ac:chgData name="Merlin Gutter" userId="2abc6f04-74af-430b-bdc8-569c3bfa1dda" providerId="ADAL" clId="{CB1EFBC3-10F5-3048-8961-5969497C0019}" dt="2022-11-23T17:23:39.279" v="81656"/>
          <ac:cxnSpMkLst>
            <pc:docMk/>
            <pc:sldMk cId="978373668" sldId="398"/>
            <ac:cxnSpMk id="8" creationId="{7A2F73AD-ADF7-009C-C582-FA06B7B3A06D}"/>
          </ac:cxnSpMkLst>
        </pc:cxnChg>
        <pc:cxnChg chg="add del mod replST">
          <ac:chgData name="Merlin Gutter" userId="2abc6f04-74af-430b-bdc8-569c3bfa1dda" providerId="ADAL" clId="{CB1EFBC3-10F5-3048-8961-5969497C0019}" dt="2022-11-23T17:23:41.357" v="81710"/>
          <ac:cxnSpMkLst>
            <pc:docMk/>
            <pc:sldMk cId="978373668" sldId="398"/>
            <ac:cxnSpMk id="25" creationId="{94193C18-9AFA-010A-8AA1-3B8124B24197}"/>
          </ac:cxnSpMkLst>
        </pc:cxnChg>
        <pc:cxnChg chg="add del mod replST">
          <ac:chgData name="Merlin Gutter" userId="2abc6f04-74af-430b-bdc8-569c3bfa1dda" providerId="ADAL" clId="{CB1EFBC3-10F5-3048-8961-5969497C0019}" dt="2022-11-23T17:23:41.357" v="81708"/>
          <ac:cxnSpMkLst>
            <pc:docMk/>
            <pc:sldMk cId="978373668" sldId="398"/>
            <ac:cxnSpMk id="26" creationId="{DA6A1873-1320-AA80-78C5-5C3957410218}"/>
          </ac:cxnSpMkLst>
        </pc:cxnChg>
        <pc:cxnChg chg="add del mod replST">
          <ac:chgData name="Merlin Gutter" userId="2abc6f04-74af-430b-bdc8-569c3bfa1dda" providerId="ADAL" clId="{CB1EFBC3-10F5-3048-8961-5969497C0019}" dt="2022-11-23T17:23:41.356" v="81706"/>
          <ac:cxnSpMkLst>
            <pc:docMk/>
            <pc:sldMk cId="978373668" sldId="398"/>
            <ac:cxnSpMk id="41" creationId="{8198DCD7-7D4A-FE52-6A08-7DEA4FB90DCD}"/>
          </ac:cxnSpMkLst>
        </pc:cxnChg>
        <pc:cxnChg chg="del mod">
          <ac:chgData name="Merlin Gutter" userId="2abc6f04-74af-430b-bdc8-569c3bfa1dda" providerId="ADAL" clId="{CB1EFBC3-10F5-3048-8961-5969497C0019}" dt="2022-11-23T17:23:43.644" v="81827" actId="478"/>
          <ac:cxnSpMkLst>
            <pc:docMk/>
            <pc:sldMk cId="978373668" sldId="398"/>
            <ac:cxnSpMk id="44" creationId="{EDA89F83-E306-95C1-2097-DDF0729EA99B}"/>
          </ac:cxnSpMkLst>
        </pc:cxnChg>
        <pc:cxnChg chg="del mod">
          <ac:chgData name="Merlin Gutter" userId="2abc6f04-74af-430b-bdc8-569c3bfa1dda" providerId="ADAL" clId="{CB1EFBC3-10F5-3048-8961-5969497C0019}" dt="2022-11-23T17:23:41.383" v="81816"/>
          <ac:cxnSpMkLst>
            <pc:docMk/>
            <pc:sldMk cId="978373668" sldId="398"/>
            <ac:cxnSpMk id="228" creationId="{BE191C59-1A3A-0A58-5312-8200EF43A74D}"/>
          </ac:cxnSpMkLst>
        </pc:cxnChg>
        <pc:cxnChg chg="del mod">
          <ac:chgData name="Merlin Gutter" userId="2abc6f04-74af-430b-bdc8-569c3bfa1dda" providerId="ADAL" clId="{CB1EFBC3-10F5-3048-8961-5969497C0019}" dt="2022-11-23T17:23:41.381" v="81803"/>
          <ac:cxnSpMkLst>
            <pc:docMk/>
            <pc:sldMk cId="978373668" sldId="398"/>
            <ac:cxnSpMk id="231" creationId="{B2D4622C-A6B1-E5A0-BB01-86CC8FAF7C92}"/>
          </ac:cxnSpMkLst>
        </pc:cxnChg>
        <pc:cxnChg chg="del mod">
          <ac:chgData name="Merlin Gutter" userId="2abc6f04-74af-430b-bdc8-569c3bfa1dda" providerId="ADAL" clId="{CB1EFBC3-10F5-3048-8961-5969497C0019}" dt="2022-11-23T17:23:41.379" v="81793"/>
          <ac:cxnSpMkLst>
            <pc:docMk/>
            <pc:sldMk cId="978373668" sldId="398"/>
            <ac:cxnSpMk id="233" creationId="{153CE8EC-2C42-5472-4595-FE206DE57468}"/>
          </ac:cxnSpMkLst>
        </pc:cxnChg>
        <pc:cxnChg chg="del mod">
          <ac:chgData name="Merlin Gutter" userId="2abc6f04-74af-430b-bdc8-569c3bfa1dda" providerId="ADAL" clId="{CB1EFBC3-10F5-3048-8961-5969497C0019}" dt="2022-11-23T17:23:41.377" v="81783"/>
          <ac:cxnSpMkLst>
            <pc:docMk/>
            <pc:sldMk cId="978373668" sldId="398"/>
            <ac:cxnSpMk id="235" creationId="{9C8BA09B-4925-0289-7A24-3D94A2FFC472}"/>
          </ac:cxnSpMkLst>
        </pc:cxnChg>
        <pc:cxnChg chg="del mod">
          <ac:chgData name="Merlin Gutter" userId="2abc6f04-74af-430b-bdc8-569c3bfa1dda" providerId="ADAL" clId="{CB1EFBC3-10F5-3048-8961-5969497C0019}" dt="2022-11-23T17:23:41.354" v="81702"/>
          <ac:cxnSpMkLst>
            <pc:docMk/>
            <pc:sldMk cId="978373668" sldId="398"/>
            <ac:cxnSpMk id="381" creationId="{457CE312-C0DC-0F5C-5B8B-912B30EA7C3D}"/>
          </ac:cxnSpMkLst>
        </pc:cxnChg>
        <pc:cxnChg chg="del mod">
          <ac:chgData name="Merlin Gutter" userId="2abc6f04-74af-430b-bdc8-569c3bfa1dda" providerId="ADAL" clId="{CB1EFBC3-10F5-3048-8961-5969497C0019}" dt="2022-11-23T17:23:41.354" v="81700"/>
          <ac:cxnSpMkLst>
            <pc:docMk/>
            <pc:sldMk cId="978373668" sldId="398"/>
            <ac:cxnSpMk id="382" creationId="{7ED92058-A3E8-5E51-EB96-CC97C9437BD7}"/>
          </ac:cxnSpMkLst>
        </pc:cxnChg>
        <pc:cxnChg chg="del mod">
          <ac:chgData name="Merlin Gutter" userId="2abc6f04-74af-430b-bdc8-569c3bfa1dda" providerId="ADAL" clId="{CB1EFBC3-10F5-3048-8961-5969497C0019}" dt="2022-11-23T17:23:41.353" v="81698"/>
          <ac:cxnSpMkLst>
            <pc:docMk/>
            <pc:sldMk cId="978373668" sldId="398"/>
            <ac:cxnSpMk id="383" creationId="{33534F8B-417F-CDE3-430C-CA3F942F4F06}"/>
          </ac:cxnSpMkLst>
        </pc:cxnChg>
        <pc:cxnChg chg="del mod">
          <ac:chgData name="Merlin Gutter" userId="2abc6f04-74af-430b-bdc8-569c3bfa1dda" providerId="ADAL" clId="{CB1EFBC3-10F5-3048-8961-5969497C0019}" dt="2022-11-23T17:23:41.351" v="81694"/>
          <ac:cxnSpMkLst>
            <pc:docMk/>
            <pc:sldMk cId="978373668" sldId="398"/>
            <ac:cxnSpMk id="387" creationId="{17040920-7574-9678-5E32-4247AF87C4DA}"/>
          </ac:cxnSpMkLst>
        </pc:cxnChg>
        <pc:cxnChg chg="del mod">
          <ac:chgData name="Merlin Gutter" userId="2abc6f04-74af-430b-bdc8-569c3bfa1dda" providerId="ADAL" clId="{CB1EFBC3-10F5-3048-8961-5969497C0019}" dt="2022-11-23T17:23:41.350" v="81692"/>
          <ac:cxnSpMkLst>
            <pc:docMk/>
            <pc:sldMk cId="978373668" sldId="398"/>
            <ac:cxnSpMk id="388" creationId="{AE187C29-CD3F-549B-6670-9106D8B9A8E5}"/>
          </ac:cxnSpMkLst>
        </pc:cxnChg>
        <pc:cxnChg chg="del mod">
          <ac:chgData name="Merlin Gutter" userId="2abc6f04-74af-430b-bdc8-569c3bfa1dda" providerId="ADAL" clId="{CB1EFBC3-10F5-3048-8961-5969497C0019}" dt="2022-11-23T17:23:41.348" v="81690"/>
          <ac:cxnSpMkLst>
            <pc:docMk/>
            <pc:sldMk cId="978373668" sldId="398"/>
            <ac:cxnSpMk id="389" creationId="{6661D47C-5D15-C012-E53E-7F898F03871B}"/>
          </ac:cxnSpMkLst>
        </pc:cxnChg>
        <pc:cxnChg chg="del mod">
          <ac:chgData name="Merlin Gutter" userId="2abc6f04-74af-430b-bdc8-569c3bfa1dda" providerId="ADAL" clId="{CB1EFBC3-10F5-3048-8961-5969497C0019}" dt="2022-11-23T17:23:41.381" v="81801"/>
          <ac:cxnSpMkLst>
            <pc:docMk/>
            <pc:sldMk cId="978373668" sldId="398"/>
            <ac:cxnSpMk id="408" creationId="{673B08D9-145F-249E-897F-0B8F338B4322}"/>
          </ac:cxnSpMkLst>
        </pc:cxnChg>
        <pc:cxnChg chg="del mod">
          <ac:chgData name="Merlin Gutter" userId="2abc6f04-74af-430b-bdc8-569c3bfa1dda" providerId="ADAL" clId="{CB1EFBC3-10F5-3048-8961-5969497C0019}" dt="2022-11-23T17:23:41.379" v="81791"/>
          <ac:cxnSpMkLst>
            <pc:docMk/>
            <pc:sldMk cId="978373668" sldId="398"/>
            <ac:cxnSpMk id="410" creationId="{5A35DF61-481A-ADBE-456F-E2CE1F56C9D0}"/>
          </ac:cxnSpMkLst>
        </pc:cxnChg>
        <pc:cxnChg chg="del mod">
          <ac:chgData name="Merlin Gutter" userId="2abc6f04-74af-430b-bdc8-569c3bfa1dda" providerId="ADAL" clId="{CB1EFBC3-10F5-3048-8961-5969497C0019}" dt="2022-11-23T17:23:41.376" v="81781"/>
          <ac:cxnSpMkLst>
            <pc:docMk/>
            <pc:sldMk cId="978373668" sldId="398"/>
            <ac:cxnSpMk id="412" creationId="{1B89F2C6-D2C5-481B-287F-FF68CD9A5949}"/>
          </ac:cxnSpMkLst>
        </pc:cxnChg>
        <pc:cxnChg chg="del mod">
          <ac:chgData name="Merlin Gutter" userId="2abc6f04-74af-430b-bdc8-569c3bfa1dda" providerId="ADAL" clId="{CB1EFBC3-10F5-3048-8961-5969497C0019}" dt="2022-11-23T17:23:41.383" v="81813"/>
          <ac:cxnSpMkLst>
            <pc:docMk/>
            <pc:sldMk cId="978373668" sldId="398"/>
            <ac:cxnSpMk id="431" creationId="{CEE8284B-99A5-8437-10DA-69E6C8F09ACD}"/>
          </ac:cxnSpMkLst>
        </pc:cxnChg>
        <pc:cxnChg chg="del mod">
          <ac:chgData name="Merlin Gutter" userId="2abc6f04-74af-430b-bdc8-569c3bfa1dda" providerId="ADAL" clId="{CB1EFBC3-10F5-3048-8961-5969497C0019}" dt="2022-11-23T17:23:41.382" v="81811"/>
          <ac:cxnSpMkLst>
            <pc:docMk/>
            <pc:sldMk cId="978373668" sldId="398"/>
            <ac:cxnSpMk id="432" creationId="{36A99B78-9B88-D1EC-3D0C-10FB4B33E911}"/>
          </ac:cxnSpMkLst>
        </pc:cxnChg>
        <pc:cxnChg chg="del mod">
          <ac:chgData name="Merlin Gutter" userId="2abc6f04-74af-430b-bdc8-569c3bfa1dda" providerId="ADAL" clId="{CB1EFBC3-10F5-3048-8961-5969497C0019}" dt="2022-11-23T17:23:41.382" v="81808"/>
          <ac:cxnSpMkLst>
            <pc:docMk/>
            <pc:sldMk cId="978373668" sldId="398"/>
            <ac:cxnSpMk id="433" creationId="{9F2075F1-1CCA-86C6-DBB9-731191CD5BF2}"/>
          </ac:cxnSpMkLst>
        </pc:cxnChg>
        <pc:cxnChg chg="del mod">
          <ac:chgData name="Merlin Gutter" userId="2abc6f04-74af-430b-bdc8-569c3bfa1dda" providerId="ADAL" clId="{CB1EFBC3-10F5-3048-8961-5969497C0019}" dt="2022-11-23T17:23:41.381" v="81806"/>
          <ac:cxnSpMkLst>
            <pc:docMk/>
            <pc:sldMk cId="978373668" sldId="398"/>
            <ac:cxnSpMk id="434" creationId="{49458954-C9F1-A38A-8864-B1384C131185}"/>
          </ac:cxnSpMkLst>
        </pc:cxnChg>
        <pc:cxnChg chg="del mod">
          <ac:chgData name="Merlin Gutter" userId="2abc6f04-74af-430b-bdc8-569c3bfa1dda" providerId="ADAL" clId="{CB1EFBC3-10F5-3048-8961-5969497C0019}" dt="2022-11-23T17:23:41.380" v="81798"/>
          <ac:cxnSpMkLst>
            <pc:docMk/>
            <pc:sldMk cId="978373668" sldId="398"/>
            <ac:cxnSpMk id="435" creationId="{85DD01DE-21FB-C7C2-2DBE-416879CFF66D}"/>
          </ac:cxnSpMkLst>
        </pc:cxnChg>
        <pc:cxnChg chg="del mod">
          <ac:chgData name="Merlin Gutter" userId="2abc6f04-74af-430b-bdc8-569c3bfa1dda" providerId="ADAL" clId="{CB1EFBC3-10F5-3048-8961-5969497C0019}" dt="2022-11-23T17:23:41.380" v="81796"/>
          <ac:cxnSpMkLst>
            <pc:docMk/>
            <pc:sldMk cId="978373668" sldId="398"/>
            <ac:cxnSpMk id="436" creationId="{28819932-92DC-ED91-FF9C-8E3F400B42F5}"/>
          </ac:cxnSpMkLst>
        </pc:cxnChg>
        <pc:cxnChg chg="del mod">
          <ac:chgData name="Merlin Gutter" userId="2abc6f04-74af-430b-bdc8-569c3bfa1dda" providerId="ADAL" clId="{CB1EFBC3-10F5-3048-8961-5969497C0019}" dt="2022-11-23T17:23:41.378" v="81788"/>
          <ac:cxnSpMkLst>
            <pc:docMk/>
            <pc:sldMk cId="978373668" sldId="398"/>
            <ac:cxnSpMk id="437" creationId="{E51121C7-83F9-B3A6-FF04-F8517BCD2705}"/>
          </ac:cxnSpMkLst>
        </pc:cxnChg>
        <pc:cxnChg chg="del mod">
          <ac:chgData name="Merlin Gutter" userId="2abc6f04-74af-430b-bdc8-569c3bfa1dda" providerId="ADAL" clId="{CB1EFBC3-10F5-3048-8961-5969497C0019}" dt="2022-11-23T17:23:41.378" v="81786"/>
          <ac:cxnSpMkLst>
            <pc:docMk/>
            <pc:sldMk cId="978373668" sldId="398"/>
            <ac:cxnSpMk id="438" creationId="{25EAF4F5-E92F-E119-0DE8-99DC38A1B848}"/>
          </ac:cxnSpMkLst>
        </pc:cxnChg>
      </pc:sldChg>
      <pc:sldChg chg="addSp delSp modSp add mod">
        <pc:chgData name="Merlin Gutter" userId="2abc6f04-74af-430b-bdc8-569c3bfa1dda" providerId="ADAL" clId="{CB1EFBC3-10F5-3048-8961-5969497C0019}" dt="2022-11-23T17:26:25.306" v="91619"/>
        <pc:sldMkLst>
          <pc:docMk/>
          <pc:sldMk cId="2172680304" sldId="398"/>
        </pc:sldMkLst>
        <pc:spChg chg="mod">
          <ac:chgData name="Merlin Gutter" userId="2abc6f04-74af-430b-bdc8-569c3bfa1dda" providerId="ADAL" clId="{CB1EFBC3-10F5-3048-8961-5969497C0019}" dt="2022-11-23T17:25:21.914" v="90397"/>
          <ac:spMkLst>
            <pc:docMk/>
            <pc:sldMk cId="2172680304" sldId="398"/>
            <ac:spMk id="2" creationId="{EBDD7A3D-4F52-3DE2-F933-8449D83DCF02}"/>
          </ac:spMkLst>
        </pc:spChg>
        <pc:spChg chg="mod">
          <ac:chgData name="Merlin Gutter" userId="2abc6f04-74af-430b-bdc8-569c3bfa1dda" providerId="ADAL" clId="{CB1EFBC3-10F5-3048-8961-5969497C0019}" dt="2022-11-23T17:25:21.914" v="90398"/>
          <ac:spMkLst>
            <pc:docMk/>
            <pc:sldMk cId="2172680304" sldId="398"/>
            <ac:spMk id="3" creationId="{4B23F066-78F6-ED99-A2E1-FCA243435AA8}"/>
          </ac:spMkLst>
        </pc:spChg>
        <pc:spChg chg="mod">
          <ac:chgData name="Merlin Gutter" userId="2abc6f04-74af-430b-bdc8-569c3bfa1dda" providerId="ADAL" clId="{CB1EFBC3-10F5-3048-8961-5969497C0019}" dt="2022-11-23T17:25:21.914" v="90399"/>
          <ac:spMkLst>
            <pc:docMk/>
            <pc:sldMk cId="2172680304" sldId="398"/>
            <ac:spMk id="4" creationId="{419A56F2-33FC-B13B-F824-5320C14683F0}"/>
          </ac:spMkLst>
        </pc:spChg>
        <pc:spChg chg="mod">
          <ac:chgData name="Merlin Gutter" userId="2abc6f04-74af-430b-bdc8-569c3bfa1dda" providerId="ADAL" clId="{CB1EFBC3-10F5-3048-8961-5969497C0019}" dt="2022-11-23T17:25:21.914" v="90400"/>
          <ac:spMkLst>
            <pc:docMk/>
            <pc:sldMk cId="2172680304" sldId="398"/>
            <ac:spMk id="5" creationId="{64E62B09-B628-9390-D8F1-925831825F25}"/>
          </ac:spMkLst>
        </pc:spChg>
        <pc:spChg chg="mod">
          <ac:chgData name="Merlin Gutter" userId="2abc6f04-74af-430b-bdc8-569c3bfa1dda" providerId="ADAL" clId="{CB1EFBC3-10F5-3048-8961-5969497C0019}" dt="2022-11-23T17:25:21.915" v="90401"/>
          <ac:spMkLst>
            <pc:docMk/>
            <pc:sldMk cId="2172680304" sldId="398"/>
            <ac:spMk id="6" creationId="{5CD15DEF-BD86-6BAD-F618-0FCA1640781D}"/>
          </ac:spMkLst>
        </pc:spChg>
        <pc:spChg chg="mod">
          <ac:chgData name="Merlin Gutter" userId="2abc6f04-74af-430b-bdc8-569c3bfa1dda" providerId="ADAL" clId="{CB1EFBC3-10F5-3048-8961-5969497C0019}" dt="2022-11-23T17:25:21.915" v="90405"/>
          <ac:spMkLst>
            <pc:docMk/>
            <pc:sldMk cId="2172680304" sldId="398"/>
            <ac:spMk id="9" creationId="{A288F178-0675-D978-CFEB-B90888260247}"/>
          </ac:spMkLst>
        </pc:spChg>
        <pc:spChg chg="add del mod modVis">
          <ac:chgData name="Merlin Gutter" userId="2abc6f04-74af-430b-bdc8-569c3bfa1dda" providerId="ADAL" clId="{CB1EFBC3-10F5-3048-8961-5969497C0019}" dt="2022-11-23T17:24:19.890" v="83236"/>
          <ac:spMkLst>
            <pc:docMk/>
            <pc:sldMk cId="2172680304" sldId="398"/>
            <ac:spMk id="10" creationId="{B897C53E-5CCB-9CA9-48A2-42F5915B7EBD}"/>
          </ac:spMkLst>
        </pc:spChg>
        <pc:spChg chg="del">
          <ac:chgData name="Merlin Gutter" userId="2abc6f04-74af-430b-bdc8-569c3bfa1dda" providerId="ADAL" clId="{CB1EFBC3-10F5-3048-8961-5969497C0019}" dt="2022-11-23T17:24:19.658" v="82693"/>
          <ac:spMkLst>
            <pc:docMk/>
            <pc:sldMk cId="2172680304" sldId="398"/>
            <ac:spMk id="11" creationId="{A53FEEEA-7C1F-95E2-9F1D-826981E30A99}"/>
          </ac:spMkLst>
        </pc:spChg>
        <pc:spChg chg="del">
          <ac:chgData name="Merlin Gutter" userId="2abc6f04-74af-430b-bdc8-569c3bfa1dda" providerId="ADAL" clId="{CB1EFBC3-10F5-3048-8961-5969497C0019}" dt="2022-11-23T17:24:19.662" v="82709"/>
          <ac:spMkLst>
            <pc:docMk/>
            <pc:sldMk cId="2172680304" sldId="398"/>
            <ac:spMk id="12" creationId="{ADDE32B0-4671-19EE-14EC-7DB8A8F0E55A}"/>
          </ac:spMkLst>
        </pc:spChg>
        <pc:spChg chg="del">
          <ac:chgData name="Merlin Gutter" userId="2abc6f04-74af-430b-bdc8-569c3bfa1dda" providerId="ADAL" clId="{CB1EFBC3-10F5-3048-8961-5969497C0019}" dt="2022-11-23T17:24:19.668" v="82726"/>
          <ac:spMkLst>
            <pc:docMk/>
            <pc:sldMk cId="2172680304" sldId="398"/>
            <ac:spMk id="13" creationId="{0E67283A-44CA-8FAF-8B7B-725B81291DE0}"/>
          </ac:spMkLst>
        </pc:spChg>
        <pc:spChg chg="add del mod replST">
          <ac:chgData name="Merlin Gutter" userId="2abc6f04-74af-430b-bdc8-569c3bfa1dda" providerId="ADAL" clId="{CB1EFBC3-10F5-3048-8961-5969497C0019}" dt="2022-11-23T17:24:21.474" v="83373"/>
          <ac:spMkLst>
            <pc:docMk/>
            <pc:sldMk cId="2172680304" sldId="398"/>
            <ac:spMk id="14" creationId="{A7F00EFF-B6C4-FEA8-B750-4564FCB77387}"/>
          </ac:spMkLst>
        </pc:spChg>
        <pc:spChg chg="add del mod replST">
          <ac:chgData name="Merlin Gutter" userId="2abc6f04-74af-430b-bdc8-569c3bfa1dda" providerId="ADAL" clId="{CB1EFBC3-10F5-3048-8961-5969497C0019}" dt="2022-11-23T17:24:21.473" v="83372"/>
          <ac:spMkLst>
            <pc:docMk/>
            <pc:sldMk cId="2172680304" sldId="398"/>
            <ac:spMk id="15" creationId="{04EC5561-46B6-DA82-7C86-3A0CF66F49C3}"/>
          </ac:spMkLst>
        </pc:spChg>
        <pc:spChg chg="add del mod replST">
          <ac:chgData name="Merlin Gutter" userId="2abc6f04-74af-430b-bdc8-569c3bfa1dda" providerId="ADAL" clId="{CB1EFBC3-10F5-3048-8961-5969497C0019}" dt="2022-11-23T17:24:21.473" v="83371"/>
          <ac:spMkLst>
            <pc:docMk/>
            <pc:sldMk cId="2172680304" sldId="398"/>
            <ac:spMk id="16" creationId="{AFB3A2A0-1D3D-F0E0-CD06-AE5507BF376C}"/>
          </ac:spMkLst>
        </pc:spChg>
        <pc:spChg chg="mod">
          <ac:chgData name="Merlin Gutter" userId="2abc6f04-74af-430b-bdc8-569c3bfa1dda" providerId="ADAL" clId="{CB1EFBC3-10F5-3048-8961-5969497C0019}" dt="2022-11-23T17:25:21.916" v="90406"/>
          <ac:spMkLst>
            <pc:docMk/>
            <pc:sldMk cId="2172680304" sldId="398"/>
            <ac:spMk id="17" creationId="{DD44C274-FD08-2D09-311F-E4389C7B00B0}"/>
          </ac:spMkLst>
        </pc:spChg>
        <pc:spChg chg="mod">
          <ac:chgData name="Merlin Gutter" userId="2abc6f04-74af-430b-bdc8-569c3bfa1dda" providerId="ADAL" clId="{CB1EFBC3-10F5-3048-8961-5969497C0019}" dt="2022-11-23T17:25:21.916" v="90407"/>
          <ac:spMkLst>
            <pc:docMk/>
            <pc:sldMk cId="2172680304" sldId="398"/>
            <ac:spMk id="19" creationId="{C6AC4D07-7F73-4940-3C80-324F7C0892C1}"/>
          </ac:spMkLst>
        </pc:spChg>
        <pc:spChg chg="mod">
          <ac:chgData name="Merlin Gutter" userId="2abc6f04-74af-430b-bdc8-569c3bfa1dda" providerId="ADAL" clId="{CB1EFBC3-10F5-3048-8961-5969497C0019}" dt="2022-11-23T17:25:21.916" v="90408"/>
          <ac:spMkLst>
            <pc:docMk/>
            <pc:sldMk cId="2172680304" sldId="398"/>
            <ac:spMk id="21" creationId="{37AB68F3-CA7E-77F5-58C1-D832A565C52F}"/>
          </ac:spMkLst>
        </pc:spChg>
        <pc:spChg chg="del mod">
          <ac:chgData name="Merlin Gutter" userId="2abc6f04-74af-430b-bdc8-569c3bfa1dda" providerId="ADAL" clId="{CB1EFBC3-10F5-3048-8961-5969497C0019}" dt="2022-11-23T17:24:21.441" v="83241"/>
          <ac:spMkLst>
            <pc:docMk/>
            <pc:sldMk cId="2172680304" sldId="398"/>
            <ac:spMk id="23" creationId="{DC9273EB-C6FF-14E8-51E2-69145B1C568C}"/>
          </ac:spMkLst>
        </pc:spChg>
        <pc:spChg chg="mod">
          <ac:chgData name="Merlin Gutter" userId="2abc6f04-74af-430b-bdc8-569c3bfa1dda" providerId="ADAL" clId="{CB1EFBC3-10F5-3048-8961-5969497C0019}" dt="2022-11-23T17:25:21.916" v="90409"/>
          <ac:spMkLst>
            <pc:docMk/>
            <pc:sldMk cId="2172680304" sldId="398"/>
            <ac:spMk id="24" creationId="{8BD5EC25-7BF3-EDEB-C243-2E367D96EA94}"/>
          </ac:spMkLst>
        </pc:spChg>
        <pc:spChg chg="mod">
          <ac:chgData name="Merlin Gutter" userId="2abc6f04-74af-430b-bdc8-569c3bfa1dda" providerId="ADAL" clId="{CB1EFBC3-10F5-3048-8961-5969497C0019}" dt="2022-11-23T17:25:21.917" v="90410"/>
          <ac:spMkLst>
            <pc:docMk/>
            <pc:sldMk cId="2172680304" sldId="398"/>
            <ac:spMk id="25" creationId="{7EFCEFA2-BD43-FAAA-E7A3-9B1EAE82C022}"/>
          </ac:spMkLst>
        </pc:spChg>
        <pc:spChg chg="mod">
          <ac:chgData name="Merlin Gutter" userId="2abc6f04-74af-430b-bdc8-569c3bfa1dda" providerId="ADAL" clId="{CB1EFBC3-10F5-3048-8961-5969497C0019}" dt="2022-11-23T17:25:21.917" v="90411"/>
          <ac:spMkLst>
            <pc:docMk/>
            <pc:sldMk cId="2172680304" sldId="398"/>
            <ac:spMk id="26" creationId="{C1CD8BDF-5978-5C92-F1EB-8F5F44BA29BD}"/>
          </ac:spMkLst>
        </pc:spChg>
        <pc:spChg chg="del mod">
          <ac:chgData name="Merlin Gutter" userId="2abc6f04-74af-430b-bdc8-569c3bfa1dda" providerId="ADAL" clId="{CB1EFBC3-10F5-3048-8961-5969497C0019}" dt="2022-11-23T17:24:21.445" v="83244"/>
          <ac:spMkLst>
            <pc:docMk/>
            <pc:sldMk cId="2172680304" sldId="398"/>
            <ac:spMk id="27" creationId="{F7100A5A-841E-E2C8-B3C9-2586A03514A3}"/>
          </ac:spMkLst>
        </pc:spChg>
        <pc:spChg chg="del mod">
          <ac:chgData name="Merlin Gutter" userId="2abc6f04-74af-430b-bdc8-569c3bfa1dda" providerId="ADAL" clId="{CB1EFBC3-10F5-3048-8961-5969497C0019}" dt="2022-11-23T17:24:21.447" v="83251"/>
          <ac:spMkLst>
            <pc:docMk/>
            <pc:sldMk cId="2172680304" sldId="398"/>
            <ac:spMk id="28" creationId="{9C92382B-3252-975B-491D-3C319195521F}"/>
          </ac:spMkLst>
        </pc:spChg>
        <pc:spChg chg="del mod">
          <ac:chgData name="Merlin Gutter" userId="2abc6f04-74af-430b-bdc8-569c3bfa1dda" providerId="ADAL" clId="{CB1EFBC3-10F5-3048-8961-5969497C0019}" dt="2022-11-23T17:24:21.446" v="83248"/>
          <ac:spMkLst>
            <pc:docMk/>
            <pc:sldMk cId="2172680304" sldId="398"/>
            <ac:spMk id="29" creationId="{54302D63-9E30-93F1-8B2F-B2B66D817369}"/>
          </ac:spMkLst>
        </pc:spChg>
        <pc:spChg chg="del mod">
          <ac:chgData name="Merlin Gutter" userId="2abc6f04-74af-430b-bdc8-569c3bfa1dda" providerId="ADAL" clId="{CB1EFBC3-10F5-3048-8961-5969497C0019}" dt="2022-11-23T17:24:21.445" v="83242"/>
          <ac:spMkLst>
            <pc:docMk/>
            <pc:sldMk cId="2172680304" sldId="398"/>
            <ac:spMk id="30" creationId="{489FD541-C06B-1A32-2BBE-F7651954E86A}"/>
          </ac:spMkLst>
        </pc:spChg>
        <pc:spChg chg="del mod">
          <ac:chgData name="Merlin Gutter" userId="2abc6f04-74af-430b-bdc8-569c3bfa1dda" providerId="ADAL" clId="{CB1EFBC3-10F5-3048-8961-5969497C0019}" dt="2022-11-23T17:24:21.446" v="83245"/>
          <ac:spMkLst>
            <pc:docMk/>
            <pc:sldMk cId="2172680304" sldId="398"/>
            <ac:spMk id="31" creationId="{B179F675-4222-915E-50E3-0F874B2D2246}"/>
          </ac:spMkLst>
        </pc:spChg>
        <pc:spChg chg="del mod">
          <ac:chgData name="Merlin Gutter" userId="2abc6f04-74af-430b-bdc8-569c3bfa1dda" providerId="ADAL" clId="{CB1EFBC3-10F5-3048-8961-5969497C0019}" dt="2022-11-23T17:24:21.447" v="83253"/>
          <ac:spMkLst>
            <pc:docMk/>
            <pc:sldMk cId="2172680304" sldId="398"/>
            <ac:spMk id="32" creationId="{343DB04A-433F-933A-1918-FA31581C5DD4}"/>
          </ac:spMkLst>
        </pc:spChg>
        <pc:spChg chg="del mod">
          <ac:chgData name="Merlin Gutter" userId="2abc6f04-74af-430b-bdc8-569c3bfa1dda" providerId="ADAL" clId="{CB1EFBC3-10F5-3048-8961-5969497C0019}" dt="2022-11-23T17:24:21.447" v="83250"/>
          <ac:spMkLst>
            <pc:docMk/>
            <pc:sldMk cId="2172680304" sldId="398"/>
            <ac:spMk id="33" creationId="{96A54093-5254-D635-FFCC-101565A9D5BD}"/>
          </ac:spMkLst>
        </pc:spChg>
        <pc:spChg chg="del mod">
          <ac:chgData name="Merlin Gutter" userId="2abc6f04-74af-430b-bdc8-569c3bfa1dda" providerId="ADAL" clId="{CB1EFBC3-10F5-3048-8961-5969497C0019}" dt="2022-11-23T17:24:21.446" v="83247"/>
          <ac:spMkLst>
            <pc:docMk/>
            <pc:sldMk cId="2172680304" sldId="398"/>
            <ac:spMk id="34" creationId="{D16D1F97-A490-067E-F166-2196A5026DB3}"/>
          </ac:spMkLst>
        </pc:spChg>
        <pc:spChg chg="del mod">
          <ac:chgData name="Merlin Gutter" userId="2abc6f04-74af-430b-bdc8-569c3bfa1dda" providerId="ADAL" clId="{CB1EFBC3-10F5-3048-8961-5969497C0019}" dt="2022-11-23T17:24:21.448" v="83256"/>
          <ac:spMkLst>
            <pc:docMk/>
            <pc:sldMk cId="2172680304" sldId="398"/>
            <ac:spMk id="36" creationId="{E97931BC-87D8-0BBA-0D21-319EF9F777EA}"/>
          </ac:spMkLst>
        </pc:spChg>
        <pc:spChg chg="del mod">
          <ac:chgData name="Merlin Gutter" userId="2abc6f04-74af-430b-bdc8-569c3bfa1dda" providerId="ADAL" clId="{CB1EFBC3-10F5-3048-8961-5969497C0019}" dt="2022-11-23T17:24:21.448" v="83254"/>
          <ac:spMkLst>
            <pc:docMk/>
            <pc:sldMk cId="2172680304" sldId="398"/>
            <ac:spMk id="37" creationId="{E566F33B-0E26-EB72-47C4-0D5C9E5F657E}"/>
          </ac:spMkLst>
        </pc:spChg>
        <pc:spChg chg="del mod">
          <ac:chgData name="Merlin Gutter" userId="2abc6f04-74af-430b-bdc8-569c3bfa1dda" providerId="ADAL" clId="{CB1EFBC3-10F5-3048-8961-5969497C0019}" dt="2022-11-23T17:24:21.448" v="83257"/>
          <ac:spMkLst>
            <pc:docMk/>
            <pc:sldMk cId="2172680304" sldId="398"/>
            <ac:spMk id="38" creationId="{9784F329-C167-C5D6-9344-D4DC82A41177}"/>
          </ac:spMkLst>
        </pc:spChg>
        <pc:spChg chg="mod">
          <ac:chgData name="Merlin Gutter" userId="2abc6f04-74af-430b-bdc8-569c3bfa1dda" providerId="ADAL" clId="{CB1EFBC3-10F5-3048-8961-5969497C0019}" dt="2022-11-23T17:25:21.917" v="90412"/>
          <ac:spMkLst>
            <pc:docMk/>
            <pc:sldMk cId="2172680304" sldId="398"/>
            <ac:spMk id="47" creationId="{81DFD405-5312-0EE5-93C1-D3D639815F6E}"/>
          </ac:spMkLst>
        </pc:spChg>
        <pc:spChg chg="add mod replST">
          <ac:chgData name="Merlin Gutter" userId="2abc6f04-74af-430b-bdc8-569c3bfa1dda" providerId="ADAL" clId="{CB1EFBC3-10F5-3048-8961-5969497C0019}" dt="2022-11-23T17:25:21.922" v="90434"/>
          <ac:spMkLst>
            <pc:docMk/>
            <pc:sldMk cId="2172680304" sldId="398"/>
            <ac:spMk id="55" creationId="{6CED8C89-13A9-CF5E-CE99-230A678C2EC4}"/>
          </ac:spMkLst>
        </pc:spChg>
        <pc:spChg chg="add mod replST">
          <ac:chgData name="Merlin Gutter" userId="2abc6f04-74af-430b-bdc8-569c3bfa1dda" providerId="ADAL" clId="{CB1EFBC3-10F5-3048-8961-5969497C0019}" dt="2022-11-23T17:25:21.921" v="90429"/>
          <ac:spMkLst>
            <pc:docMk/>
            <pc:sldMk cId="2172680304" sldId="398"/>
            <ac:spMk id="56" creationId="{B977F188-D14C-DA91-12F1-D3753903C009}"/>
          </ac:spMkLst>
        </pc:spChg>
        <pc:spChg chg="add mod replST">
          <ac:chgData name="Merlin Gutter" userId="2abc6f04-74af-430b-bdc8-569c3bfa1dda" providerId="ADAL" clId="{CB1EFBC3-10F5-3048-8961-5969497C0019}" dt="2022-11-23T17:25:21.921" v="90430"/>
          <ac:spMkLst>
            <pc:docMk/>
            <pc:sldMk cId="2172680304" sldId="398"/>
            <ac:spMk id="57" creationId="{0AA662BF-84D7-D7CC-3D9B-4A669E67622B}"/>
          </ac:spMkLst>
        </pc:spChg>
        <pc:spChg chg="add mod replST">
          <ac:chgData name="Merlin Gutter" userId="2abc6f04-74af-430b-bdc8-569c3bfa1dda" providerId="ADAL" clId="{CB1EFBC3-10F5-3048-8961-5969497C0019}" dt="2022-11-23T17:25:21.921" v="90431"/>
          <ac:spMkLst>
            <pc:docMk/>
            <pc:sldMk cId="2172680304" sldId="398"/>
            <ac:spMk id="58" creationId="{750EB85B-1F82-BE83-2865-1D53DA33B301}"/>
          </ac:spMkLst>
        </pc:spChg>
        <pc:spChg chg="add mod replST">
          <ac:chgData name="Merlin Gutter" userId="2abc6f04-74af-430b-bdc8-569c3bfa1dda" providerId="ADAL" clId="{CB1EFBC3-10F5-3048-8961-5969497C0019}" dt="2022-11-23T17:25:21.922" v="90433"/>
          <ac:spMkLst>
            <pc:docMk/>
            <pc:sldMk cId="2172680304" sldId="398"/>
            <ac:spMk id="59" creationId="{400E79A5-5D69-B67C-7659-154D185A6A4F}"/>
          </ac:spMkLst>
        </pc:spChg>
        <pc:spChg chg="add mod replST">
          <ac:chgData name="Merlin Gutter" userId="2abc6f04-74af-430b-bdc8-569c3bfa1dda" providerId="ADAL" clId="{CB1EFBC3-10F5-3048-8961-5969497C0019}" dt="2022-11-23T17:25:21.922" v="90436"/>
          <ac:spMkLst>
            <pc:docMk/>
            <pc:sldMk cId="2172680304" sldId="398"/>
            <ac:spMk id="60" creationId="{65F7F735-456C-454F-7399-1B81B54409F3}"/>
          </ac:spMkLst>
        </pc:spChg>
        <pc:spChg chg="add mod replST">
          <ac:chgData name="Merlin Gutter" userId="2abc6f04-74af-430b-bdc8-569c3bfa1dda" providerId="ADAL" clId="{CB1EFBC3-10F5-3048-8961-5969497C0019}" dt="2022-11-23T17:25:21.921" v="90432"/>
          <ac:spMkLst>
            <pc:docMk/>
            <pc:sldMk cId="2172680304" sldId="398"/>
            <ac:spMk id="61" creationId="{FF2D0689-E2C2-54BB-0C87-F533C4B59930}"/>
          </ac:spMkLst>
        </pc:spChg>
        <pc:spChg chg="add mod replST">
          <ac:chgData name="Merlin Gutter" userId="2abc6f04-74af-430b-bdc8-569c3bfa1dda" providerId="ADAL" clId="{CB1EFBC3-10F5-3048-8961-5969497C0019}" dt="2022-11-23T17:25:21.922" v="90435"/>
          <ac:spMkLst>
            <pc:docMk/>
            <pc:sldMk cId="2172680304" sldId="398"/>
            <ac:spMk id="62" creationId="{DFDF7996-DF83-507D-01E6-935BC84AE267}"/>
          </ac:spMkLst>
        </pc:spChg>
        <pc:spChg chg="add mod replST">
          <ac:chgData name="Merlin Gutter" userId="2abc6f04-74af-430b-bdc8-569c3bfa1dda" providerId="ADAL" clId="{CB1EFBC3-10F5-3048-8961-5969497C0019}" dt="2022-11-23T17:25:21.922" v="90437"/>
          <ac:spMkLst>
            <pc:docMk/>
            <pc:sldMk cId="2172680304" sldId="398"/>
            <ac:spMk id="63" creationId="{08180248-30DE-470C-DA5A-C0DA92FF3BE3}"/>
          </ac:spMkLst>
        </pc:spChg>
        <pc:spChg chg="add mod replST">
          <ac:chgData name="Merlin Gutter" userId="2abc6f04-74af-430b-bdc8-569c3bfa1dda" providerId="ADAL" clId="{CB1EFBC3-10F5-3048-8961-5969497C0019}" dt="2022-11-23T17:25:21.923" v="90438"/>
          <ac:spMkLst>
            <pc:docMk/>
            <pc:sldMk cId="2172680304" sldId="398"/>
            <ac:spMk id="64" creationId="{6B213303-5DA5-3038-400A-B33003AEFBA2}"/>
          </ac:spMkLst>
        </pc:spChg>
        <pc:spChg chg="add mod replST">
          <ac:chgData name="Merlin Gutter" userId="2abc6f04-74af-430b-bdc8-569c3bfa1dda" providerId="ADAL" clId="{CB1EFBC3-10F5-3048-8961-5969497C0019}" dt="2022-11-23T17:25:21.923" v="90439"/>
          <ac:spMkLst>
            <pc:docMk/>
            <pc:sldMk cId="2172680304" sldId="398"/>
            <ac:spMk id="65" creationId="{E22DF03D-A804-916D-F30B-1A63C6D588FF}"/>
          </ac:spMkLst>
        </pc:spChg>
        <pc:spChg chg="add mod replST">
          <ac:chgData name="Merlin Gutter" userId="2abc6f04-74af-430b-bdc8-569c3bfa1dda" providerId="ADAL" clId="{CB1EFBC3-10F5-3048-8961-5969497C0019}" dt="2022-11-23T17:25:21.929" v="90466"/>
          <ac:spMkLst>
            <pc:docMk/>
            <pc:sldMk cId="2172680304" sldId="398"/>
            <ac:spMk id="67" creationId="{309A9944-657F-9DED-149C-F9658594A4DF}"/>
          </ac:spMkLst>
        </pc:spChg>
        <pc:spChg chg="add mod replST">
          <ac:chgData name="Merlin Gutter" userId="2abc6f04-74af-430b-bdc8-569c3bfa1dda" providerId="ADAL" clId="{CB1EFBC3-10F5-3048-8961-5969497C0019}" dt="2022-11-23T17:25:21.925" v="90449"/>
          <ac:spMkLst>
            <pc:docMk/>
            <pc:sldMk cId="2172680304" sldId="398"/>
            <ac:spMk id="68" creationId="{092709C0-1984-DDEE-201C-C5A575C3B441}"/>
          </ac:spMkLst>
        </pc:spChg>
        <pc:spChg chg="add mod replST">
          <ac:chgData name="Merlin Gutter" userId="2abc6f04-74af-430b-bdc8-569c3bfa1dda" providerId="ADAL" clId="{CB1EFBC3-10F5-3048-8961-5969497C0019}" dt="2022-11-23T17:25:21.924" v="90446"/>
          <ac:spMkLst>
            <pc:docMk/>
            <pc:sldMk cId="2172680304" sldId="398"/>
            <ac:spMk id="69" creationId="{19AD829C-C81C-393E-E63D-CC4AFC9AA9EA}"/>
          </ac:spMkLst>
        </pc:spChg>
        <pc:spChg chg="add mod replST">
          <ac:chgData name="Merlin Gutter" userId="2abc6f04-74af-430b-bdc8-569c3bfa1dda" providerId="ADAL" clId="{CB1EFBC3-10F5-3048-8961-5969497C0019}" dt="2022-11-23T17:25:21.927" v="90458"/>
          <ac:spMkLst>
            <pc:docMk/>
            <pc:sldMk cId="2172680304" sldId="398"/>
            <ac:spMk id="70" creationId="{B61693B5-E7EC-3CEC-A1D0-FD897B319DBC}"/>
          </ac:spMkLst>
        </pc:spChg>
        <pc:spChg chg="add mod replST">
          <ac:chgData name="Merlin Gutter" userId="2abc6f04-74af-430b-bdc8-569c3bfa1dda" providerId="ADAL" clId="{CB1EFBC3-10F5-3048-8961-5969497C0019}" dt="2022-11-23T17:25:21.925" v="90448"/>
          <ac:spMkLst>
            <pc:docMk/>
            <pc:sldMk cId="2172680304" sldId="398"/>
            <ac:spMk id="71" creationId="{30DF7035-219B-F6BA-A9E8-CEA398F85C81}"/>
          </ac:spMkLst>
        </pc:spChg>
        <pc:spChg chg="add mod replST">
          <ac:chgData name="Merlin Gutter" userId="2abc6f04-74af-430b-bdc8-569c3bfa1dda" providerId="ADAL" clId="{CB1EFBC3-10F5-3048-8961-5969497C0019}" dt="2022-11-23T17:25:21.932" v="90479"/>
          <ac:spMkLst>
            <pc:docMk/>
            <pc:sldMk cId="2172680304" sldId="398"/>
            <ac:spMk id="72" creationId="{08DA1695-599A-5163-4061-4A9251E83278}"/>
          </ac:spMkLst>
        </pc:spChg>
        <pc:spChg chg="add mod replST">
          <ac:chgData name="Merlin Gutter" userId="2abc6f04-74af-430b-bdc8-569c3bfa1dda" providerId="ADAL" clId="{CB1EFBC3-10F5-3048-8961-5969497C0019}" dt="2022-11-23T17:25:21.927" v="90457"/>
          <ac:spMkLst>
            <pc:docMk/>
            <pc:sldMk cId="2172680304" sldId="398"/>
            <ac:spMk id="73" creationId="{3F075DE6-ADF7-87DF-3B50-54EFD4972B72}"/>
          </ac:spMkLst>
        </pc:spChg>
        <pc:spChg chg="add mod replST">
          <ac:chgData name="Merlin Gutter" userId="2abc6f04-74af-430b-bdc8-569c3bfa1dda" providerId="ADAL" clId="{CB1EFBC3-10F5-3048-8961-5969497C0019}" dt="2022-11-23T17:25:21.928" v="90460"/>
          <ac:spMkLst>
            <pc:docMk/>
            <pc:sldMk cId="2172680304" sldId="398"/>
            <ac:spMk id="74" creationId="{3B167C0B-1D9A-41B4-F366-DA78273EAECA}"/>
          </ac:spMkLst>
        </pc:spChg>
        <pc:spChg chg="add mod replST">
          <ac:chgData name="Merlin Gutter" userId="2abc6f04-74af-430b-bdc8-569c3bfa1dda" providerId="ADAL" clId="{CB1EFBC3-10F5-3048-8961-5969497C0019}" dt="2022-11-23T17:25:21.926" v="90454"/>
          <ac:spMkLst>
            <pc:docMk/>
            <pc:sldMk cId="2172680304" sldId="398"/>
            <ac:spMk id="75" creationId="{FD36757A-CDFC-84E7-667A-455FDC54CE82}"/>
          </ac:spMkLst>
        </pc:spChg>
        <pc:spChg chg="add mod replST">
          <ac:chgData name="Merlin Gutter" userId="2abc6f04-74af-430b-bdc8-569c3bfa1dda" providerId="ADAL" clId="{CB1EFBC3-10F5-3048-8961-5969497C0019}" dt="2022-11-23T17:25:21.927" v="90456"/>
          <ac:spMkLst>
            <pc:docMk/>
            <pc:sldMk cId="2172680304" sldId="398"/>
            <ac:spMk id="76" creationId="{8FFB929E-1970-2915-D016-7EF37871B010}"/>
          </ac:spMkLst>
        </pc:spChg>
        <pc:spChg chg="add mod replST">
          <ac:chgData name="Merlin Gutter" userId="2abc6f04-74af-430b-bdc8-569c3bfa1dda" providerId="ADAL" clId="{CB1EFBC3-10F5-3048-8961-5969497C0019}" dt="2022-11-23T17:25:21.929" v="90468"/>
          <ac:spMkLst>
            <pc:docMk/>
            <pc:sldMk cId="2172680304" sldId="398"/>
            <ac:spMk id="77" creationId="{30E7A54A-692B-8D09-6D67-44ADBF8FFE85}"/>
          </ac:spMkLst>
        </pc:spChg>
        <pc:spChg chg="add mod replST">
          <ac:chgData name="Merlin Gutter" userId="2abc6f04-74af-430b-bdc8-569c3bfa1dda" providerId="ADAL" clId="{CB1EFBC3-10F5-3048-8961-5969497C0019}" dt="2022-11-23T17:25:21.934" v="90488"/>
          <ac:spMkLst>
            <pc:docMk/>
            <pc:sldMk cId="2172680304" sldId="398"/>
            <ac:spMk id="78" creationId="{E43B706F-46AB-D211-001F-E96032360C32}"/>
          </ac:spMkLst>
        </pc:spChg>
        <pc:spChg chg="add mod replST">
          <ac:chgData name="Merlin Gutter" userId="2abc6f04-74af-430b-bdc8-569c3bfa1dda" providerId="ADAL" clId="{CB1EFBC3-10F5-3048-8961-5969497C0019}" dt="2022-11-23T17:25:21.930" v="90472"/>
          <ac:spMkLst>
            <pc:docMk/>
            <pc:sldMk cId="2172680304" sldId="398"/>
            <ac:spMk id="79" creationId="{63AD1D88-1C95-DE88-1945-0FF55B0DD828}"/>
          </ac:spMkLst>
        </pc:spChg>
        <pc:spChg chg="add mod replST">
          <ac:chgData name="Merlin Gutter" userId="2abc6f04-74af-430b-bdc8-569c3bfa1dda" providerId="ADAL" clId="{CB1EFBC3-10F5-3048-8961-5969497C0019}" dt="2022-11-23T17:25:21.931" v="90473"/>
          <ac:spMkLst>
            <pc:docMk/>
            <pc:sldMk cId="2172680304" sldId="398"/>
            <ac:spMk id="80" creationId="{79AE88BC-D90F-CB6C-2BFF-52135791A683}"/>
          </ac:spMkLst>
        </pc:spChg>
        <pc:spChg chg="add mod replST">
          <ac:chgData name="Merlin Gutter" userId="2abc6f04-74af-430b-bdc8-569c3bfa1dda" providerId="ADAL" clId="{CB1EFBC3-10F5-3048-8961-5969497C0019}" dt="2022-11-23T17:25:21.931" v="90474"/>
          <ac:spMkLst>
            <pc:docMk/>
            <pc:sldMk cId="2172680304" sldId="398"/>
            <ac:spMk id="81" creationId="{24CBB8D2-93C4-EC42-7F7B-8BFF4809EFF1}"/>
          </ac:spMkLst>
        </pc:spChg>
        <pc:spChg chg="add mod replST">
          <ac:chgData name="Merlin Gutter" userId="2abc6f04-74af-430b-bdc8-569c3bfa1dda" providerId="ADAL" clId="{CB1EFBC3-10F5-3048-8961-5969497C0019}" dt="2022-11-23T17:25:21.931" v="90475"/>
          <ac:spMkLst>
            <pc:docMk/>
            <pc:sldMk cId="2172680304" sldId="398"/>
            <ac:spMk id="82" creationId="{D4624D10-AC8F-3D2A-088C-C1F4E0BDF862}"/>
          </ac:spMkLst>
        </pc:spChg>
        <pc:spChg chg="add mod replST">
          <ac:chgData name="Merlin Gutter" userId="2abc6f04-74af-430b-bdc8-569c3bfa1dda" providerId="ADAL" clId="{CB1EFBC3-10F5-3048-8961-5969497C0019}" dt="2022-11-23T17:25:21.931" v="90476"/>
          <ac:spMkLst>
            <pc:docMk/>
            <pc:sldMk cId="2172680304" sldId="398"/>
            <ac:spMk id="83" creationId="{33A4940C-3207-0D40-8E94-B713352BB84B}"/>
          </ac:spMkLst>
        </pc:spChg>
        <pc:spChg chg="add mod replST">
          <ac:chgData name="Merlin Gutter" userId="2abc6f04-74af-430b-bdc8-569c3bfa1dda" providerId="ADAL" clId="{CB1EFBC3-10F5-3048-8961-5969497C0019}" dt="2022-11-23T17:25:21.927" v="90459"/>
          <ac:spMkLst>
            <pc:docMk/>
            <pc:sldMk cId="2172680304" sldId="398"/>
            <ac:spMk id="84" creationId="{AC931931-7A90-A14B-EBD7-AC6BB83025A1}"/>
          </ac:spMkLst>
        </pc:spChg>
        <pc:spChg chg="add mod replST">
          <ac:chgData name="Merlin Gutter" userId="2abc6f04-74af-430b-bdc8-569c3bfa1dda" providerId="ADAL" clId="{CB1EFBC3-10F5-3048-8961-5969497C0019}" dt="2022-11-23T17:25:21.932" v="90477"/>
          <ac:spMkLst>
            <pc:docMk/>
            <pc:sldMk cId="2172680304" sldId="398"/>
            <ac:spMk id="85" creationId="{FDAAB438-06FD-748C-4D5F-A19AFDEB4B92}"/>
          </ac:spMkLst>
        </pc:spChg>
        <pc:spChg chg="add mod replST">
          <ac:chgData name="Merlin Gutter" userId="2abc6f04-74af-430b-bdc8-569c3bfa1dda" providerId="ADAL" clId="{CB1EFBC3-10F5-3048-8961-5969497C0019}" dt="2022-11-23T17:25:21.933" v="90481"/>
          <ac:spMkLst>
            <pc:docMk/>
            <pc:sldMk cId="2172680304" sldId="398"/>
            <ac:spMk id="86" creationId="{C5ADCAF1-B2FD-2710-2725-1D749DA84235}"/>
          </ac:spMkLst>
        </pc:spChg>
        <pc:spChg chg="add mod replST">
          <ac:chgData name="Merlin Gutter" userId="2abc6f04-74af-430b-bdc8-569c3bfa1dda" providerId="ADAL" clId="{CB1EFBC3-10F5-3048-8961-5969497C0019}" dt="2022-11-23T17:25:21.932" v="90478"/>
          <ac:spMkLst>
            <pc:docMk/>
            <pc:sldMk cId="2172680304" sldId="398"/>
            <ac:spMk id="87" creationId="{2846B186-4A65-841B-397C-DA687FCE4B29}"/>
          </ac:spMkLst>
        </pc:spChg>
        <pc:spChg chg="add mod replST">
          <ac:chgData name="Merlin Gutter" userId="2abc6f04-74af-430b-bdc8-569c3bfa1dda" providerId="ADAL" clId="{CB1EFBC3-10F5-3048-8961-5969497C0019}" dt="2022-11-23T17:25:21.933" v="90484"/>
          <ac:spMkLst>
            <pc:docMk/>
            <pc:sldMk cId="2172680304" sldId="398"/>
            <ac:spMk id="88" creationId="{4F4E6E9D-A049-F619-5276-791F9C879844}"/>
          </ac:spMkLst>
        </pc:spChg>
        <pc:spChg chg="add mod replST">
          <ac:chgData name="Merlin Gutter" userId="2abc6f04-74af-430b-bdc8-569c3bfa1dda" providerId="ADAL" clId="{CB1EFBC3-10F5-3048-8961-5969497C0019}" dt="2022-11-23T17:25:21.928" v="90462"/>
          <ac:spMkLst>
            <pc:docMk/>
            <pc:sldMk cId="2172680304" sldId="398"/>
            <ac:spMk id="89" creationId="{1F0E17A8-4B63-67ED-4285-77AF981FE0DF}"/>
          </ac:spMkLst>
        </pc:spChg>
        <pc:spChg chg="add mod replST">
          <ac:chgData name="Merlin Gutter" userId="2abc6f04-74af-430b-bdc8-569c3bfa1dda" providerId="ADAL" clId="{CB1EFBC3-10F5-3048-8961-5969497C0019}" dt="2022-11-23T17:25:21.929" v="90464"/>
          <ac:spMkLst>
            <pc:docMk/>
            <pc:sldMk cId="2172680304" sldId="398"/>
            <ac:spMk id="90" creationId="{E07F96B6-6108-072E-D965-0EDA81F17A30}"/>
          </ac:spMkLst>
        </pc:spChg>
        <pc:spChg chg="add mod replST">
          <ac:chgData name="Merlin Gutter" userId="2abc6f04-74af-430b-bdc8-569c3bfa1dda" providerId="ADAL" clId="{CB1EFBC3-10F5-3048-8961-5969497C0019}" dt="2022-11-23T17:25:21.928" v="90463"/>
          <ac:spMkLst>
            <pc:docMk/>
            <pc:sldMk cId="2172680304" sldId="398"/>
            <ac:spMk id="91" creationId="{099AABFB-4B16-8179-1E55-05327F86D60C}"/>
          </ac:spMkLst>
        </pc:spChg>
        <pc:spChg chg="add mod replST">
          <ac:chgData name="Merlin Gutter" userId="2abc6f04-74af-430b-bdc8-569c3bfa1dda" providerId="ADAL" clId="{CB1EFBC3-10F5-3048-8961-5969497C0019}" dt="2022-11-23T17:25:21.934" v="90485"/>
          <ac:spMkLst>
            <pc:docMk/>
            <pc:sldMk cId="2172680304" sldId="398"/>
            <ac:spMk id="92" creationId="{EC3F3484-3A80-E3C4-D432-794769C327CE}"/>
          </ac:spMkLst>
        </pc:spChg>
        <pc:spChg chg="add mod replST">
          <ac:chgData name="Merlin Gutter" userId="2abc6f04-74af-430b-bdc8-569c3bfa1dda" providerId="ADAL" clId="{CB1EFBC3-10F5-3048-8961-5969497C0019}" dt="2022-11-23T17:25:21.928" v="90461"/>
          <ac:spMkLst>
            <pc:docMk/>
            <pc:sldMk cId="2172680304" sldId="398"/>
            <ac:spMk id="93" creationId="{D5B88D9E-9827-12CA-A380-5741D437451C}"/>
          </ac:spMkLst>
        </pc:spChg>
        <pc:spChg chg="add mod replST">
          <ac:chgData name="Merlin Gutter" userId="2abc6f04-74af-430b-bdc8-569c3bfa1dda" providerId="ADAL" clId="{CB1EFBC3-10F5-3048-8961-5969497C0019}" dt="2022-11-23T17:25:21.934" v="90486"/>
          <ac:spMkLst>
            <pc:docMk/>
            <pc:sldMk cId="2172680304" sldId="398"/>
            <ac:spMk id="94" creationId="{1ABE7687-C4F6-C53C-44AF-E5B24371E60F}"/>
          </ac:spMkLst>
        </pc:spChg>
        <pc:spChg chg="add mod replST">
          <ac:chgData name="Merlin Gutter" userId="2abc6f04-74af-430b-bdc8-569c3bfa1dda" providerId="ADAL" clId="{CB1EFBC3-10F5-3048-8961-5969497C0019}" dt="2022-11-23T17:25:21.926" v="90453"/>
          <ac:spMkLst>
            <pc:docMk/>
            <pc:sldMk cId="2172680304" sldId="398"/>
            <ac:spMk id="95" creationId="{12C10117-A9C8-99BF-3574-F1331CA7E720}"/>
          </ac:spMkLst>
        </pc:spChg>
        <pc:spChg chg="add mod replST">
          <ac:chgData name="Merlin Gutter" userId="2abc6f04-74af-430b-bdc8-569c3bfa1dda" providerId="ADAL" clId="{CB1EFBC3-10F5-3048-8961-5969497C0019}" dt="2022-11-23T17:25:21.925" v="90447"/>
          <ac:spMkLst>
            <pc:docMk/>
            <pc:sldMk cId="2172680304" sldId="398"/>
            <ac:spMk id="96" creationId="{768ED18B-5F49-DEC8-ACD4-FC0840F587B2}"/>
          </ac:spMkLst>
        </pc:spChg>
        <pc:spChg chg="add mod replST">
          <ac:chgData name="Merlin Gutter" userId="2abc6f04-74af-430b-bdc8-569c3bfa1dda" providerId="ADAL" clId="{CB1EFBC3-10F5-3048-8961-5969497C0019}" dt="2022-11-23T17:25:21.930" v="90470"/>
          <ac:spMkLst>
            <pc:docMk/>
            <pc:sldMk cId="2172680304" sldId="398"/>
            <ac:spMk id="97" creationId="{6632214D-2880-A489-ADC6-1123612FD343}"/>
          </ac:spMkLst>
        </pc:spChg>
        <pc:spChg chg="add mod replST">
          <ac:chgData name="Merlin Gutter" userId="2abc6f04-74af-430b-bdc8-569c3bfa1dda" providerId="ADAL" clId="{CB1EFBC3-10F5-3048-8961-5969497C0019}" dt="2022-11-23T17:25:21.926" v="90455"/>
          <ac:spMkLst>
            <pc:docMk/>
            <pc:sldMk cId="2172680304" sldId="398"/>
            <ac:spMk id="98" creationId="{3C0B4C2B-AFAC-33EB-AB77-B8E9E9D04CE1}"/>
          </ac:spMkLst>
        </pc:spChg>
        <pc:spChg chg="add mod replST">
          <ac:chgData name="Merlin Gutter" userId="2abc6f04-74af-430b-bdc8-569c3bfa1dda" providerId="ADAL" clId="{CB1EFBC3-10F5-3048-8961-5969497C0019}" dt="2022-11-23T17:25:21.930" v="90471"/>
          <ac:spMkLst>
            <pc:docMk/>
            <pc:sldMk cId="2172680304" sldId="398"/>
            <ac:spMk id="99" creationId="{B0B0D4DD-6034-DCA1-1840-BB950755B5B9}"/>
          </ac:spMkLst>
        </pc:spChg>
        <pc:spChg chg="add mod replST">
          <ac:chgData name="Merlin Gutter" userId="2abc6f04-74af-430b-bdc8-569c3bfa1dda" providerId="ADAL" clId="{CB1EFBC3-10F5-3048-8961-5969497C0019}" dt="2022-11-23T17:25:21.926" v="90452"/>
          <ac:spMkLst>
            <pc:docMk/>
            <pc:sldMk cId="2172680304" sldId="398"/>
            <ac:spMk id="100" creationId="{8F01648C-F5A3-F28D-CB16-F423B4A8BAE4}"/>
          </ac:spMkLst>
        </pc:spChg>
        <pc:spChg chg="add mod replST">
          <ac:chgData name="Merlin Gutter" userId="2abc6f04-74af-430b-bdc8-569c3bfa1dda" providerId="ADAL" clId="{CB1EFBC3-10F5-3048-8961-5969497C0019}" dt="2022-11-23T17:25:21.935" v="90489"/>
          <ac:spMkLst>
            <pc:docMk/>
            <pc:sldMk cId="2172680304" sldId="398"/>
            <ac:spMk id="101" creationId="{82E2C3F1-B43D-C11D-9A9E-75767DDC608E}"/>
          </ac:spMkLst>
        </pc:spChg>
        <pc:spChg chg="add mod replST">
          <ac:chgData name="Merlin Gutter" userId="2abc6f04-74af-430b-bdc8-569c3bfa1dda" providerId="ADAL" clId="{CB1EFBC3-10F5-3048-8961-5969497C0019}" dt="2022-11-23T17:25:21.933" v="90482"/>
          <ac:spMkLst>
            <pc:docMk/>
            <pc:sldMk cId="2172680304" sldId="398"/>
            <ac:spMk id="102" creationId="{CD0F07A3-BEF8-8EAC-C585-35F0A87811BE}"/>
          </ac:spMkLst>
        </pc:spChg>
        <pc:spChg chg="add mod replST">
          <ac:chgData name="Merlin Gutter" userId="2abc6f04-74af-430b-bdc8-569c3bfa1dda" providerId="ADAL" clId="{CB1EFBC3-10F5-3048-8961-5969497C0019}" dt="2022-11-23T17:25:21.925" v="90450"/>
          <ac:spMkLst>
            <pc:docMk/>
            <pc:sldMk cId="2172680304" sldId="398"/>
            <ac:spMk id="103" creationId="{264F2B9F-923D-8E94-EBC6-31A7A44B6269}"/>
          </ac:spMkLst>
        </pc:spChg>
        <pc:spChg chg="add mod replST">
          <ac:chgData name="Merlin Gutter" userId="2abc6f04-74af-430b-bdc8-569c3bfa1dda" providerId="ADAL" clId="{CB1EFBC3-10F5-3048-8961-5969497C0019}" dt="2022-11-23T17:25:21.936" v="90495"/>
          <ac:spMkLst>
            <pc:docMk/>
            <pc:sldMk cId="2172680304" sldId="398"/>
            <ac:spMk id="104" creationId="{1DD2C5DF-0DB4-35E1-A5FB-1A8DD066AF4B}"/>
          </ac:spMkLst>
        </pc:spChg>
        <pc:spChg chg="add mod replST">
          <ac:chgData name="Merlin Gutter" userId="2abc6f04-74af-430b-bdc8-569c3bfa1dda" providerId="ADAL" clId="{CB1EFBC3-10F5-3048-8961-5969497C0019}" dt="2022-11-23T17:25:21.935" v="90490"/>
          <ac:spMkLst>
            <pc:docMk/>
            <pc:sldMk cId="2172680304" sldId="398"/>
            <ac:spMk id="105" creationId="{6AFFFF3F-E9A8-FCC6-41AE-7C2608F2ACE8}"/>
          </ac:spMkLst>
        </pc:spChg>
        <pc:spChg chg="add mod replST">
          <ac:chgData name="Merlin Gutter" userId="2abc6f04-74af-430b-bdc8-569c3bfa1dda" providerId="ADAL" clId="{CB1EFBC3-10F5-3048-8961-5969497C0019}" dt="2022-11-23T17:25:21.929" v="90465"/>
          <ac:spMkLst>
            <pc:docMk/>
            <pc:sldMk cId="2172680304" sldId="398"/>
            <ac:spMk id="106" creationId="{B700B0E3-770D-43CE-2736-048785238E5E}"/>
          </ac:spMkLst>
        </pc:spChg>
        <pc:spChg chg="add mod replST">
          <ac:chgData name="Merlin Gutter" userId="2abc6f04-74af-430b-bdc8-569c3bfa1dda" providerId="ADAL" clId="{CB1EFBC3-10F5-3048-8961-5969497C0019}" dt="2022-11-23T17:25:21.936" v="90494"/>
          <ac:spMkLst>
            <pc:docMk/>
            <pc:sldMk cId="2172680304" sldId="398"/>
            <ac:spMk id="107" creationId="{FECC642C-B523-6BFF-02F4-8CE442D94F42}"/>
          </ac:spMkLst>
        </pc:spChg>
        <pc:spChg chg="add mod replST">
          <ac:chgData name="Merlin Gutter" userId="2abc6f04-74af-430b-bdc8-569c3bfa1dda" providerId="ADAL" clId="{CB1EFBC3-10F5-3048-8961-5969497C0019}" dt="2022-11-23T17:25:21.935" v="90491"/>
          <ac:spMkLst>
            <pc:docMk/>
            <pc:sldMk cId="2172680304" sldId="398"/>
            <ac:spMk id="108" creationId="{EA105019-5012-0E81-7A4A-AEFE994A17FD}"/>
          </ac:spMkLst>
        </pc:spChg>
        <pc:spChg chg="add mod replST">
          <ac:chgData name="Merlin Gutter" userId="2abc6f04-74af-430b-bdc8-569c3bfa1dda" providerId="ADAL" clId="{CB1EFBC3-10F5-3048-8961-5969497C0019}" dt="2022-11-23T17:25:21.925" v="90451"/>
          <ac:spMkLst>
            <pc:docMk/>
            <pc:sldMk cId="2172680304" sldId="398"/>
            <ac:spMk id="109" creationId="{8467627D-EF8F-ADA6-8BBF-1EDCC28E3966}"/>
          </ac:spMkLst>
        </pc:spChg>
        <pc:spChg chg="add mod replST">
          <ac:chgData name="Merlin Gutter" userId="2abc6f04-74af-430b-bdc8-569c3bfa1dda" providerId="ADAL" clId="{CB1EFBC3-10F5-3048-8961-5969497C0019}" dt="2022-11-23T17:25:21.934" v="90487"/>
          <ac:spMkLst>
            <pc:docMk/>
            <pc:sldMk cId="2172680304" sldId="398"/>
            <ac:spMk id="110" creationId="{D9EED17B-3B7E-4311-4F47-CB2023075C36}"/>
          </ac:spMkLst>
        </pc:spChg>
        <pc:spChg chg="add mod replST">
          <ac:chgData name="Merlin Gutter" userId="2abc6f04-74af-430b-bdc8-569c3bfa1dda" providerId="ADAL" clId="{CB1EFBC3-10F5-3048-8961-5969497C0019}" dt="2022-11-23T17:25:21.933" v="90483"/>
          <ac:spMkLst>
            <pc:docMk/>
            <pc:sldMk cId="2172680304" sldId="398"/>
            <ac:spMk id="111" creationId="{6DDF952D-299A-5C84-4AA8-D1ABADE9296E}"/>
          </ac:spMkLst>
        </pc:spChg>
        <pc:spChg chg="add mod replST">
          <ac:chgData name="Merlin Gutter" userId="2abc6f04-74af-430b-bdc8-569c3bfa1dda" providerId="ADAL" clId="{CB1EFBC3-10F5-3048-8961-5969497C0019}" dt="2022-11-23T17:25:21.930" v="90469"/>
          <ac:spMkLst>
            <pc:docMk/>
            <pc:sldMk cId="2172680304" sldId="398"/>
            <ac:spMk id="112" creationId="{819931BD-E6E3-5200-A7E9-25090B378E43}"/>
          </ac:spMkLst>
        </pc:spChg>
        <pc:spChg chg="add mod replST">
          <ac:chgData name="Merlin Gutter" userId="2abc6f04-74af-430b-bdc8-569c3bfa1dda" providerId="ADAL" clId="{CB1EFBC3-10F5-3048-8961-5969497C0019}" dt="2022-11-23T17:25:21.929" v="90467"/>
          <ac:spMkLst>
            <pc:docMk/>
            <pc:sldMk cId="2172680304" sldId="398"/>
            <ac:spMk id="113" creationId="{CCFEE6AB-3727-879C-16CA-E651AB969B7B}"/>
          </ac:spMkLst>
        </pc:spChg>
        <pc:spChg chg="add mod replST">
          <ac:chgData name="Merlin Gutter" userId="2abc6f04-74af-430b-bdc8-569c3bfa1dda" providerId="ADAL" clId="{CB1EFBC3-10F5-3048-8961-5969497C0019}" dt="2022-11-23T17:25:21.936" v="90493"/>
          <ac:spMkLst>
            <pc:docMk/>
            <pc:sldMk cId="2172680304" sldId="398"/>
            <ac:spMk id="114" creationId="{661D11EC-FDF3-AF9D-2A94-EFED4F1CDB17}"/>
          </ac:spMkLst>
        </pc:spChg>
        <pc:spChg chg="add mod replST">
          <ac:chgData name="Merlin Gutter" userId="2abc6f04-74af-430b-bdc8-569c3bfa1dda" providerId="ADAL" clId="{CB1EFBC3-10F5-3048-8961-5969497C0019}" dt="2022-11-23T17:25:21.935" v="90492"/>
          <ac:spMkLst>
            <pc:docMk/>
            <pc:sldMk cId="2172680304" sldId="398"/>
            <ac:spMk id="115" creationId="{582F4D18-471A-E4E0-E1AB-5A552450054E}"/>
          </ac:spMkLst>
        </pc:spChg>
        <pc:spChg chg="add mod replST">
          <ac:chgData name="Merlin Gutter" userId="2abc6f04-74af-430b-bdc8-569c3bfa1dda" providerId="ADAL" clId="{CB1EFBC3-10F5-3048-8961-5969497C0019}" dt="2022-11-23T17:25:21.932" v="90480"/>
          <ac:spMkLst>
            <pc:docMk/>
            <pc:sldMk cId="2172680304" sldId="398"/>
            <ac:spMk id="116" creationId="{F4754C87-228B-D73B-1FE6-57EF8826B4B9}"/>
          </ac:spMkLst>
        </pc:spChg>
        <pc:spChg chg="add del mod replST">
          <ac:chgData name="Merlin Gutter" userId="2abc6f04-74af-430b-bdc8-569c3bfa1dda" providerId="ADAL" clId="{CB1EFBC3-10F5-3048-8961-5969497C0019}" dt="2022-11-23T17:24:50.119" v="87247"/>
          <ac:spMkLst>
            <pc:docMk/>
            <pc:sldMk cId="2172680304" sldId="398"/>
            <ac:spMk id="117" creationId="{0D509F8E-FA35-059F-1391-0C017EE54A61}"/>
          </ac:spMkLst>
        </pc:spChg>
        <pc:spChg chg="add mod replST">
          <ac:chgData name="Merlin Gutter" userId="2abc6f04-74af-430b-bdc8-569c3bfa1dda" providerId="ADAL" clId="{CB1EFBC3-10F5-3048-8961-5969497C0019}" dt="2022-11-23T17:26:25.283" v="91613" actId="208"/>
          <ac:spMkLst>
            <pc:docMk/>
            <pc:sldMk cId="2172680304" sldId="398"/>
            <ac:spMk id="118" creationId="{4BD9F8DC-ECFC-41CA-653B-E75AA45BDA8F}"/>
          </ac:spMkLst>
        </pc:spChg>
        <pc:spChg chg="add mod replST">
          <ac:chgData name="Merlin Gutter" userId="2abc6f04-74af-430b-bdc8-569c3bfa1dda" providerId="ADAL" clId="{CB1EFBC3-10F5-3048-8961-5969497C0019}" dt="2022-11-23T17:26:25.281" v="91605" actId="208"/>
          <ac:spMkLst>
            <pc:docMk/>
            <pc:sldMk cId="2172680304" sldId="398"/>
            <ac:spMk id="119" creationId="{977A004F-EC67-15BB-479D-8F7543B83C63}"/>
          </ac:spMkLst>
        </pc:spChg>
        <pc:spChg chg="add mod replST">
          <ac:chgData name="Merlin Gutter" userId="2abc6f04-74af-430b-bdc8-569c3bfa1dda" providerId="ADAL" clId="{CB1EFBC3-10F5-3048-8961-5969497C0019}" dt="2022-11-23T17:26:25.276" v="91589" actId="208"/>
          <ac:spMkLst>
            <pc:docMk/>
            <pc:sldMk cId="2172680304" sldId="398"/>
            <ac:spMk id="120" creationId="{AA49653A-68DB-3B59-10E7-40203989864D}"/>
          </ac:spMkLst>
        </pc:spChg>
        <pc:spChg chg="add mod replST">
          <ac:chgData name="Merlin Gutter" userId="2abc6f04-74af-430b-bdc8-569c3bfa1dda" providerId="ADAL" clId="{CB1EFBC3-10F5-3048-8961-5969497C0019}" dt="2022-11-23T17:26:25.279" v="91597" actId="208"/>
          <ac:spMkLst>
            <pc:docMk/>
            <pc:sldMk cId="2172680304" sldId="398"/>
            <ac:spMk id="121" creationId="{E0065319-5795-5F65-CF85-071A2A245C27}"/>
          </ac:spMkLst>
        </pc:spChg>
        <pc:spChg chg="add mod replST">
          <ac:chgData name="Merlin Gutter" userId="2abc6f04-74af-430b-bdc8-569c3bfa1dda" providerId="ADAL" clId="{CB1EFBC3-10F5-3048-8961-5969497C0019}" dt="2022-11-23T17:26:25.271" v="91573" actId="208"/>
          <ac:spMkLst>
            <pc:docMk/>
            <pc:sldMk cId="2172680304" sldId="398"/>
            <ac:spMk id="122" creationId="{F98B9DA5-8D70-E5E3-3743-73F60145B8C7}"/>
          </ac:spMkLst>
        </pc:spChg>
        <pc:spChg chg="add mod replST">
          <ac:chgData name="Merlin Gutter" userId="2abc6f04-74af-430b-bdc8-569c3bfa1dda" providerId="ADAL" clId="{CB1EFBC3-10F5-3048-8961-5969497C0019}" dt="2022-11-23T17:26:25.274" v="91581" actId="208"/>
          <ac:spMkLst>
            <pc:docMk/>
            <pc:sldMk cId="2172680304" sldId="398"/>
            <ac:spMk id="123" creationId="{93C09422-ED84-86F6-99D7-4CD10871AC47}"/>
          </ac:spMkLst>
        </pc:spChg>
        <pc:spChg chg="add mod replST">
          <ac:chgData name="Merlin Gutter" userId="2abc6f04-74af-430b-bdc8-569c3bfa1dda" providerId="ADAL" clId="{CB1EFBC3-10F5-3048-8961-5969497C0019}" dt="2022-11-23T17:26:25.277" v="91591"/>
          <ac:spMkLst>
            <pc:docMk/>
            <pc:sldMk cId="2172680304" sldId="398"/>
            <ac:spMk id="124" creationId="{3FDFCD17-7579-86F4-04B2-3A7EBC7357D6}"/>
          </ac:spMkLst>
        </pc:spChg>
        <pc:spChg chg="del mod">
          <ac:chgData name="Merlin Gutter" userId="2abc6f04-74af-430b-bdc8-569c3bfa1dda" providerId="ADAL" clId="{CB1EFBC3-10F5-3048-8961-5969497C0019}" dt="2022-11-23T17:24:21.465" v="83331"/>
          <ac:spMkLst>
            <pc:docMk/>
            <pc:sldMk cId="2172680304" sldId="398"/>
            <ac:spMk id="125" creationId="{DE60708C-C90B-3DFC-AE23-71A9F3AEAF48}"/>
          </ac:spMkLst>
        </pc:spChg>
        <pc:spChg chg="del mod">
          <ac:chgData name="Merlin Gutter" userId="2abc6f04-74af-430b-bdc8-569c3bfa1dda" providerId="ADAL" clId="{CB1EFBC3-10F5-3048-8961-5969497C0019}" dt="2022-11-23T17:24:21.465" v="83330"/>
          <ac:spMkLst>
            <pc:docMk/>
            <pc:sldMk cId="2172680304" sldId="398"/>
            <ac:spMk id="126" creationId="{93D1F641-308D-9713-5F4B-6C85F504F8B1}"/>
          </ac:spMkLst>
        </pc:spChg>
        <pc:spChg chg="del mod">
          <ac:chgData name="Merlin Gutter" userId="2abc6f04-74af-430b-bdc8-569c3bfa1dda" providerId="ADAL" clId="{CB1EFBC3-10F5-3048-8961-5969497C0019}" dt="2022-11-23T17:24:21.465" v="83329"/>
          <ac:spMkLst>
            <pc:docMk/>
            <pc:sldMk cId="2172680304" sldId="398"/>
            <ac:spMk id="127" creationId="{C6B2962A-FB1B-3469-95D8-629FD74FE675}"/>
          </ac:spMkLst>
        </pc:spChg>
        <pc:spChg chg="del mod">
          <ac:chgData name="Merlin Gutter" userId="2abc6f04-74af-430b-bdc8-569c3bfa1dda" providerId="ADAL" clId="{CB1EFBC3-10F5-3048-8961-5969497C0019}" dt="2022-11-23T17:24:21.464" v="83328"/>
          <ac:spMkLst>
            <pc:docMk/>
            <pc:sldMk cId="2172680304" sldId="398"/>
            <ac:spMk id="128" creationId="{C16680B5-DB37-2F62-5B84-AFEB3120FABF}"/>
          </ac:spMkLst>
        </pc:spChg>
        <pc:spChg chg="del mod">
          <ac:chgData name="Merlin Gutter" userId="2abc6f04-74af-430b-bdc8-569c3bfa1dda" providerId="ADAL" clId="{CB1EFBC3-10F5-3048-8961-5969497C0019}" dt="2022-11-23T17:24:21.464" v="83327"/>
          <ac:spMkLst>
            <pc:docMk/>
            <pc:sldMk cId="2172680304" sldId="398"/>
            <ac:spMk id="129" creationId="{249EC2D3-8F67-704B-301C-A65728D8723C}"/>
          </ac:spMkLst>
        </pc:spChg>
        <pc:spChg chg="del mod">
          <ac:chgData name="Merlin Gutter" userId="2abc6f04-74af-430b-bdc8-569c3bfa1dda" providerId="ADAL" clId="{CB1EFBC3-10F5-3048-8961-5969497C0019}" dt="2022-11-23T17:24:21.464" v="83326"/>
          <ac:spMkLst>
            <pc:docMk/>
            <pc:sldMk cId="2172680304" sldId="398"/>
            <ac:spMk id="130" creationId="{C983C178-09C1-45E5-362D-7FCAC7DDE5B1}"/>
          </ac:spMkLst>
        </pc:spChg>
        <pc:spChg chg="del mod">
          <ac:chgData name="Merlin Gutter" userId="2abc6f04-74af-430b-bdc8-569c3bfa1dda" providerId="ADAL" clId="{CB1EFBC3-10F5-3048-8961-5969497C0019}" dt="2022-11-23T17:24:21.464" v="83325"/>
          <ac:spMkLst>
            <pc:docMk/>
            <pc:sldMk cId="2172680304" sldId="398"/>
            <ac:spMk id="131" creationId="{83C6DF27-0B51-C660-244B-01EA3BD93791}"/>
          </ac:spMkLst>
        </pc:spChg>
        <pc:spChg chg="del mod">
          <ac:chgData name="Merlin Gutter" userId="2abc6f04-74af-430b-bdc8-569c3bfa1dda" providerId="ADAL" clId="{CB1EFBC3-10F5-3048-8961-5969497C0019}" dt="2022-11-23T17:24:21.463" v="83324"/>
          <ac:spMkLst>
            <pc:docMk/>
            <pc:sldMk cId="2172680304" sldId="398"/>
            <ac:spMk id="132" creationId="{BF41C1AA-8718-2498-87B2-AD74A78674ED}"/>
          </ac:spMkLst>
        </pc:spChg>
        <pc:spChg chg="del mod">
          <ac:chgData name="Merlin Gutter" userId="2abc6f04-74af-430b-bdc8-569c3bfa1dda" providerId="ADAL" clId="{CB1EFBC3-10F5-3048-8961-5969497C0019}" dt="2022-11-23T17:24:21.463" v="83323"/>
          <ac:spMkLst>
            <pc:docMk/>
            <pc:sldMk cId="2172680304" sldId="398"/>
            <ac:spMk id="133" creationId="{B1A10525-C936-C150-CB97-4A0674D9D86E}"/>
          </ac:spMkLst>
        </pc:spChg>
        <pc:spChg chg="del mod">
          <ac:chgData name="Merlin Gutter" userId="2abc6f04-74af-430b-bdc8-569c3bfa1dda" providerId="ADAL" clId="{CB1EFBC3-10F5-3048-8961-5969497C0019}" dt="2022-11-23T17:24:21.463" v="83322"/>
          <ac:spMkLst>
            <pc:docMk/>
            <pc:sldMk cId="2172680304" sldId="398"/>
            <ac:spMk id="134" creationId="{135CA4E2-CCA3-BCED-DDA1-95A66642CBB8}"/>
          </ac:spMkLst>
        </pc:spChg>
        <pc:spChg chg="del mod">
          <ac:chgData name="Merlin Gutter" userId="2abc6f04-74af-430b-bdc8-569c3bfa1dda" providerId="ADAL" clId="{CB1EFBC3-10F5-3048-8961-5969497C0019}" dt="2022-11-23T17:24:21.463" v="83321"/>
          <ac:spMkLst>
            <pc:docMk/>
            <pc:sldMk cId="2172680304" sldId="398"/>
            <ac:spMk id="135" creationId="{E61E8E78-6D7D-62BD-FFB2-E51497EB21FF}"/>
          </ac:spMkLst>
        </pc:spChg>
        <pc:spChg chg="del mod">
          <ac:chgData name="Merlin Gutter" userId="2abc6f04-74af-430b-bdc8-569c3bfa1dda" providerId="ADAL" clId="{CB1EFBC3-10F5-3048-8961-5969497C0019}" dt="2022-11-23T17:24:21.462" v="83320"/>
          <ac:spMkLst>
            <pc:docMk/>
            <pc:sldMk cId="2172680304" sldId="398"/>
            <ac:spMk id="136" creationId="{A30C869F-4C44-1FEB-2E00-766EA02E2871}"/>
          </ac:spMkLst>
        </pc:spChg>
        <pc:spChg chg="del mod">
          <ac:chgData name="Merlin Gutter" userId="2abc6f04-74af-430b-bdc8-569c3bfa1dda" providerId="ADAL" clId="{CB1EFBC3-10F5-3048-8961-5969497C0019}" dt="2022-11-23T17:24:21.462" v="83319"/>
          <ac:spMkLst>
            <pc:docMk/>
            <pc:sldMk cId="2172680304" sldId="398"/>
            <ac:spMk id="137" creationId="{90A0CE48-2CE3-B352-EB4A-C226EEC28B00}"/>
          </ac:spMkLst>
        </pc:spChg>
        <pc:spChg chg="del mod">
          <ac:chgData name="Merlin Gutter" userId="2abc6f04-74af-430b-bdc8-569c3bfa1dda" providerId="ADAL" clId="{CB1EFBC3-10F5-3048-8961-5969497C0019}" dt="2022-11-23T17:24:21.462" v="83318"/>
          <ac:spMkLst>
            <pc:docMk/>
            <pc:sldMk cId="2172680304" sldId="398"/>
            <ac:spMk id="138" creationId="{8BC9E89F-5EA9-704E-3BC1-F582ACEBF715}"/>
          </ac:spMkLst>
        </pc:spChg>
        <pc:spChg chg="del mod">
          <ac:chgData name="Merlin Gutter" userId="2abc6f04-74af-430b-bdc8-569c3bfa1dda" providerId="ADAL" clId="{CB1EFBC3-10F5-3048-8961-5969497C0019}" dt="2022-11-23T17:24:21.462" v="83317"/>
          <ac:spMkLst>
            <pc:docMk/>
            <pc:sldMk cId="2172680304" sldId="398"/>
            <ac:spMk id="139" creationId="{995343CC-C281-045E-CD70-B7B7949058D7}"/>
          </ac:spMkLst>
        </pc:spChg>
        <pc:spChg chg="del mod">
          <ac:chgData name="Merlin Gutter" userId="2abc6f04-74af-430b-bdc8-569c3bfa1dda" providerId="ADAL" clId="{CB1EFBC3-10F5-3048-8961-5969497C0019}" dt="2022-11-23T17:24:21.462" v="83316"/>
          <ac:spMkLst>
            <pc:docMk/>
            <pc:sldMk cId="2172680304" sldId="398"/>
            <ac:spMk id="140" creationId="{995ABC59-F07B-2A6B-E371-6B58815C820F}"/>
          </ac:spMkLst>
        </pc:spChg>
        <pc:spChg chg="del mod">
          <ac:chgData name="Merlin Gutter" userId="2abc6f04-74af-430b-bdc8-569c3bfa1dda" providerId="ADAL" clId="{CB1EFBC3-10F5-3048-8961-5969497C0019}" dt="2022-11-23T17:24:21.461" v="83315"/>
          <ac:spMkLst>
            <pc:docMk/>
            <pc:sldMk cId="2172680304" sldId="398"/>
            <ac:spMk id="141" creationId="{08B3CF0E-168B-FD45-758D-71B5E2C25E8D}"/>
          </ac:spMkLst>
        </pc:spChg>
        <pc:spChg chg="del mod">
          <ac:chgData name="Merlin Gutter" userId="2abc6f04-74af-430b-bdc8-569c3bfa1dda" providerId="ADAL" clId="{CB1EFBC3-10F5-3048-8961-5969497C0019}" dt="2022-11-23T17:24:21.461" v="83314"/>
          <ac:spMkLst>
            <pc:docMk/>
            <pc:sldMk cId="2172680304" sldId="398"/>
            <ac:spMk id="142" creationId="{578517E2-F1FE-D68E-DEA2-ADCBE8740C15}"/>
          </ac:spMkLst>
        </pc:spChg>
        <pc:spChg chg="del mod">
          <ac:chgData name="Merlin Gutter" userId="2abc6f04-74af-430b-bdc8-569c3bfa1dda" providerId="ADAL" clId="{CB1EFBC3-10F5-3048-8961-5969497C0019}" dt="2022-11-23T17:24:21.461" v="83313"/>
          <ac:spMkLst>
            <pc:docMk/>
            <pc:sldMk cId="2172680304" sldId="398"/>
            <ac:spMk id="143" creationId="{DD14D22D-B152-0144-49A1-CB16D4DEAE7C}"/>
          </ac:spMkLst>
        </pc:spChg>
        <pc:spChg chg="del mod">
          <ac:chgData name="Merlin Gutter" userId="2abc6f04-74af-430b-bdc8-569c3bfa1dda" providerId="ADAL" clId="{CB1EFBC3-10F5-3048-8961-5969497C0019}" dt="2022-11-23T17:24:21.461" v="83312"/>
          <ac:spMkLst>
            <pc:docMk/>
            <pc:sldMk cId="2172680304" sldId="398"/>
            <ac:spMk id="144" creationId="{972779A2-C737-9FAF-422F-1F3017E1FFF8}"/>
          </ac:spMkLst>
        </pc:spChg>
        <pc:spChg chg="del mod">
          <ac:chgData name="Merlin Gutter" userId="2abc6f04-74af-430b-bdc8-569c3bfa1dda" providerId="ADAL" clId="{CB1EFBC3-10F5-3048-8961-5969497C0019}" dt="2022-11-23T17:24:21.461" v="83311"/>
          <ac:spMkLst>
            <pc:docMk/>
            <pc:sldMk cId="2172680304" sldId="398"/>
            <ac:spMk id="145" creationId="{7AC40686-4E40-C6A1-E20A-F8B4CB4F3AD8}"/>
          </ac:spMkLst>
        </pc:spChg>
        <pc:spChg chg="del mod">
          <ac:chgData name="Merlin Gutter" userId="2abc6f04-74af-430b-bdc8-569c3bfa1dda" providerId="ADAL" clId="{CB1EFBC3-10F5-3048-8961-5969497C0019}" dt="2022-11-23T17:24:21.460" v="83310"/>
          <ac:spMkLst>
            <pc:docMk/>
            <pc:sldMk cId="2172680304" sldId="398"/>
            <ac:spMk id="146" creationId="{EFE7EF36-3478-1DD0-3FD7-DB93C2773EB0}"/>
          </ac:spMkLst>
        </pc:spChg>
        <pc:spChg chg="del mod">
          <ac:chgData name="Merlin Gutter" userId="2abc6f04-74af-430b-bdc8-569c3bfa1dda" providerId="ADAL" clId="{CB1EFBC3-10F5-3048-8961-5969497C0019}" dt="2022-11-23T17:24:21.460" v="83309"/>
          <ac:spMkLst>
            <pc:docMk/>
            <pc:sldMk cId="2172680304" sldId="398"/>
            <ac:spMk id="147" creationId="{FA29487A-4402-1B15-A560-7DF41B2A8352}"/>
          </ac:spMkLst>
        </pc:spChg>
        <pc:spChg chg="del mod">
          <ac:chgData name="Merlin Gutter" userId="2abc6f04-74af-430b-bdc8-569c3bfa1dda" providerId="ADAL" clId="{CB1EFBC3-10F5-3048-8961-5969497C0019}" dt="2022-11-23T17:24:21.460" v="83308"/>
          <ac:spMkLst>
            <pc:docMk/>
            <pc:sldMk cId="2172680304" sldId="398"/>
            <ac:spMk id="148" creationId="{F664D887-8534-D264-5EE8-81DABA811AD0}"/>
          </ac:spMkLst>
        </pc:spChg>
        <pc:spChg chg="del mod">
          <ac:chgData name="Merlin Gutter" userId="2abc6f04-74af-430b-bdc8-569c3bfa1dda" providerId="ADAL" clId="{CB1EFBC3-10F5-3048-8961-5969497C0019}" dt="2022-11-23T17:24:21.460" v="83307"/>
          <ac:spMkLst>
            <pc:docMk/>
            <pc:sldMk cId="2172680304" sldId="398"/>
            <ac:spMk id="149" creationId="{1660FB55-9F23-B26A-3A09-E37CF90F73CA}"/>
          </ac:spMkLst>
        </pc:spChg>
        <pc:spChg chg="del mod">
          <ac:chgData name="Merlin Gutter" userId="2abc6f04-74af-430b-bdc8-569c3bfa1dda" providerId="ADAL" clId="{CB1EFBC3-10F5-3048-8961-5969497C0019}" dt="2022-11-23T17:24:21.459" v="83306"/>
          <ac:spMkLst>
            <pc:docMk/>
            <pc:sldMk cId="2172680304" sldId="398"/>
            <ac:spMk id="150" creationId="{0D29C39E-F2EF-F6F8-626C-DFF5AA585A83}"/>
          </ac:spMkLst>
        </pc:spChg>
        <pc:spChg chg="del mod">
          <ac:chgData name="Merlin Gutter" userId="2abc6f04-74af-430b-bdc8-569c3bfa1dda" providerId="ADAL" clId="{CB1EFBC3-10F5-3048-8961-5969497C0019}" dt="2022-11-23T17:24:21.459" v="83305"/>
          <ac:spMkLst>
            <pc:docMk/>
            <pc:sldMk cId="2172680304" sldId="398"/>
            <ac:spMk id="151" creationId="{6203F2F5-E415-4903-0BD5-F13812216840}"/>
          </ac:spMkLst>
        </pc:spChg>
        <pc:spChg chg="del mod">
          <ac:chgData name="Merlin Gutter" userId="2abc6f04-74af-430b-bdc8-569c3bfa1dda" providerId="ADAL" clId="{CB1EFBC3-10F5-3048-8961-5969497C0019}" dt="2022-11-23T17:24:21.459" v="83304"/>
          <ac:spMkLst>
            <pc:docMk/>
            <pc:sldMk cId="2172680304" sldId="398"/>
            <ac:spMk id="152" creationId="{FDD022B4-9263-1D0B-0FA7-25997597224A}"/>
          </ac:spMkLst>
        </pc:spChg>
        <pc:spChg chg="del mod">
          <ac:chgData name="Merlin Gutter" userId="2abc6f04-74af-430b-bdc8-569c3bfa1dda" providerId="ADAL" clId="{CB1EFBC3-10F5-3048-8961-5969497C0019}" dt="2022-11-23T17:24:21.459" v="83303"/>
          <ac:spMkLst>
            <pc:docMk/>
            <pc:sldMk cId="2172680304" sldId="398"/>
            <ac:spMk id="153" creationId="{487FF4C6-75BC-74B7-595C-048CA566E232}"/>
          </ac:spMkLst>
        </pc:spChg>
        <pc:spChg chg="del mod">
          <ac:chgData name="Merlin Gutter" userId="2abc6f04-74af-430b-bdc8-569c3bfa1dda" providerId="ADAL" clId="{CB1EFBC3-10F5-3048-8961-5969497C0019}" dt="2022-11-23T17:24:21.459" v="83302"/>
          <ac:spMkLst>
            <pc:docMk/>
            <pc:sldMk cId="2172680304" sldId="398"/>
            <ac:spMk id="154" creationId="{1BE0DC21-9A03-D7B6-1A07-B82C5056D735}"/>
          </ac:spMkLst>
        </pc:spChg>
        <pc:spChg chg="del mod">
          <ac:chgData name="Merlin Gutter" userId="2abc6f04-74af-430b-bdc8-569c3bfa1dda" providerId="ADAL" clId="{CB1EFBC3-10F5-3048-8961-5969497C0019}" dt="2022-11-23T17:24:21.458" v="83301"/>
          <ac:spMkLst>
            <pc:docMk/>
            <pc:sldMk cId="2172680304" sldId="398"/>
            <ac:spMk id="155" creationId="{B9FB4172-78EC-1DBD-430E-8D44879E9715}"/>
          </ac:spMkLst>
        </pc:spChg>
        <pc:spChg chg="del mod">
          <ac:chgData name="Merlin Gutter" userId="2abc6f04-74af-430b-bdc8-569c3bfa1dda" providerId="ADAL" clId="{CB1EFBC3-10F5-3048-8961-5969497C0019}" dt="2022-11-23T17:24:21.458" v="83300"/>
          <ac:spMkLst>
            <pc:docMk/>
            <pc:sldMk cId="2172680304" sldId="398"/>
            <ac:spMk id="156" creationId="{D2E26725-795F-692E-D465-B3D5673AA974}"/>
          </ac:spMkLst>
        </pc:spChg>
        <pc:spChg chg="del mod">
          <ac:chgData name="Merlin Gutter" userId="2abc6f04-74af-430b-bdc8-569c3bfa1dda" providerId="ADAL" clId="{CB1EFBC3-10F5-3048-8961-5969497C0019}" dt="2022-11-23T17:24:21.458" v="83299"/>
          <ac:spMkLst>
            <pc:docMk/>
            <pc:sldMk cId="2172680304" sldId="398"/>
            <ac:spMk id="157" creationId="{060DBE4B-0768-E5A2-73A8-A9CEF6967041}"/>
          </ac:spMkLst>
        </pc:spChg>
        <pc:spChg chg="del mod">
          <ac:chgData name="Merlin Gutter" userId="2abc6f04-74af-430b-bdc8-569c3bfa1dda" providerId="ADAL" clId="{CB1EFBC3-10F5-3048-8961-5969497C0019}" dt="2022-11-23T17:24:21.458" v="83298"/>
          <ac:spMkLst>
            <pc:docMk/>
            <pc:sldMk cId="2172680304" sldId="398"/>
            <ac:spMk id="158" creationId="{2B7BE101-9172-0609-7E48-D9C5B7F4AE01}"/>
          </ac:spMkLst>
        </pc:spChg>
        <pc:spChg chg="del mod">
          <ac:chgData name="Merlin Gutter" userId="2abc6f04-74af-430b-bdc8-569c3bfa1dda" providerId="ADAL" clId="{CB1EFBC3-10F5-3048-8961-5969497C0019}" dt="2022-11-23T17:24:21.457" v="83297"/>
          <ac:spMkLst>
            <pc:docMk/>
            <pc:sldMk cId="2172680304" sldId="398"/>
            <ac:spMk id="159" creationId="{36BBC77D-07A7-CC56-DF9A-F863D16FCFC3}"/>
          </ac:spMkLst>
        </pc:spChg>
        <pc:spChg chg="del mod">
          <ac:chgData name="Merlin Gutter" userId="2abc6f04-74af-430b-bdc8-569c3bfa1dda" providerId="ADAL" clId="{CB1EFBC3-10F5-3048-8961-5969497C0019}" dt="2022-11-23T17:24:21.457" v="83296"/>
          <ac:spMkLst>
            <pc:docMk/>
            <pc:sldMk cId="2172680304" sldId="398"/>
            <ac:spMk id="160" creationId="{0314C8F0-3CD9-EEF6-ADED-D49E7D8353FC}"/>
          </ac:spMkLst>
        </pc:spChg>
        <pc:spChg chg="del mod">
          <ac:chgData name="Merlin Gutter" userId="2abc6f04-74af-430b-bdc8-569c3bfa1dda" providerId="ADAL" clId="{CB1EFBC3-10F5-3048-8961-5969497C0019}" dt="2022-11-23T17:24:21.457" v="83295"/>
          <ac:spMkLst>
            <pc:docMk/>
            <pc:sldMk cId="2172680304" sldId="398"/>
            <ac:spMk id="161" creationId="{B2FF1CBD-0CCC-417F-818E-F1A8E08F58EB}"/>
          </ac:spMkLst>
        </pc:spChg>
        <pc:spChg chg="del mod">
          <ac:chgData name="Merlin Gutter" userId="2abc6f04-74af-430b-bdc8-569c3bfa1dda" providerId="ADAL" clId="{CB1EFBC3-10F5-3048-8961-5969497C0019}" dt="2022-11-23T17:24:21.457" v="83294"/>
          <ac:spMkLst>
            <pc:docMk/>
            <pc:sldMk cId="2172680304" sldId="398"/>
            <ac:spMk id="162" creationId="{27977A41-AB41-C72B-02F1-F456C6EB7DCB}"/>
          </ac:spMkLst>
        </pc:spChg>
        <pc:spChg chg="del mod">
          <ac:chgData name="Merlin Gutter" userId="2abc6f04-74af-430b-bdc8-569c3bfa1dda" providerId="ADAL" clId="{CB1EFBC3-10F5-3048-8961-5969497C0019}" dt="2022-11-23T17:24:21.457" v="83293"/>
          <ac:spMkLst>
            <pc:docMk/>
            <pc:sldMk cId="2172680304" sldId="398"/>
            <ac:spMk id="163" creationId="{5C4E85DC-2CE8-41D1-B83A-03F8C561A0CE}"/>
          </ac:spMkLst>
        </pc:spChg>
        <pc:spChg chg="del mod">
          <ac:chgData name="Merlin Gutter" userId="2abc6f04-74af-430b-bdc8-569c3bfa1dda" providerId="ADAL" clId="{CB1EFBC3-10F5-3048-8961-5969497C0019}" dt="2022-11-23T17:24:21.456" v="83292"/>
          <ac:spMkLst>
            <pc:docMk/>
            <pc:sldMk cId="2172680304" sldId="398"/>
            <ac:spMk id="164" creationId="{3448B320-747D-C22C-8C36-4F04CD473BF9}"/>
          </ac:spMkLst>
        </pc:spChg>
        <pc:spChg chg="del mod">
          <ac:chgData name="Merlin Gutter" userId="2abc6f04-74af-430b-bdc8-569c3bfa1dda" providerId="ADAL" clId="{CB1EFBC3-10F5-3048-8961-5969497C0019}" dt="2022-11-23T17:24:21.456" v="83291"/>
          <ac:spMkLst>
            <pc:docMk/>
            <pc:sldMk cId="2172680304" sldId="398"/>
            <ac:spMk id="165" creationId="{35F8EC9B-E066-6A85-AD3B-7C759E5052E6}"/>
          </ac:spMkLst>
        </pc:spChg>
        <pc:spChg chg="del mod">
          <ac:chgData name="Merlin Gutter" userId="2abc6f04-74af-430b-bdc8-569c3bfa1dda" providerId="ADAL" clId="{CB1EFBC3-10F5-3048-8961-5969497C0019}" dt="2022-11-23T17:24:21.456" v="83290"/>
          <ac:spMkLst>
            <pc:docMk/>
            <pc:sldMk cId="2172680304" sldId="398"/>
            <ac:spMk id="166" creationId="{9E75DBEC-F848-151D-59CF-CF802B007ED5}"/>
          </ac:spMkLst>
        </pc:spChg>
        <pc:spChg chg="del mod">
          <ac:chgData name="Merlin Gutter" userId="2abc6f04-74af-430b-bdc8-569c3bfa1dda" providerId="ADAL" clId="{CB1EFBC3-10F5-3048-8961-5969497C0019}" dt="2022-11-23T17:24:21.456" v="83289"/>
          <ac:spMkLst>
            <pc:docMk/>
            <pc:sldMk cId="2172680304" sldId="398"/>
            <ac:spMk id="167" creationId="{C9D964D3-5384-A093-D3E1-75F979956F26}"/>
          </ac:spMkLst>
        </pc:spChg>
        <pc:spChg chg="del mod">
          <ac:chgData name="Merlin Gutter" userId="2abc6f04-74af-430b-bdc8-569c3bfa1dda" providerId="ADAL" clId="{CB1EFBC3-10F5-3048-8961-5969497C0019}" dt="2022-11-23T17:24:21.455" v="83288"/>
          <ac:spMkLst>
            <pc:docMk/>
            <pc:sldMk cId="2172680304" sldId="398"/>
            <ac:spMk id="168" creationId="{26219115-148A-1BA4-7641-BE8C47E30640}"/>
          </ac:spMkLst>
        </pc:spChg>
        <pc:spChg chg="del mod">
          <ac:chgData name="Merlin Gutter" userId="2abc6f04-74af-430b-bdc8-569c3bfa1dda" providerId="ADAL" clId="{CB1EFBC3-10F5-3048-8961-5969497C0019}" dt="2022-11-23T17:24:21.455" v="83287"/>
          <ac:spMkLst>
            <pc:docMk/>
            <pc:sldMk cId="2172680304" sldId="398"/>
            <ac:spMk id="169" creationId="{BC95B0D2-88F3-A643-2A2D-34F6A89CB1DF}"/>
          </ac:spMkLst>
        </pc:spChg>
        <pc:spChg chg="del mod">
          <ac:chgData name="Merlin Gutter" userId="2abc6f04-74af-430b-bdc8-569c3bfa1dda" providerId="ADAL" clId="{CB1EFBC3-10F5-3048-8961-5969497C0019}" dt="2022-11-23T17:24:21.455" v="83286"/>
          <ac:spMkLst>
            <pc:docMk/>
            <pc:sldMk cId="2172680304" sldId="398"/>
            <ac:spMk id="170" creationId="{C655087D-AF87-8885-6B98-070818D2B9D8}"/>
          </ac:spMkLst>
        </pc:spChg>
        <pc:spChg chg="del mod">
          <ac:chgData name="Merlin Gutter" userId="2abc6f04-74af-430b-bdc8-569c3bfa1dda" providerId="ADAL" clId="{CB1EFBC3-10F5-3048-8961-5969497C0019}" dt="2022-11-23T17:24:21.455" v="83285"/>
          <ac:spMkLst>
            <pc:docMk/>
            <pc:sldMk cId="2172680304" sldId="398"/>
            <ac:spMk id="171" creationId="{9ECE62BE-B535-650F-267D-7E23F4B7E401}"/>
          </ac:spMkLst>
        </pc:spChg>
        <pc:spChg chg="del mod">
          <ac:chgData name="Merlin Gutter" userId="2abc6f04-74af-430b-bdc8-569c3bfa1dda" providerId="ADAL" clId="{CB1EFBC3-10F5-3048-8961-5969497C0019}" dt="2022-11-23T17:24:21.454" v="83284"/>
          <ac:spMkLst>
            <pc:docMk/>
            <pc:sldMk cId="2172680304" sldId="398"/>
            <ac:spMk id="172" creationId="{DA7E4DEF-A5C0-3F5C-ACE7-35DCF57E0E47}"/>
          </ac:spMkLst>
        </pc:spChg>
        <pc:spChg chg="del mod">
          <ac:chgData name="Merlin Gutter" userId="2abc6f04-74af-430b-bdc8-569c3bfa1dda" providerId="ADAL" clId="{CB1EFBC3-10F5-3048-8961-5969497C0019}" dt="2022-11-23T17:24:21.454" v="83283"/>
          <ac:spMkLst>
            <pc:docMk/>
            <pc:sldMk cId="2172680304" sldId="398"/>
            <ac:spMk id="173" creationId="{0554C27D-A1F7-6F82-5906-3AC2476CF0A8}"/>
          </ac:spMkLst>
        </pc:spChg>
        <pc:spChg chg="del mod">
          <ac:chgData name="Merlin Gutter" userId="2abc6f04-74af-430b-bdc8-569c3bfa1dda" providerId="ADAL" clId="{CB1EFBC3-10F5-3048-8961-5969497C0019}" dt="2022-11-23T17:24:21.454" v="83282"/>
          <ac:spMkLst>
            <pc:docMk/>
            <pc:sldMk cId="2172680304" sldId="398"/>
            <ac:spMk id="174" creationId="{FDA60125-CB12-7656-A25D-E2EACDFBF9AA}"/>
          </ac:spMkLst>
        </pc:spChg>
        <pc:spChg chg="add mod replST">
          <ac:chgData name="Merlin Gutter" userId="2abc6f04-74af-430b-bdc8-569c3bfa1dda" providerId="ADAL" clId="{CB1EFBC3-10F5-3048-8961-5969497C0019}" dt="2022-11-23T17:26:25.279" v="91599"/>
          <ac:spMkLst>
            <pc:docMk/>
            <pc:sldMk cId="2172680304" sldId="398"/>
            <ac:spMk id="175" creationId="{42D77B17-3A85-F6D7-E339-C52F1B2B4604}"/>
          </ac:spMkLst>
        </pc:spChg>
        <pc:spChg chg="add mod replST">
          <ac:chgData name="Merlin Gutter" userId="2abc6f04-74af-430b-bdc8-569c3bfa1dda" providerId="ADAL" clId="{CB1EFBC3-10F5-3048-8961-5969497C0019}" dt="2022-11-23T17:26:25.275" v="91583"/>
          <ac:spMkLst>
            <pc:docMk/>
            <pc:sldMk cId="2172680304" sldId="398"/>
            <ac:spMk id="176" creationId="{449A5F45-286F-876D-B3A9-C791DBF12975}"/>
          </ac:spMkLst>
        </pc:spChg>
        <pc:spChg chg="add mod replST">
          <ac:chgData name="Merlin Gutter" userId="2abc6f04-74af-430b-bdc8-569c3bfa1dda" providerId="ADAL" clId="{CB1EFBC3-10F5-3048-8961-5969497C0019}" dt="2022-11-23T17:26:25.284" v="91615"/>
          <ac:spMkLst>
            <pc:docMk/>
            <pc:sldMk cId="2172680304" sldId="398"/>
            <ac:spMk id="177" creationId="{95DA1D80-AB9B-F160-3BBB-499F60911862}"/>
          </ac:spMkLst>
        </pc:spChg>
        <pc:spChg chg="add mod replST">
          <ac:chgData name="Merlin Gutter" userId="2abc6f04-74af-430b-bdc8-569c3bfa1dda" providerId="ADAL" clId="{CB1EFBC3-10F5-3048-8961-5969497C0019}" dt="2022-11-23T17:26:25.281" v="91607"/>
          <ac:spMkLst>
            <pc:docMk/>
            <pc:sldMk cId="2172680304" sldId="398"/>
            <ac:spMk id="178" creationId="{6447C453-99AD-6907-8806-CEA9FC652C4D}"/>
          </ac:spMkLst>
        </pc:spChg>
        <pc:spChg chg="add mod replST">
          <ac:chgData name="Merlin Gutter" userId="2abc6f04-74af-430b-bdc8-569c3bfa1dda" providerId="ADAL" clId="{CB1EFBC3-10F5-3048-8961-5969497C0019}" dt="2022-11-23T17:26:25.272" v="91575"/>
          <ac:spMkLst>
            <pc:docMk/>
            <pc:sldMk cId="2172680304" sldId="398"/>
            <ac:spMk id="179" creationId="{22A91D71-9E50-9641-BB94-3EA258CB9B16}"/>
          </ac:spMkLst>
        </pc:spChg>
        <pc:spChg chg="add del mod modVis">
          <ac:chgData name="Merlin Gutter" userId="2abc6f04-74af-430b-bdc8-569c3bfa1dda" providerId="ADAL" clId="{CB1EFBC3-10F5-3048-8961-5969497C0019}" dt="2022-11-23T17:24:47.899" v="87241"/>
          <ac:spMkLst>
            <pc:docMk/>
            <pc:sldMk cId="2172680304" sldId="398"/>
            <ac:spMk id="180" creationId="{4469F23B-CCA1-C0C7-EDCA-FA0CFBE0E254}"/>
          </ac:spMkLst>
        </pc:spChg>
        <pc:spChg chg="add del mod modVis">
          <ac:chgData name="Merlin Gutter" userId="2abc6f04-74af-430b-bdc8-569c3bfa1dda" providerId="ADAL" clId="{CB1EFBC3-10F5-3048-8961-5969497C0019}" dt="2022-11-23T17:24:50.229" v="87480"/>
          <ac:spMkLst>
            <pc:docMk/>
            <pc:sldMk cId="2172680304" sldId="398"/>
            <ac:spMk id="182" creationId="{37787F51-3FFC-DD75-15F5-036C0CA90AD5}"/>
          </ac:spMkLst>
        </pc:spChg>
        <pc:spChg chg="add del mod modVis">
          <ac:chgData name="Merlin Gutter" userId="2abc6f04-74af-430b-bdc8-569c3bfa1dda" providerId="ADAL" clId="{CB1EFBC3-10F5-3048-8961-5969497C0019}" dt="2022-11-23T17:24:56.814" v="87841"/>
          <ac:spMkLst>
            <pc:docMk/>
            <pc:sldMk cId="2172680304" sldId="398"/>
            <ac:spMk id="184" creationId="{E9A4F6E6-56B8-D8FC-776E-C667B7AB2B3D}"/>
          </ac:spMkLst>
        </pc:spChg>
        <pc:spChg chg="add mod replST">
          <ac:chgData name="Merlin Gutter" userId="2abc6f04-74af-430b-bdc8-569c3bfa1dda" providerId="ADAL" clId="{CB1EFBC3-10F5-3048-8961-5969497C0019}" dt="2022-11-23T17:25:21.937" v="90497"/>
          <ac:spMkLst>
            <pc:docMk/>
            <pc:sldMk cId="2172680304" sldId="398"/>
            <ac:spMk id="185" creationId="{5FB9F43D-3EBA-74FF-B5A9-3923DFD92C22}"/>
          </ac:spMkLst>
        </pc:spChg>
        <pc:spChg chg="add del mod modVis">
          <ac:chgData name="Merlin Gutter" userId="2abc6f04-74af-430b-bdc8-569c3bfa1dda" providerId="ADAL" clId="{CB1EFBC3-10F5-3048-8961-5969497C0019}" dt="2022-11-23T17:25:01.401" v="88151"/>
          <ac:spMkLst>
            <pc:docMk/>
            <pc:sldMk cId="2172680304" sldId="398"/>
            <ac:spMk id="190" creationId="{91EFFEDD-35FC-B58B-81E3-D63E58A1578F}"/>
          </ac:spMkLst>
        </pc:spChg>
        <pc:spChg chg="add del mod modVis">
          <ac:chgData name="Merlin Gutter" userId="2abc6f04-74af-430b-bdc8-569c3bfa1dda" providerId="ADAL" clId="{CB1EFBC3-10F5-3048-8961-5969497C0019}" dt="2022-11-23T17:25:03.994" v="88463"/>
          <ac:spMkLst>
            <pc:docMk/>
            <pc:sldMk cId="2172680304" sldId="398"/>
            <ac:spMk id="192" creationId="{13B4C84A-90ED-B291-0E91-70C31D67D7E1}"/>
          </ac:spMkLst>
        </pc:spChg>
        <pc:spChg chg="add del mod modVis">
          <ac:chgData name="Merlin Gutter" userId="2abc6f04-74af-430b-bdc8-569c3bfa1dda" providerId="ADAL" clId="{CB1EFBC3-10F5-3048-8961-5969497C0019}" dt="2022-11-23T17:25:07.037" v="88829"/>
          <ac:spMkLst>
            <pc:docMk/>
            <pc:sldMk cId="2172680304" sldId="398"/>
            <ac:spMk id="194" creationId="{610DF7C7-8434-787F-4CB8-57AB3D154110}"/>
          </ac:spMkLst>
        </pc:spChg>
        <pc:spChg chg="add mod replST">
          <ac:chgData name="Merlin Gutter" userId="2abc6f04-74af-430b-bdc8-569c3bfa1dda" providerId="ADAL" clId="{CB1EFBC3-10F5-3048-8961-5969497C0019}" dt="2022-11-23T17:25:21.936" v="90496"/>
          <ac:spMkLst>
            <pc:docMk/>
            <pc:sldMk cId="2172680304" sldId="398"/>
            <ac:spMk id="195" creationId="{16ADCE66-8788-B3B2-5A49-1C71FD736621}"/>
          </ac:spMkLst>
        </pc:spChg>
        <pc:spChg chg="add del mod modVis">
          <ac:chgData name="Merlin Gutter" userId="2abc6f04-74af-430b-bdc8-569c3bfa1dda" providerId="ADAL" clId="{CB1EFBC3-10F5-3048-8961-5969497C0019}" dt="2022-11-23T17:25:13.250" v="89176"/>
          <ac:spMkLst>
            <pc:docMk/>
            <pc:sldMk cId="2172680304" sldId="398"/>
            <ac:spMk id="199" creationId="{253379C2-DEB3-DBE2-A72E-B08DB950EE14}"/>
          </ac:spMkLst>
        </pc:spChg>
        <pc:spChg chg="add del mod modVis">
          <ac:chgData name="Merlin Gutter" userId="2abc6f04-74af-430b-bdc8-569c3bfa1dda" providerId="ADAL" clId="{CB1EFBC3-10F5-3048-8961-5969497C0019}" dt="2022-11-23T17:25:14.954" v="89532"/>
          <ac:spMkLst>
            <pc:docMk/>
            <pc:sldMk cId="2172680304" sldId="398"/>
            <ac:spMk id="202" creationId="{B98A0C7A-AE82-0BFC-1C94-4D61E0640523}"/>
          </ac:spMkLst>
        </pc:spChg>
        <pc:spChg chg="add del mod modVis">
          <ac:chgData name="Merlin Gutter" userId="2abc6f04-74af-430b-bdc8-569c3bfa1dda" providerId="ADAL" clId="{CB1EFBC3-10F5-3048-8961-5969497C0019}" dt="2022-11-23T17:25:18.605" v="89879"/>
          <ac:spMkLst>
            <pc:docMk/>
            <pc:sldMk cId="2172680304" sldId="398"/>
            <ac:spMk id="205" creationId="{18C997A6-7F5D-FDF3-F47C-0D41C0414502}"/>
          </ac:spMkLst>
        </pc:spChg>
        <pc:spChg chg="add del mod modVis">
          <ac:chgData name="Merlin Gutter" userId="2abc6f04-74af-430b-bdc8-569c3bfa1dda" providerId="ADAL" clId="{CB1EFBC3-10F5-3048-8961-5969497C0019}" dt="2022-11-23T17:25:20.190" v="90196"/>
          <ac:spMkLst>
            <pc:docMk/>
            <pc:sldMk cId="2172680304" sldId="398"/>
            <ac:spMk id="207" creationId="{87DFB276-55C4-5D92-F2D7-9925EF2B0A09}"/>
          </ac:spMkLst>
        </pc:spChg>
        <pc:spChg chg="add del mod modVis">
          <ac:chgData name="Merlin Gutter" userId="2abc6f04-74af-430b-bdc8-569c3bfa1dda" providerId="ADAL" clId="{CB1EFBC3-10F5-3048-8961-5969497C0019}" dt="2022-11-23T17:25:21.941" v="90513"/>
          <ac:spMkLst>
            <pc:docMk/>
            <pc:sldMk cId="2172680304" sldId="398"/>
            <ac:spMk id="209" creationId="{B0ECDB6C-A1F5-D754-C2E1-241D4FD3CE41}"/>
          </ac:spMkLst>
        </pc:spChg>
        <pc:spChg chg="del mod">
          <ac:chgData name="Merlin Gutter" userId="2abc6f04-74af-430b-bdc8-569c3bfa1dda" providerId="ADAL" clId="{CB1EFBC3-10F5-3048-8961-5969497C0019}" dt="2022-11-23T17:24:21.472" v="83367"/>
          <ac:spMkLst>
            <pc:docMk/>
            <pc:sldMk cId="2172680304" sldId="398"/>
            <ac:spMk id="220" creationId="{E4B69861-E3F5-0F16-CC91-A82610558EC4}"/>
          </ac:spMkLst>
        </pc:spChg>
        <pc:spChg chg="del mod">
          <ac:chgData name="Merlin Gutter" userId="2abc6f04-74af-430b-bdc8-569c3bfa1dda" providerId="ADAL" clId="{CB1EFBC3-10F5-3048-8961-5969497C0019}" dt="2022-11-23T17:24:21.470" v="83352"/>
          <ac:spMkLst>
            <pc:docMk/>
            <pc:sldMk cId="2172680304" sldId="398"/>
            <ac:spMk id="223" creationId="{8AB1E456-CB01-D0C6-2400-431698263CBE}"/>
          </ac:spMkLst>
        </pc:spChg>
        <pc:spChg chg="del mod">
          <ac:chgData name="Merlin Gutter" userId="2abc6f04-74af-430b-bdc8-569c3bfa1dda" providerId="ADAL" clId="{CB1EFBC3-10F5-3048-8961-5969497C0019}" dt="2022-11-23T17:24:21.468" v="83342"/>
          <ac:spMkLst>
            <pc:docMk/>
            <pc:sldMk cId="2172680304" sldId="398"/>
            <ac:spMk id="225" creationId="{7E3BCF8A-261D-191B-B446-31C4905B05AF}"/>
          </ac:spMkLst>
        </pc:spChg>
        <pc:spChg chg="del mod">
          <ac:chgData name="Merlin Gutter" userId="2abc6f04-74af-430b-bdc8-569c3bfa1dda" providerId="ADAL" clId="{CB1EFBC3-10F5-3048-8961-5969497C0019}" dt="2022-11-23T17:24:21.466" v="83332"/>
          <ac:spMkLst>
            <pc:docMk/>
            <pc:sldMk cId="2172680304" sldId="398"/>
            <ac:spMk id="227" creationId="{5706404A-C5A3-7F57-5FF3-E2871360F7FB}"/>
          </ac:spMkLst>
        </pc:spChg>
        <pc:spChg chg="del mod">
          <ac:chgData name="Merlin Gutter" userId="2abc6f04-74af-430b-bdc8-569c3bfa1dda" providerId="ADAL" clId="{CB1EFBC3-10F5-3048-8961-5969497C0019}" dt="2022-11-23T17:24:21.454" v="83281"/>
          <ac:spMkLst>
            <pc:docMk/>
            <pc:sldMk cId="2172680304" sldId="398"/>
            <ac:spMk id="325" creationId="{D587C69E-A71E-6130-EFF9-F6584C0F6F7D}"/>
          </ac:spMkLst>
        </pc:spChg>
        <pc:spChg chg="del mod">
          <ac:chgData name="Merlin Gutter" userId="2abc6f04-74af-430b-bdc8-569c3bfa1dda" providerId="ADAL" clId="{CB1EFBC3-10F5-3048-8961-5969497C0019}" dt="2022-11-23T17:24:21.452" v="83273"/>
          <ac:spMkLst>
            <pc:docMk/>
            <pc:sldMk cId="2172680304" sldId="398"/>
            <ac:spMk id="380" creationId="{A4277D2A-A17B-94FB-372B-44CBF51AF92D}"/>
          </ac:spMkLst>
        </pc:spChg>
        <pc:spChg chg="del mod">
          <ac:chgData name="Merlin Gutter" userId="2abc6f04-74af-430b-bdc8-569c3bfa1dda" providerId="ADAL" clId="{CB1EFBC3-10F5-3048-8961-5969497C0019}" dt="2022-11-23T17:24:21.450" v="83265"/>
          <ac:spMkLst>
            <pc:docMk/>
            <pc:sldMk cId="2172680304" sldId="398"/>
            <ac:spMk id="386" creationId="{99C6B807-141E-3D78-57FC-17751DD454CB}"/>
          </ac:spMkLst>
        </pc:spChg>
        <pc:spChg chg="mod">
          <ac:chgData name="Merlin Gutter" userId="2abc6f04-74af-430b-bdc8-569c3bfa1dda" providerId="ADAL" clId="{CB1EFBC3-10F5-3048-8961-5969497C0019}" dt="2022-11-23T17:25:21.915" v="90402"/>
          <ac:spMkLst>
            <pc:docMk/>
            <pc:sldMk cId="2172680304" sldId="398"/>
            <ac:spMk id="414" creationId="{F02F9840-5CF3-A09F-3CFB-95A63CE8FA4D}"/>
          </ac:spMkLst>
        </pc:spChg>
        <pc:spChg chg="del mod">
          <ac:chgData name="Merlin Gutter" userId="2abc6f04-74af-430b-bdc8-569c3bfa1dda" providerId="ADAL" clId="{CB1EFBC3-10F5-3048-8961-5969497C0019}" dt="2022-11-23T17:24:21.471" v="83362"/>
          <ac:spMkLst>
            <pc:docMk/>
            <pc:sldMk cId="2172680304" sldId="398"/>
            <ac:spMk id="427" creationId="{C3038790-BF3B-EDDB-0C60-3504D554CDB1}"/>
          </ac:spMkLst>
        </pc:spChg>
        <pc:spChg chg="del mod">
          <ac:chgData name="Merlin Gutter" userId="2abc6f04-74af-430b-bdc8-569c3bfa1dda" providerId="ADAL" clId="{CB1EFBC3-10F5-3048-8961-5969497C0019}" dt="2022-11-23T17:24:21.471" v="83357"/>
          <ac:spMkLst>
            <pc:docMk/>
            <pc:sldMk cId="2172680304" sldId="398"/>
            <ac:spMk id="428" creationId="{6E265CAE-BFEB-4B0A-A749-56CBE14B0CB9}"/>
          </ac:spMkLst>
        </pc:spChg>
        <pc:spChg chg="del mod">
          <ac:chgData name="Merlin Gutter" userId="2abc6f04-74af-430b-bdc8-569c3bfa1dda" providerId="ADAL" clId="{CB1EFBC3-10F5-3048-8961-5969497C0019}" dt="2022-11-23T17:24:21.469" v="83347"/>
          <ac:spMkLst>
            <pc:docMk/>
            <pc:sldMk cId="2172680304" sldId="398"/>
            <ac:spMk id="429" creationId="{C4CAB5DA-4966-FE15-AD40-1B97D4C48366}"/>
          </ac:spMkLst>
        </pc:spChg>
        <pc:spChg chg="del mod">
          <ac:chgData name="Merlin Gutter" userId="2abc6f04-74af-430b-bdc8-569c3bfa1dda" providerId="ADAL" clId="{CB1EFBC3-10F5-3048-8961-5969497C0019}" dt="2022-11-23T17:24:21.467" v="83337"/>
          <ac:spMkLst>
            <pc:docMk/>
            <pc:sldMk cId="2172680304" sldId="398"/>
            <ac:spMk id="430" creationId="{DB444AD2-669B-993E-D2E8-BBD5ED92F094}"/>
          </ac:spMkLst>
        </pc:spChg>
        <pc:graphicFrameChg chg="add del mod replST">
          <ac:chgData name="Merlin Gutter" userId="2abc6f04-74af-430b-bdc8-569c3bfa1dda" providerId="ADAL" clId="{CB1EFBC3-10F5-3048-8961-5969497C0019}" dt="2022-11-23T17:24:21.475" v="83375"/>
          <ac:graphicFrameMkLst>
            <pc:docMk/>
            <pc:sldMk cId="2172680304" sldId="398"/>
            <ac:graphicFrameMk id="18" creationId="{44FAD6CB-A69F-AF17-0B86-7F6DDAF7814B}"/>
          </ac:graphicFrameMkLst>
        </pc:graphicFrameChg>
        <pc:graphicFrameChg chg="mod">
          <ac:chgData name="Merlin Gutter" userId="2abc6f04-74af-430b-bdc8-569c3bfa1dda" providerId="ADAL" clId="{CB1EFBC3-10F5-3048-8961-5969497C0019}" dt="2022-11-23T17:26:25.306" v="91619"/>
          <ac:graphicFrameMkLst>
            <pc:docMk/>
            <pc:sldMk cId="2172680304" sldId="398"/>
            <ac:graphicFrameMk id="20" creationId="{6813096F-D721-0653-587E-E254F033A5A9}"/>
          </ac:graphicFrameMkLst>
        </pc:graphicFrameChg>
        <pc:graphicFrameChg chg="del">
          <ac:chgData name="Merlin Gutter" userId="2abc6f04-74af-430b-bdc8-569c3bfa1dda" providerId="ADAL" clId="{CB1EFBC3-10F5-3048-8961-5969497C0019}" dt="2022-11-23T17:24:19.830" v="83023"/>
          <ac:graphicFrameMkLst>
            <pc:docMk/>
            <pc:sldMk cId="2172680304" sldId="398"/>
            <ac:graphicFrameMk id="35" creationId="{EC8CCEB7-B0D1-8F33-239D-1428AA8739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4:47.833" v="87040"/>
          <ac:graphicFrameMkLst>
            <pc:docMk/>
            <pc:sldMk cId="2172680304" sldId="398"/>
            <ac:graphicFrameMk id="54" creationId="{90D279E7-9335-AC75-D792-8F07D4ADE48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4:50.185" v="87365"/>
          <ac:graphicFrameMkLst>
            <pc:docMk/>
            <pc:sldMk cId="2172680304" sldId="398"/>
            <ac:graphicFrameMk id="181" creationId="{C3179B74-A6F1-357C-CFD0-99C54C4E5C2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4:56.772" v="87722"/>
          <ac:graphicFrameMkLst>
            <pc:docMk/>
            <pc:sldMk cId="2172680304" sldId="398"/>
            <ac:graphicFrameMk id="183" creationId="{75A21F97-2309-D9B1-51D6-5047C87CED6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01.357" v="88032"/>
          <ac:graphicFrameMkLst>
            <pc:docMk/>
            <pc:sldMk cId="2172680304" sldId="398"/>
            <ac:graphicFrameMk id="189" creationId="{74E488E0-B96C-BA8E-A378-28D91D47DAB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03.950" v="88344"/>
          <ac:graphicFrameMkLst>
            <pc:docMk/>
            <pc:sldMk cId="2172680304" sldId="398"/>
            <ac:graphicFrameMk id="191" creationId="{D1E60C58-3AE6-CA95-A945-00FC3FB29D0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06.993" v="88707"/>
          <ac:graphicFrameMkLst>
            <pc:docMk/>
            <pc:sldMk cId="2172680304" sldId="398"/>
            <ac:graphicFrameMk id="193" creationId="{D108EA6E-834D-68B9-72C9-13B6D6BA14F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13.206" v="89054"/>
          <ac:graphicFrameMkLst>
            <pc:docMk/>
            <pc:sldMk cId="2172680304" sldId="398"/>
            <ac:graphicFrameMk id="198" creationId="{46DF74EA-3FD9-39D3-47C9-F1AD32995E6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14.909" v="89409"/>
          <ac:graphicFrameMkLst>
            <pc:docMk/>
            <pc:sldMk cId="2172680304" sldId="398"/>
            <ac:graphicFrameMk id="201" creationId="{6E2FEA9F-12BB-268C-1F98-3EEDCC294C5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18.561" v="89756"/>
          <ac:graphicFrameMkLst>
            <pc:docMk/>
            <pc:sldMk cId="2172680304" sldId="398"/>
            <ac:graphicFrameMk id="204" creationId="{41EEF94C-4603-1C9B-3CE0-96803E6A265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20.145" v="90073"/>
          <ac:graphicFrameMkLst>
            <pc:docMk/>
            <pc:sldMk cId="2172680304" sldId="398"/>
            <ac:graphicFrameMk id="206" creationId="{09B8FD00-1B73-11C0-B587-859D8192167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21.896" v="90390"/>
          <ac:graphicFrameMkLst>
            <pc:docMk/>
            <pc:sldMk cId="2172680304" sldId="398"/>
            <ac:graphicFrameMk id="208" creationId="{A008FD7F-81D0-04C2-2B00-EDD091BD0469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3T17:25:21.920" v="90428"/>
          <ac:graphicFrameMkLst>
            <pc:docMk/>
            <pc:sldMk cId="2172680304" sldId="398"/>
            <ac:graphicFrameMk id="210" creationId="{0829D70C-5415-ED11-9B4F-B4556591FC0E}"/>
          </ac:graphicFrameMkLst>
        </pc:graphicFrameChg>
        <pc:cxnChg chg="mod">
          <ac:chgData name="Merlin Gutter" userId="2abc6f04-74af-430b-bdc8-569c3bfa1dda" providerId="ADAL" clId="{CB1EFBC3-10F5-3048-8961-5969497C0019}" dt="2022-11-23T17:25:21.915" v="90403"/>
          <ac:cxnSpMkLst>
            <pc:docMk/>
            <pc:sldMk cId="2172680304" sldId="398"/>
            <ac:cxnSpMk id="7" creationId="{BAF6F246-54A1-4312-90AB-0320FAD7CD8A}"/>
          </ac:cxnSpMkLst>
        </pc:cxnChg>
        <pc:cxnChg chg="mod">
          <ac:chgData name="Merlin Gutter" userId="2abc6f04-74af-430b-bdc8-569c3bfa1dda" providerId="ADAL" clId="{CB1EFBC3-10F5-3048-8961-5969497C0019}" dt="2022-11-23T17:25:21.915" v="90404"/>
          <ac:cxnSpMkLst>
            <pc:docMk/>
            <pc:sldMk cId="2172680304" sldId="398"/>
            <ac:cxnSpMk id="8" creationId="{7A2F73AD-ADF7-009C-C582-FA06B7B3A06D}"/>
          </ac:cxnSpMkLst>
        </pc:cxnChg>
        <pc:cxnChg chg="add mod replST">
          <ac:chgData name="Merlin Gutter" userId="2abc6f04-74af-430b-bdc8-569c3bfa1dda" providerId="ADAL" clId="{CB1EFBC3-10F5-3048-8961-5969497C0019}" dt="2022-11-23T17:25:21.918" v="90415"/>
          <ac:cxnSpMkLst>
            <pc:docMk/>
            <pc:sldMk cId="2172680304" sldId="398"/>
            <ac:cxnSpMk id="22" creationId="{5DB01D28-99A6-CFAE-2300-F092CB5C52BF}"/>
          </ac:cxnSpMkLst>
        </pc:cxnChg>
        <pc:cxnChg chg="add mod replST">
          <ac:chgData name="Merlin Gutter" userId="2abc6f04-74af-430b-bdc8-569c3bfa1dda" providerId="ADAL" clId="{CB1EFBC3-10F5-3048-8961-5969497C0019}" dt="2022-11-23T17:25:21.918" v="90416"/>
          <ac:cxnSpMkLst>
            <pc:docMk/>
            <pc:sldMk cId="2172680304" sldId="398"/>
            <ac:cxnSpMk id="39" creationId="{EF956B2C-1C18-66CA-31A7-DB4F871A6083}"/>
          </ac:cxnSpMkLst>
        </pc:cxnChg>
        <pc:cxnChg chg="add mod replST">
          <ac:chgData name="Merlin Gutter" userId="2abc6f04-74af-430b-bdc8-569c3bfa1dda" providerId="ADAL" clId="{CB1EFBC3-10F5-3048-8961-5969497C0019}" dt="2022-11-23T17:25:21.918" v="90418"/>
          <ac:cxnSpMkLst>
            <pc:docMk/>
            <pc:sldMk cId="2172680304" sldId="398"/>
            <ac:cxnSpMk id="40" creationId="{E91829FB-6396-2B61-3C2E-B4538670E381}"/>
          </ac:cxnSpMkLst>
        </pc:cxnChg>
        <pc:cxnChg chg="add mod replST">
          <ac:chgData name="Merlin Gutter" userId="2abc6f04-74af-430b-bdc8-569c3bfa1dda" providerId="ADAL" clId="{CB1EFBC3-10F5-3048-8961-5969497C0019}" dt="2022-11-23T17:25:21.917" v="90413"/>
          <ac:cxnSpMkLst>
            <pc:docMk/>
            <pc:sldMk cId="2172680304" sldId="398"/>
            <ac:cxnSpMk id="41" creationId="{FA7814E5-C7F6-C7B4-F5C0-7AF626EF5BE0}"/>
          </ac:cxnSpMkLst>
        </pc:cxnChg>
        <pc:cxnChg chg="add mod replST">
          <ac:chgData name="Merlin Gutter" userId="2abc6f04-74af-430b-bdc8-569c3bfa1dda" providerId="ADAL" clId="{CB1EFBC3-10F5-3048-8961-5969497C0019}" dt="2022-11-23T17:25:21.918" v="90417"/>
          <ac:cxnSpMkLst>
            <pc:docMk/>
            <pc:sldMk cId="2172680304" sldId="398"/>
            <ac:cxnSpMk id="42" creationId="{C6743254-0436-2186-1D83-3D976AC7C95C}"/>
          </ac:cxnSpMkLst>
        </pc:cxnChg>
        <pc:cxnChg chg="add mod replST">
          <ac:chgData name="Merlin Gutter" userId="2abc6f04-74af-430b-bdc8-569c3bfa1dda" providerId="ADAL" clId="{CB1EFBC3-10F5-3048-8961-5969497C0019}" dt="2022-11-23T17:25:21.917" v="90414"/>
          <ac:cxnSpMkLst>
            <pc:docMk/>
            <pc:sldMk cId="2172680304" sldId="398"/>
            <ac:cxnSpMk id="43" creationId="{8DA2D1B5-FC60-A60A-BB72-D7735421E24B}"/>
          </ac:cxnSpMkLst>
        </pc:cxnChg>
        <pc:cxnChg chg="add mod replST">
          <ac:chgData name="Merlin Gutter" userId="2abc6f04-74af-430b-bdc8-569c3bfa1dda" providerId="ADAL" clId="{CB1EFBC3-10F5-3048-8961-5969497C0019}" dt="2022-11-23T17:25:21.918" v="90419"/>
          <ac:cxnSpMkLst>
            <pc:docMk/>
            <pc:sldMk cId="2172680304" sldId="398"/>
            <ac:cxnSpMk id="44" creationId="{D86BA6DD-C439-CD2E-3A9F-1D0261175ED4}"/>
          </ac:cxnSpMkLst>
        </pc:cxnChg>
        <pc:cxnChg chg="add mod replST">
          <ac:chgData name="Merlin Gutter" userId="2abc6f04-74af-430b-bdc8-569c3bfa1dda" providerId="ADAL" clId="{CB1EFBC3-10F5-3048-8961-5969497C0019}" dt="2022-11-23T17:25:21.919" v="90423"/>
          <ac:cxnSpMkLst>
            <pc:docMk/>
            <pc:sldMk cId="2172680304" sldId="398"/>
            <ac:cxnSpMk id="45" creationId="{C123E2E0-F08A-E22D-A60F-D41C3239AFAC}"/>
          </ac:cxnSpMkLst>
        </pc:cxnChg>
        <pc:cxnChg chg="add mod replST">
          <ac:chgData name="Merlin Gutter" userId="2abc6f04-74af-430b-bdc8-569c3bfa1dda" providerId="ADAL" clId="{CB1EFBC3-10F5-3048-8961-5969497C0019}" dt="2022-11-23T17:25:21.919" v="90422"/>
          <ac:cxnSpMkLst>
            <pc:docMk/>
            <pc:sldMk cId="2172680304" sldId="398"/>
            <ac:cxnSpMk id="46" creationId="{6C64B2B0-B604-AD27-9E53-DA96D6D27EA3}"/>
          </ac:cxnSpMkLst>
        </pc:cxnChg>
        <pc:cxnChg chg="add mod replST">
          <ac:chgData name="Merlin Gutter" userId="2abc6f04-74af-430b-bdc8-569c3bfa1dda" providerId="ADAL" clId="{CB1EFBC3-10F5-3048-8961-5969497C0019}" dt="2022-11-23T17:25:21.920" v="90426"/>
          <ac:cxnSpMkLst>
            <pc:docMk/>
            <pc:sldMk cId="2172680304" sldId="398"/>
            <ac:cxnSpMk id="48" creationId="{C02C453B-1550-A860-5ACD-3B614AD70F62}"/>
          </ac:cxnSpMkLst>
        </pc:cxnChg>
        <pc:cxnChg chg="add mod replST">
          <ac:chgData name="Merlin Gutter" userId="2abc6f04-74af-430b-bdc8-569c3bfa1dda" providerId="ADAL" clId="{CB1EFBC3-10F5-3048-8961-5969497C0019}" dt="2022-11-23T17:25:21.919" v="90420"/>
          <ac:cxnSpMkLst>
            <pc:docMk/>
            <pc:sldMk cId="2172680304" sldId="398"/>
            <ac:cxnSpMk id="49" creationId="{F703B2D6-EC96-D0AA-AEE9-7C6A111F934B}"/>
          </ac:cxnSpMkLst>
        </pc:cxnChg>
        <pc:cxnChg chg="add mod replST">
          <ac:chgData name="Merlin Gutter" userId="2abc6f04-74af-430b-bdc8-569c3bfa1dda" providerId="ADAL" clId="{CB1EFBC3-10F5-3048-8961-5969497C0019}" dt="2022-11-23T17:25:21.919" v="90424"/>
          <ac:cxnSpMkLst>
            <pc:docMk/>
            <pc:sldMk cId="2172680304" sldId="398"/>
            <ac:cxnSpMk id="50" creationId="{5471EC70-3DDC-3ED7-1105-89716BF00697}"/>
          </ac:cxnSpMkLst>
        </pc:cxnChg>
        <pc:cxnChg chg="add mod replST">
          <ac:chgData name="Merlin Gutter" userId="2abc6f04-74af-430b-bdc8-569c3bfa1dda" providerId="ADAL" clId="{CB1EFBC3-10F5-3048-8961-5969497C0019}" dt="2022-11-23T17:25:21.920" v="90427"/>
          <ac:cxnSpMkLst>
            <pc:docMk/>
            <pc:sldMk cId="2172680304" sldId="398"/>
            <ac:cxnSpMk id="51" creationId="{40183505-7C58-375E-92DF-665A8C924730}"/>
          </ac:cxnSpMkLst>
        </pc:cxnChg>
        <pc:cxnChg chg="add mod replST">
          <ac:chgData name="Merlin Gutter" userId="2abc6f04-74af-430b-bdc8-569c3bfa1dda" providerId="ADAL" clId="{CB1EFBC3-10F5-3048-8961-5969497C0019}" dt="2022-11-23T17:25:21.920" v="90425"/>
          <ac:cxnSpMkLst>
            <pc:docMk/>
            <pc:sldMk cId="2172680304" sldId="398"/>
            <ac:cxnSpMk id="52" creationId="{EAFF823C-69CB-639E-78B0-5F3C91202D71}"/>
          </ac:cxnSpMkLst>
        </pc:cxnChg>
        <pc:cxnChg chg="add mod replST">
          <ac:chgData name="Merlin Gutter" userId="2abc6f04-74af-430b-bdc8-569c3bfa1dda" providerId="ADAL" clId="{CB1EFBC3-10F5-3048-8961-5969497C0019}" dt="2022-11-23T17:25:21.919" v="90421"/>
          <ac:cxnSpMkLst>
            <pc:docMk/>
            <pc:sldMk cId="2172680304" sldId="398"/>
            <ac:cxnSpMk id="53" creationId="{3C9A2110-EF8D-F515-D46E-0BE3DE7B8E72}"/>
          </ac:cxnSpMkLst>
        </pc:cxnChg>
        <pc:cxnChg chg="add del mod replST">
          <ac:chgData name="Merlin Gutter" userId="2abc6f04-74af-430b-bdc8-569c3bfa1dda" providerId="ADAL" clId="{CB1EFBC3-10F5-3048-8961-5969497C0019}" dt="2022-11-23T17:24:50.116" v="87245"/>
          <ac:cxnSpMkLst>
            <pc:docMk/>
            <pc:sldMk cId="2172680304" sldId="398"/>
            <ac:cxnSpMk id="66" creationId="{C99ADFCD-D7A6-F43B-F8D7-13921E7BB937}"/>
          </ac:cxnSpMkLst>
        </pc:cxnChg>
        <pc:cxnChg chg="add mod replST">
          <ac:chgData name="Merlin Gutter" userId="2abc6f04-74af-430b-bdc8-569c3bfa1dda" providerId="ADAL" clId="{CB1EFBC3-10F5-3048-8961-5969497C0019}" dt="2022-11-23T17:25:21.924" v="90443"/>
          <ac:cxnSpMkLst>
            <pc:docMk/>
            <pc:sldMk cId="2172680304" sldId="398"/>
            <ac:cxnSpMk id="186" creationId="{7B85F6E6-0017-1C29-C16D-BD95570B3495}"/>
          </ac:cxnSpMkLst>
        </pc:cxnChg>
        <pc:cxnChg chg="add del mod replST">
          <ac:chgData name="Merlin Gutter" userId="2abc6f04-74af-430b-bdc8-569c3bfa1dda" providerId="ADAL" clId="{CB1EFBC3-10F5-3048-8961-5969497C0019}" dt="2022-11-23T17:25:13.188" v="88983"/>
          <ac:cxnSpMkLst>
            <pc:docMk/>
            <pc:sldMk cId="2172680304" sldId="398"/>
            <ac:cxnSpMk id="187" creationId="{3037BDE7-510A-F6E5-5984-927F5C017F28}"/>
          </ac:cxnSpMkLst>
        </pc:cxnChg>
        <pc:cxnChg chg="add mod replST">
          <ac:chgData name="Merlin Gutter" userId="2abc6f04-74af-430b-bdc8-569c3bfa1dda" providerId="ADAL" clId="{CB1EFBC3-10F5-3048-8961-5969497C0019}" dt="2022-11-23T17:25:21.924" v="90444"/>
          <ac:cxnSpMkLst>
            <pc:docMk/>
            <pc:sldMk cId="2172680304" sldId="398"/>
            <ac:cxnSpMk id="188" creationId="{A03E36B7-06C7-7118-6EEA-346E1F88CBCF}"/>
          </ac:cxnSpMkLst>
        </pc:cxnChg>
        <pc:cxnChg chg="add mod replST">
          <ac:chgData name="Merlin Gutter" userId="2abc6f04-74af-430b-bdc8-569c3bfa1dda" providerId="ADAL" clId="{CB1EFBC3-10F5-3048-8961-5969497C0019}" dt="2022-11-23T17:25:21.923" v="90441"/>
          <ac:cxnSpMkLst>
            <pc:docMk/>
            <pc:sldMk cId="2172680304" sldId="398"/>
            <ac:cxnSpMk id="196" creationId="{10147ACE-27FA-B7F8-7D51-C529BDF2EE09}"/>
          </ac:cxnSpMkLst>
        </pc:cxnChg>
        <pc:cxnChg chg="add mod replST">
          <ac:chgData name="Merlin Gutter" userId="2abc6f04-74af-430b-bdc8-569c3bfa1dda" providerId="ADAL" clId="{CB1EFBC3-10F5-3048-8961-5969497C0019}" dt="2022-11-23T17:25:21.924" v="90442"/>
          <ac:cxnSpMkLst>
            <pc:docMk/>
            <pc:sldMk cId="2172680304" sldId="398"/>
            <ac:cxnSpMk id="197" creationId="{18321B37-F7AD-1A01-A139-51A23FFA73A6}"/>
          </ac:cxnSpMkLst>
        </pc:cxnChg>
        <pc:cxnChg chg="add mod replST">
          <ac:chgData name="Merlin Gutter" userId="2abc6f04-74af-430b-bdc8-569c3bfa1dda" providerId="ADAL" clId="{CB1EFBC3-10F5-3048-8961-5969497C0019}" dt="2022-11-23T17:25:21.923" v="90440"/>
          <ac:cxnSpMkLst>
            <pc:docMk/>
            <pc:sldMk cId="2172680304" sldId="398"/>
            <ac:cxnSpMk id="200" creationId="{1016F42C-0836-2832-B9CC-025A9FD4905A}"/>
          </ac:cxnSpMkLst>
        </pc:cxnChg>
        <pc:cxnChg chg="add mod replST">
          <ac:chgData name="Merlin Gutter" userId="2abc6f04-74af-430b-bdc8-569c3bfa1dda" providerId="ADAL" clId="{CB1EFBC3-10F5-3048-8961-5969497C0019}" dt="2022-11-23T17:25:21.924" v="90445"/>
          <ac:cxnSpMkLst>
            <pc:docMk/>
            <pc:sldMk cId="2172680304" sldId="398"/>
            <ac:cxnSpMk id="203" creationId="{DC57B180-8BC4-E2C3-6745-A69D194BA73E}"/>
          </ac:cxnSpMkLst>
        </pc:cxnChg>
        <pc:cxnChg chg="del mod">
          <ac:chgData name="Merlin Gutter" userId="2abc6f04-74af-430b-bdc8-569c3bfa1dda" providerId="ADAL" clId="{CB1EFBC3-10F5-3048-8961-5969497C0019}" dt="2022-11-23T17:24:21.473" v="83369"/>
          <ac:cxnSpMkLst>
            <pc:docMk/>
            <pc:sldMk cId="2172680304" sldId="398"/>
            <ac:cxnSpMk id="228" creationId="{BE191C59-1A3A-0A58-5312-8200EF43A74D}"/>
          </ac:cxnSpMkLst>
        </pc:cxnChg>
        <pc:cxnChg chg="del mod">
          <ac:chgData name="Merlin Gutter" userId="2abc6f04-74af-430b-bdc8-569c3bfa1dda" providerId="ADAL" clId="{CB1EFBC3-10F5-3048-8961-5969497C0019}" dt="2022-11-23T17:24:21.470" v="83356"/>
          <ac:cxnSpMkLst>
            <pc:docMk/>
            <pc:sldMk cId="2172680304" sldId="398"/>
            <ac:cxnSpMk id="231" creationId="{B2D4622C-A6B1-E5A0-BB01-86CC8FAF7C92}"/>
          </ac:cxnSpMkLst>
        </pc:cxnChg>
        <pc:cxnChg chg="del mod">
          <ac:chgData name="Merlin Gutter" userId="2abc6f04-74af-430b-bdc8-569c3bfa1dda" providerId="ADAL" clId="{CB1EFBC3-10F5-3048-8961-5969497C0019}" dt="2022-11-23T17:24:21.469" v="83346"/>
          <ac:cxnSpMkLst>
            <pc:docMk/>
            <pc:sldMk cId="2172680304" sldId="398"/>
            <ac:cxnSpMk id="233" creationId="{153CE8EC-2C42-5472-4595-FE206DE57468}"/>
          </ac:cxnSpMkLst>
        </pc:cxnChg>
        <pc:cxnChg chg="del mod">
          <ac:chgData name="Merlin Gutter" userId="2abc6f04-74af-430b-bdc8-569c3bfa1dda" providerId="ADAL" clId="{CB1EFBC3-10F5-3048-8961-5969497C0019}" dt="2022-11-23T17:24:21.467" v="83336"/>
          <ac:cxnSpMkLst>
            <pc:docMk/>
            <pc:sldMk cId="2172680304" sldId="398"/>
            <ac:cxnSpMk id="235" creationId="{9C8BA09B-4925-0289-7A24-3D94A2FFC472}"/>
          </ac:cxnSpMkLst>
        </pc:cxnChg>
        <pc:cxnChg chg="del mod">
          <ac:chgData name="Merlin Gutter" userId="2abc6f04-74af-430b-bdc8-569c3bfa1dda" providerId="ADAL" clId="{CB1EFBC3-10F5-3048-8961-5969497C0019}" dt="2022-11-23T17:24:21.453" v="83279"/>
          <ac:cxnSpMkLst>
            <pc:docMk/>
            <pc:sldMk cId="2172680304" sldId="398"/>
            <ac:cxnSpMk id="326" creationId="{0796DF65-985A-7DC7-C7E1-4D9DE163F8AE}"/>
          </ac:cxnSpMkLst>
        </pc:cxnChg>
        <pc:cxnChg chg="del mod">
          <ac:chgData name="Merlin Gutter" userId="2abc6f04-74af-430b-bdc8-569c3bfa1dda" providerId="ADAL" clId="{CB1EFBC3-10F5-3048-8961-5969497C0019}" dt="2022-11-23T17:24:21.453" v="83277"/>
          <ac:cxnSpMkLst>
            <pc:docMk/>
            <pc:sldMk cId="2172680304" sldId="398"/>
            <ac:cxnSpMk id="327" creationId="{CE3A590E-6AC0-D060-BFA8-8F5C334A6A85}"/>
          </ac:cxnSpMkLst>
        </pc:cxnChg>
        <pc:cxnChg chg="del mod">
          <ac:chgData name="Merlin Gutter" userId="2abc6f04-74af-430b-bdc8-569c3bfa1dda" providerId="ADAL" clId="{CB1EFBC3-10F5-3048-8961-5969497C0019}" dt="2022-11-23T17:24:21.452" v="83275"/>
          <ac:cxnSpMkLst>
            <pc:docMk/>
            <pc:sldMk cId="2172680304" sldId="398"/>
            <ac:cxnSpMk id="328" creationId="{0AE4D2DC-59E7-FCE3-5340-BF574B791973}"/>
          </ac:cxnSpMkLst>
        </pc:cxnChg>
        <pc:cxnChg chg="del mod">
          <ac:chgData name="Merlin Gutter" userId="2abc6f04-74af-430b-bdc8-569c3bfa1dda" providerId="ADAL" clId="{CB1EFBC3-10F5-3048-8961-5969497C0019}" dt="2022-11-23T17:24:21.451" v="83271"/>
          <ac:cxnSpMkLst>
            <pc:docMk/>
            <pc:sldMk cId="2172680304" sldId="398"/>
            <ac:cxnSpMk id="381" creationId="{457CE312-C0DC-0F5C-5B8B-912B30EA7C3D}"/>
          </ac:cxnSpMkLst>
        </pc:cxnChg>
        <pc:cxnChg chg="del mod">
          <ac:chgData name="Merlin Gutter" userId="2abc6f04-74af-430b-bdc8-569c3bfa1dda" providerId="ADAL" clId="{CB1EFBC3-10F5-3048-8961-5969497C0019}" dt="2022-11-23T17:24:21.451" v="83269"/>
          <ac:cxnSpMkLst>
            <pc:docMk/>
            <pc:sldMk cId="2172680304" sldId="398"/>
            <ac:cxnSpMk id="382" creationId="{7ED92058-A3E8-5E51-EB96-CC97C9437BD7}"/>
          </ac:cxnSpMkLst>
        </pc:cxnChg>
        <pc:cxnChg chg="del mod">
          <ac:chgData name="Merlin Gutter" userId="2abc6f04-74af-430b-bdc8-569c3bfa1dda" providerId="ADAL" clId="{CB1EFBC3-10F5-3048-8961-5969497C0019}" dt="2022-11-23T17:24:21.451" v="83267"/>
          <ac:cxnSpMkLst>
            <pc:docMk/>
            <pc:sldMk cId="2172680304" sldId="398"/>
            <ac:cxnSpMk id="383" creationId="{33534F8B-417F-CDE3-430C-CA3F942F4F06}"/>
          </ac:cxnSpMkLst>
        </pc:cxnChg>
        <pc:cxnChg chg="del mod">
          <ac:chgData name="Merlin Gutter" userId="2abc6f04-74af-430b-bdc8-569c3bfa1dda" providerId="ADAL" clId="{CB1EFBC3-10F5-3048-8961-5969497C0019}" dt="2022-11-23T17:24:21.450" v="83263"/>
          <ac:cxnSpMkLst>
            <pc:docMk/>
            <pc:sldMk cId="2172680304" sldId="398"/>
            <ac:cxnSpMk id="387" creationId="{17040920-7574-9678-5E32-4247AF87C4DA}"/>
          </ac:cxnSpMkLst>
        </pc:cxnChg>
        <pc:cxnChg chg="del mod">
          <ac:chgData name="Merlin Gutter" userId="2abc6f04-74af-430b-bdc8-569c3bfa1dda" providerId="ADAL" clId="{CB1EFBC3-10F5-3048-8961-5969497C0019}" dt="2022-11-23T17:24:21.449" v="83261"/>
          <ac:cxnSpMkLst>
            <pc:docMk/>
            <pc:sldMk cId="2172680304" sldId="398"/>
            <ac:cxnSpMk id="388" creationId="{AE187C29-CD3F-549B-6670-9106D8B9A8E5}"/>
          </ac:cxnSpMkLst>
        </pc:cxnChg>
        <pc:cxnChg chg="del mod">
          <ac:chgData name="Merlin Gutter" userId="2abc6f04-74af-430b-bdc8-569c3bfa1dda" providerId="ADAL" clId="{CB1EFBC3-10F5-3048-8961-5969497C0019}" dt="2022-11-23T17:24:21.449" v="83259"/>
          <ac:cxnSpMkLst>
            <pc:docMk/>
            <pc:sldMk cId="2172680304" sldId="398"/>
            <ac:cxnSpMk id="389" creationId="{6661D47C-5D15-C012-E53E-7F898F03871B}"/>
          </ac:cxnSpMkLst>
        </pc:cxnChg>
        <pc:cxnChg chg="del mod">
          <ac:chgData name="Merlin Gutter" userId="2abc6f04-74af-430b-bdc8-569c3bfa1dda" providerId="ADAL" clId="{CB1EFBC3-10F5-3048-8961-5969497C0019}" dt="2022-11-23T17:24:21.470" v="83354"/>
          <ac:cxnSpMkLst>
            <pc:docMk/>
            <pc:sldMk cId="2172680304" sldId="398"/>
            <ac:cxnSpMk id="408" creationId="{673B08D9-145F-249E-897F-0B8F338B4322}"/>
          </ac:cxnSpMkLst>
        </pc:cxnChg>
        <pc:cxnChg chg="del mod">
          <ac:chgData name="Merlin Gutter" userId="2abc6f04-74af-430b-bdc8-569c3bfa1dda" providerId="ADAL" clId="{CB1EFBC3-10F5-3048-8961-5969497C0019}" dt="2022-11-23T17:24:21.468" v="83344"/>
          <ac:cxnSpMkLst>
            <pc:docMk/>
            <pc:sldMk cId="2172680304" sldId="398"/>
            <ac:cxnSpMk id="410" creationId="{5A35DF61-481A-ADBE-456F-E2CE1F56C9D0}"/>
          </ac:cxnSpMkLst>
        </pc:cxnChg>
        <pc:cxnChg chg="del mod">
          <ac:chgData name="Merlin Gutter" userId="2abc6f04-74af-430b-bdc8-569c3bfa1dda" providerId="ADAL" clId="{CB1EFBC3-10F5-3048-8961-5969497C0019}" dt="2022-11-23T17:24:21.466" v="83334"/>
          <ac:cxnSpMkLst>
            <pc:docMk/>
            <pc:sldMk cId="2172680304" sldId="398"/>
            <ac:cxnSpMk id="412" creationId="{1B89F2C6-D2C5-481B-287F-FF68CD9A5949}"/>
          </ac:cxnSpMkLst>
        </pc:cxnChg>
        <pc:cxnChg chg="del mod">
          <ac:chgData name="Merlin Gutter" userId="2abc6f04-74af-430b-bdc8-569c3bfa1dda" providerId="ADAL" clId="{CB1EFBC3-10F5-3048-8961-5969497C0019}" dt="2022-11-23T17:24:21.472" v="83366"/>
          <ac:cxnSpMkLst>
            <pc:docMk/>
            <pc:sldMk cId="2172680304" sldId="398"/>
            <ac:cxnSpMk id="431" creationId="{CEE8284B-99A5-8437-10DA-69E6C8F09ACD}"/>
          </ac:cxnSpMkLst>
        </pc:cxnChg>
        <pc:cxnChg chg="del mod">
          <ac:chgData name="Merlin Gutter" userId="2abc6f04-74af-430b-bdc8-569c3bfa1dda" providerId="ADAL" clId="{CB1EFBC3-10F5-3048-8961-5969497C0019}" dt="2022-11-23T17:24:21.472" v="83364"/>
          <ac:cxnSpMkLst>
            <pc:docMk/>
            <pc:sldMk cId="2172680304" sldId="398"/>
            <ac:cxnSpMk id="432" creationId="{36A99B78-9B88-D1EC-3D0C-10FB4B33E911}"/>
          </ac:cxnSpMkLst>
        </pc:cxnChg>
        <pc:cxnChg chg="del mod">
          <ac:chgData name="Merlin Gutter" userId="2abc6f04-74af-430b-bdc8-569c3bfa1dda" providerId="ADAL" clId="{CB1EFBC3-10F5-3048-8961-5969497C0019}" dt="2022-11-23T17:24:21.471" v="83361"/>
          <ac:cxnSpMkLst>
            <pc:docMk/>
            <pc:sldMk cId="2172680304" sldId="398"/>
            <ac:cxnSpMk id="433" creationId="{9F2075F1-1CCA-86C6-DBB9-731191CD5BF2}"/>
          </ac:cxnSpMkLst>
        </pc:cxnChg>
        <pc:cxnChg chg="del mod">
          <ac:chgData name="Merlin Gutter" userId="2abc6f04-74af-430b-bdc8-569c3bfa1dda" providerId="ADAL" clId="{CB1EFBC3-10F5-3048-8961-5969497C0019}" dt="2022-11-23T17:24:21.471" v="83359"/>
          <ac:cxnSpMkLst>
            <pc:docMk/>
            <pc:sldMk cId="2172680304" sldId="398"/>
            <ac:cxnSpMk id="434" creationId="{49458954-C9F1-A38A-8864-B1384C131185}"/>
          </ac:cxnSpMkLst>
        </pc:cxnChg>
        <pc:cxnChg chg="del mod">
          <ac:chgData name="Merlin Gutter" userId="2abc6f04-74af-430b-bdc8-569c3bfa1dda" providerId="ADAL" clId="{CB1EFBC3-10F5-3048-8961-5969497C0019}" dt="2022-11-23T17:24:21.469" v="83351"/>
          <ac:cxnSpMkLst>
            <pc:docMk/>
            <pc:sldMk cId="2172680304" sldId="398"/>
            <ac:cxnSpMk id="435" creationId="{85DD01DE-21FB-C7C2-2DBE-416879CFF66D}"/>
          </ac:cxnSpMkLst>
        </pc:cxnChg>
        <pc:cxnChg chg="del mod">
          <ac:chgData name="Merlin Gutter" userId="2abc6f04-74af-430b-bdc8-569c3bfa1dda" providerId="ADAL" clId="{CB1EFBC3-10F5-3048-8961-5969497C0019}" dt="2022-11-23T17:24:21.469" v="83349"/>
          <ac:cxnSpMkLst>
            <pc:docMk/>
            <pc:sldMk cId="2172680304" sldId="398"/>
            <ac:cxnSpMk id="436" creationId="{28819932-92DC-ED91-FF9C-8E3F400B42F5}"/>
          </ac:cxnSpMkLst>
        </pc:cxnChg>
        <pc:cxnChg chg="del mod">
          <ac:chgData name="Merlin Gutter" userId="2abc6f04-74af-430b-bdc8-569c3bfa1dda" providerId="ADAL" clId="{CB1EFBC3-10F5-3048-8961-5969497C0019}" dt="2022-11-23T17:24:21.468" v="83341"/>
          <ac:cxnSpMkLst>
            <pc:docMk/>
            <pc:sldMk cId="2172680304" sldId="398"/>
            <ac:cxnSpMk id="437" creationId="{E51121C7-83F9-B3A6-FF04-F8517BCD2705}"/>
          </ac:cxnSpMkLst>
        </pc:cxnChg>
        <pc:cxnChg chg="del mod">
          <ac:chgData name="Merlin Gutter" userId="2abc6f04-74af-430b-bdc8-569c3bfa1dda" providerId="ADAL" clId="{CB1EFBC3-10F5-3048-8961-5969497C0019}" dt="2022-11-23T17:24:21.467" v="83339"/>
          <ac:cxnSpMkLst>
            <pc:docMk/>
            <pc:sldMk cId="2172680304" sldId="398"/>
            <ac:cxnSpMk id="438" creationId="{25EAF4F5-E92F-E119-0DE8-99DC38A1B848}"/>
          </ac:cxnSpMkLst>
        </pc:cxnChg>
      </pc:sldChg>
      <pc:sldChg chg="addSp delSp modSp add del mod">
        <pc:chgData name="Merlin Gutter" userId="2abc6f04-74af-430b-bdc8-569c3bfa1dda" providerId="ADAL" clId="{CB1EFBC3-10F5-3048-8961-5969497C0019}" dt="2022-11-23T17:24:16.714" v="82604" actId="2696"/>
        <pc:sldMkLst>
          <pc:docMk/>
          <pc:sldMk cId="3109927635" sldId="398"/>
        </pc:sldMkLst>
        <pc:spChg chg="mod">
          <ac:chgData name="Merlin Gutter" userId="2abc6f04-74af-430b-bdc8-569c3bfa1dda" providerId="ADAL" clId="{CB1EFBC3-10F5-3048-8961-5969497C0019}" dt="2022-11-23T17:24:12.347" v="82339"/>
          <ac:spMkLst>
            <pc:docMk/>
            <pc:sldMk cId="3109927635" sldId="398"/>
            <ac:spMk id="2" creationId="{EBDD7A3D-4F52-3DE2-F933-8449D83DCF02}"/>
          </ac:spMkLst>
        </pc:spChg>
        <pc:spChg chg="mod">
          <ac:chgData name="Merlin Gutter" userId="2abc6f04-74af-430b-bdc8-569c3bfa1dda" providerId="ADAL" clId="{CB1EFBC3-10F5-3048-8961-5969497C0019}" dt="2022-11-23T17:24:12.348" v="82340"/>
          <ac:spMkLst>
            <pc:docMk/>
            <pc:sldMk cId="3109927635" sldId="398"/>
            <ac:spMk id="3" creationId="{4B23F066-78F6-ED99-A2E1-FCA243435AA8}"/>
          </ac:spMkLst>
        </pc:spChg>
        <pc:spChg chg="mod">
          <ac:chgData name="Merlin Gutter" userId="2abc6f04-74af-430b-bdc8-569c3bfa1dda" providerId="ADAL" clId="{CB1EFBC3-10F5-3048-8961-5969497C0019}" dt="2022-11-23T17:24:12.348" v="82341"/>
          <ac:spMkLst>
            <pc:docMk/>
            <pc:sldMk cId="3109927635" sldId="398"/>
            <ac:spMk id="4" creationId="{419A56F2-33FC-B13B-F824-5320C14683F0}"/>
          </ac:spMkLst>
        </pc:spChg>
        <pc:spChg chg="mod">
          <ac:chgData name="Merlin Gutter" userId="2abc6f04-74af-430b-bdc8-569c3bfa1dda" providerId="ADAL" clId="{CB1EFBC3-10F5-3048-8961-5969497C0019}" dt="2022-11-23T17:24:12.348" v="82342"/>
          <ac:spMkLst>
            <pc:docMk/>
            <pc:sldMk cId="3109927635" sldId="398"/>
            <ac:spMk id="5" creationId="{64E62B09-B628-9390-D8F1-925831825F25}"/>
          </ac:spMkLst>
        </pc:spChg>
        <pc:spChg chg="mod">
          <ac:chgData name="Merlin Gutter" userId="2abc6f04-74af-430b-bdc8-569c3bfa1dda" providerId="ADAL" clId="{CB1EFBC3-10F5-3048-8961-5969497C0019}" dt="2022-11-23T17:24:12.348" v="82343"/>
          <ac:spMkLst>
            <pc:docMk/>
            <pc:sldMk cId="3109927635" sldId="398"/>
            <ac:spMk id="6" creationId="{5CD15DEF-BD86-6BAD-F618-0FCA1640781D}"/>
          </ac:spMkLst>
        </pc:spChg>
        <pc:spChg chg="mod">
          <ac:chgData name="Merlin Gutter" userId="2abc6f04-74af-430b-bdc8-569c3bfa1dda" providerId="ADAL" clId="{CB1EFBC3-10F5-3048-8961-5969497C0019}" dt="2022-11-23T17:24:12.367" v="82436"/>
          <ac:spMkLst>
            <pc:docMk/>
            <pc:sldMk cId="3109927635" sldId="398"/>
            <ac:spMk id="9" creationId="{A288F178-0675-D978-CFEB-B90888260247}"/>
          </ac:spMkLst>
        </pc:spChg>
        <pc:spChg chg="add del mod modVis">
          <ac:chgData name="Merlin Gutter" userId="2abc6f04-74af-430b-bdc8-569c3bfa1dda" providerId="ADAL" clId="{CB1EFBC3-10F5-3048-8961-5969497C0019}" dt="2022-11-23T17:24:12.373" v="82461"/>
          <ac:spMkLst>
            <pc:docMk/>
            <pc:sldMk cId="3109927635" sldId="398"/>
            <ac:spMk id="10" creationId="{12E81955-A09B-54C5-01AE-4731A064C92F}"/>
          </ac:spMkLst>
        </pc:spChg>
        <pc:spChg chg="del">
          <ac:chgData name="Merlin Gutter" userId="2abc6f04-74af-430b-bdc8-569c3bfa1dda" providerId="ADAL" clId="{CB1EFBC3-10F5-3048-8961-5969497C0019}" dt="2022-11-23T17:24:12.156" v="81918"/>
          <ac:spMkLst>
            <pc:docMk/>
            <pc:sldMk cId="3109927635" sldId="398"/>
            <ac:spMk id="11" creationId="{A53FEEEA-7C1F-95E2-9F1D-826981E30A99}"/>
          </ac:spMkLst>
        </pc:spChg>
        <pc:spChg chg="del">
          <ac:chgData name="Merlin Gutter" userId="2abc6f04-74af-430b-bdc8-569c3bfa1dda" providerId="ADAL" clId="{CB1EFBC3-10F5-3048-8961-5969497C0019}" dt="2022-11-23T17:24:12.160" v="81934"/>
          <ac:spMkLst>
            <pc:docMk/>
            <pc:sldMk cId="3109927635" sldId="398"/>
            <ac:spMk id="12" creationId="{ADDE32B0-4671-19EE-14EC-7DB8A8F0E55A}"/>
          </ac:spMkLst>
        </pc:spChg>
        <pc:spChg chg="del">
          <ac:chgData name="Merlin Gutter" userId="2abc6f04-74af-430b-bdc8-569c3bfa1dda" providerId="ADAL" clId="{CB1EFBC3-10F5-3048-8961-5969497C0019}" dt="2022-11-23T17:24:12.165" v="81951"/>
          <ac:spMkLst>
            <pc:docMk/>
            <pc:sldMk cId="3109927635" sldId="398"/>
            <ac:spMk id="13" creationId="{0E67283A-44CA-8FAF-8B7B-725B81291DE0}"/>
          </ac:spMkLst>
        </pc:spChg>
        <pc:spChg chg="add del mod replST">
          <ac:chgData name="Merlin Gutter" userId="2abc6f04-74af-430b-bdc8-569c3bfa1dda" providerId="ADAL" clId="{CB1EFBC3-10F5-3048-8961-5969497C0019}" dt="2022-11-23T17:24:13.869" v="82597"/>
          <ac:spMkLst>
            <pc:docMk/>
            <pc:sldMk cId="3109927635" sldId="398"/>
            <ac:spMk id="14" creationId="{9932D944-9E68-1285-B81B-AFC0710D4CB5}"/>
          </ac:spMkLst>
        </pc:spChg>
        <pc:spChg chg="add del mod replST">
          <ac:chgData name="Merlin Gutter" userId="2abc6f04-74af-430b-bdc8-569c3bfa1dda" providerId="ADAL" clId="{CB1EFBC3-10F5-3048-8961-5969497C0019}" dt="2022-11-23T17:24:13.869" v="82596"/>
          <ac:spMkLst>
            <pc:docMk/>
            <pc:sldMk cId="3109927635" sldId="398"/>
            <ac:spMk id="15" creationId="{F3E79F85-4DBD-0996-75E2-7BA777B3C673}"/>
          </ac:spMkLst>
        </pc:spChg>
        <pc:spChg chg="add del mod replST">
          <ac:chgData name="Merlin Gutter" userId="2abc6f04-74af-430b-bdc8-569c3bfa1dda" providerId="ADAL" clId="{CB1EFBC3-10F5-3048-8961-5969497C0019}" dt="2022-11-23T17:24:13.869" v="82595"/>
          <ac:spMkLst>
            <pc:docMk/>
            <pc:sldMk cId="3109927635" sldId="398"/>
            <ac:spMk id="16" creationId="{6E5D9AD4-32D3-7D39-7584-FFC5BDBC4864}"/>
          </ac:spMkLst>
        </pc:spChg>
        <pc:spChg chg="mod">
          <ac:chgData name="Merlin Gutter" userId="2abc6f04-74af-430b-bdc8-569c3bfa1dda" providerId="ADAL" clId="{CB1EFBC3-10F5-3048-8961-5969497C0019}" dt="2022-11-23T17:24:12.367" v="82437"/>
          <ac:spMkLst>
            <pc:docMk/>
            <pc:sldMk cId="3109927635" sldId="398"/>
            <ac:spMk id="17" creationId="{DD44C274-FD08-2D09-311F-E4389C7B00B0}"/>
          </ac:spMkLst>
        </pc:spChg>
        <pc:spChg chg="mod">
          <ac:chgData name="Merlin Gutter" userId="2abc6f04-74af-430b-bdc8-569c3bfa1dda" providerId="ADAL" clId="{CB1EFBC3-10F5-3048-8961-5969497C0019}" dt="2022-11-23T17:24:12.367" v="82438"/>
          <ac:spMkLst>
            <pc:docMk/>
            <pc:sldMk cId="3109927635" sldId="398"/>
            <ac:spMk id="19" creationId="{C6AC4D07-7F73-4940-3C80-324F7C0892C1}"/>
          </ac:spMkLst>
        </pc:spChg>
        <pc:spChg chg="mod">
          <ac:chgData name="Merlin Gutter" userId="2abc6f04-74af-430b-bdc8-569c3bfa1dda" providerId="ADAL" clId="{CB1EFBC3-10F5-3048-8961-5969497C0019}" dt="2022-11-23T17:24:12.367" v="82439"/>
          <ac:spMkLst>
            <pc:docMk/>
            <pc:sldMk cId="3109927635" sldId="398"/>
            <ac:spMk id="21" creationId="{37AB68F3-CA7E-77F5-58C1-D832A565C52F}"/>
          </ac:spMkLst>
        </pc:spChg>
        <pc:spChg chg="del mod">
          <ac:chgData name="Merlin Gutter" userId="2abc6f04-74af-430b-bdc8-569c3bfa1dda" providerId="ADAL" clId="{CB1EFBC3-10F5-3048-8961-5969497C0019}" dt="2022-11-23T17:24:13.831" v="82465"/>
          <ac:spMkLst>
            <pc:docMk/>
            <pc:sldMk cId="3109927635" sldId="398"/>
            <ac:spMk id="23" creationId="{DC9273EB-C6FF-14E8-51E2-69145B1C568C}"/>
          </ac:spMkLst>
        </pc:spChg>
        <pc:spChg chg="mod">
          <ac:chgData name="Merlin Gutter" userId="2abc6f04-74af-430b-bdc8-569c3bfa1dda" providerId="ADAL" clId="{CB1EFBC3-10F5-3048-8961-5969497C0019}" dt="2022-11-23T17:24:12.367" v="82440"/>
          <ac:spMkLst>
            <pc:docMk/>
            <pc:sldMk cId="3109927635" sldId="398"/>
            <ac:spMk id="24" creationId="{8BD5EC25-7BF3-EDEB-C243-2E367D96EA94}"/>
          </ac:spMkLst>
        </pc:spChg>
        <pc:spChg chg="mod">
          <ac:chgData name="Merlin Gutter" userId="2abc6f04-74af-430b-bdc8-569c3bfa1dda" providerId="ADAL" clId="{CB1EFBC3-10F5-3048-8961-5969497C0019}" dt="2022-11-23T17:24:12.368" v="82441"/>
          <ac:spMkLst>
            <pc:docMk/>
            <pc:sldMk cId="3109927635" sldId="398"/>
            <ac:spMk id="25" creationId="{7EFCEFA2-BD43-FAAA-E7A3-9B1EAE82C022}"/>
          </ac:spMkLst>
        </pc:spChg>
        <pc:spChg chg="mod">
          <ac:chgData name="Merlin Gutter" userId="2abc6f04-74af-430b-bdc8-569c3bfa1dda" providerId="ADAL" clId="{CB1EFBC3-10F5-3048-8961-5969497C0019}" dt="2022-11-23T17:24:12.368" v="82442"/>
          <ac:spMkLst>
            <pc:docMk/>
            <pc:sldMk cId="3109927635" sldId="398"/>
            <ac:spMk id="26" creationId="{C1CD8BDF-5978-5C92-F1EB-8F5F44BA29BD}"/>
          </ac:spMkLst>
        </pc:spChg>
        <pc:spChg chg="del mod">
          <ac:chgData name="Merlin Gutter" userId="2abc6f04-74af-430b-bdc8-569c3bfa1dda" providerId="ADAL" clId="{CB1EFBC3-10F5-3048-8961-5969497C0019}" dt="2022-11-23T17:24:13.834" v="82468"/>
          <ac:spMkLst>
            <pc:docMk/>
            <pc:sldMk cId="3109927635" sldId="398"/>
            <ac:spMk id="27" creationId="{F7100A5A-841E-E2C8-B3C9-2586A03514A3}"/>
          </ac:spMkLst>
        </pc:spChg>
        <pc:spChg chg="del mod">
          <ac:chgData name="Merlin Gutter" userId="2abc6f04-74af-430b-bdc8-569c3bfa1dda" providerId="ADAL" clId="{CB1EFBC3-10F5-3048-8961-5969497C0019}" dt="2022-11-23T17:24:13.837" v="82475"/>
          <ac:spMkLst>
            <pc:docMk/>
            <pc:sldMk cId="3109927635" sldId="398"/>
            <ac:spMk id="28" creationId="{9C92382B-3252-975B-491D-3C319195521F}"/>
          </ac:spMkLst>
        </pc:spChg>
        <pc:spChg chg="del mod">
          <ac:chgData name="Merlin Gutter" userId="2abc6f04-74af-430b-bdc8-569c3bfa1dda" providerId="ADAL" clId="{CB1EFBC3-10F5-3048-8961-5969497C0019}" dt="2022-11-23T17:24:13.836" v="82472"/>
          <ac:spMkLst>
            <pc:docMk/>
            <pc:sldMk cId="3109927635" sldId="398"/>
            <ac:spMk id="29" creationId="{54302D63-9E30-93F1-8B2F-B2B66D817369}"/>
          </ac:spMkLst>
        </pc:spChg>
        <pc:spChg chg="del mod">
          <ac:chgData name="Merlin Gutter" userId="2abc6f04-74af-430b-bdc8-569c3bfa1dda" providerId="ADAL" clId="{CB1EFBC3-10F5-3048-8961-5969497C0019}" dt="2022-11-23T17:24:13.833" v="82466"/>
          <ac:spMkLst>
            <pc:docMk/>
            <pc:sldMk cId="3109927635" sldId="398"/>
            <ac:spMk id="30" creationId="{489FD541-C06B-1A32-2BBE-F7651954E86A}"/>
          </ac:spMkLst>
        </pc:spChg>
        <pc:spChg chg="del mod">
          <ac:chgData name="Merlin Gutter" userId="2abc6f04-74af-430b-bdc8-569c3bfa1dda" providerId="ADAL" clId="{CB1EFBC3-10F5-3048-8961-5969497C0019}" dt="2022-11-23T17:24:13.835" v="82469"/>
          <ac:spMkLst>
            <pc:docMk/>
            <pc:sldMk cId="3109927635" sldId="398"/>
            <ac:spMk id="31" creationId="{B179F675-4222-915E-50E3-0F874B2D2246}"/>
          </ac:spMkLst>
        </pc:spChg>
        <pc:spChg chg="del mod">
          <ac:chgData name="Merlin Gutter" userId="2abc6f04-74af-430b-bdc8-569c3bfa1dda" providerId="ADAL" clId="{CB1EFBC3-10F5-3048-8961-5969497C0019}" dt="2022-11-23T17:24:13.838" v="82477"/>
          <ac:spMkLst>
            <pc:docMk/>
            <pc:sldMk cId="3109927635" sldId="398"/>
            <ac:spMk id="32" creationId="{343DB04A-433F-933A-1918-FA31581C5DD4}"/>
          </ac:spMkLst>
        </pc:spChg>
        <pc:spChg chg="del mod">
          <ac:chgData name="Merlin Gutter" userId="2abc6f04-74af-430b-bdc8-569c3bfa1dda" providerId="ADAL" clId="{CB1EFBC3-10F5-3048-8961-5969497C0019}" dt="2022-11-23T17:24:13.837" v="82474"/>
          <ac:spMkLst>
            <pc:docMk/>
            <pc:sldMk cId="3109927635" sldId="398"/>
            <ac:spMk id="33" creationId="{96A54093-5254-D635-FFCC-101565A9D5BD}"/>
          </ac:spMkLst>
        </pc:spChg>
        <pc:spChg chg="del mod">
          <ac:chgData name="Merlin Gutter" userId="2abc6f04-74af-430b-bdc8-569c3bfa1dda" providerId="ADAL" clId="{CB1EFBC3-10F5-3048-8961-5969497C0019}" dt="2022-11-23T17:24:13.835" v="82471"/>
          <ac:spMkLst>
            <pc:docMk/>
            <pc:sldMk cId="3109927635" sldId="398"/>
            <ac:spMk id="34" creationId="{D16D1F97-A490-067E-F166-2196A5026DB3}"/>
          </ac:spMkLst>
        </pc:spChg>
        <pc:spChg chg="del mod">
          <ac:chgData name="Merlin Gutter" userId="2abc6f04-74af-430b-bdc8-569c3bfa1dda" providerId="ADAL" clId="{CB1EFBC3-10F5-3048-8961-5969497C0019}" dt="2022-11-23T17:24:13.839" v="82480"/>
          <ac:spMkLst>
            <pc:docMk/>
            <pc:sldMk cId="3109927635" sldId="398"/>
            <ac:spMk id="36" creationId="{E97931BC-87D8-0BBA-0D21-319EF9F777EA}"/>
          </ac:spMkLst>
        </pc:spChg>
        <pc:spChg chg="del mod">
          <ac:chgData name="Merlin Gutter" userId="2abc6f04-74af-430b-bdc8-569c3bfa1dda" providerId="ADAL" clId="{CB1EFBC3-10F5-3048-8961-5969497C0019}" dt="2022-11-23T17:24:13.838" v="82478"/>
          <ac:spMkLst>
            <pc:docMk/>
            <pc:sldMk cId="3109927635" sldId="398"/>
            <ac:spMk id="37" creationId="{E566F33B-0E26-EB72-47C4-0D5C9E5F657E}"/>
          </ac:spMkLst>
        </pc:spChg>
        <pc:spChg chg="del mod">
          <ac:chgData name="Merlin Gutter" userId="2abc6f04-74af-430b-bdc8-569c3bfa1dda" providerId="ADAL" clId="{CB1EFBC3-10F5-3048-8961-5969497C0019}" dt="2022-11-23T17:24:13.839" v="82481"/>
          <ac:spMkLst>
            <pc:docMk/>
            <pc:sldMk cId="3109927635" sldId="398"/>
            <ac:spMk id="38" creationId="{9784F329-C167-C5D6-9344-D4DC82A41177}"/>
          </ac:spMkLst>
        </pc:spChg>
        <pc:spChg chg="mod">
          <ac:chgData name="Merlin Gutter" userId="2abc6f04-74af-430b-bdc8-569c3bfa1dda" providerId="ADAL" clId="{CB1EFBC3-10F5-3048-8961-5969497C0019}" dt="2022-11-23T17:24:12.371" v="82455"/>
          <ac:spMkLst>
            <pc:docMk/>
            <pc:sldMk cId="3109927635" sldId="398"/>
            <ac:spMk id="47" creationId="{81DFD405-5312-0EE5-93C1-D3D639815F6E}"/>
          </ac:spMkLst>
        </pc:spChg>
        <pc:spChg chg="del mod">
          <ac:chgData name="Merlin Gutter" userId="2abc6f04-74af-430b-bdc8-569c3bfa1dda" providerId="ADAL" clId="{CB1EFBC3-10F5-3048-8961-5969497C0019}" dt="2022-11-23T17:24:13.861" v="82555"/>
          <ac:spMkLst>
            <pc:docMk/>
            <pc:sldMk cId="3109927635" sldId="398"/>
            <ac:spMk id="125" creationId="{DE60708C-C90B-3DFC-AE23-71A9F3AEAF48}"/>
          </ac:spMkLst>
        </pc:spChg>
        <pc:spChg chg="del mod">
          <ac:chgData name="Merlin Gutter" userId="2abc6f04-74af-430b-bdc8-569c3bfa1dda" providerId="ADAL" clId="{CB1EFBC3-10F5-3048-8961-5969497C0019}" dt="2022-11-23T17:24:13.860" v="82554"/>
          <ac:spMkLst>
            <pc:docMk/>
            <pc:sldMk cId="3109927635" sldId="398"/>
            <ac:spMk id="126" creationId="{93D1F641-308D-9713-5F4B-6C85F504F8B1}"/>
          </ac:spMkLst>
        </pc:spChg>
        <pc:spChg chg="del mod">
          <ac:chgData name="Merlin Gutter" userId="2abc6f04-74af-430b-bdc8-569c3bfa1dda" providerId="ADAL" clId="{CB1EFBC3-10F5-3048-8961-5969497C0019}" dt="2022-11-23T17:24:13.860" v="82553"/>
          <ac:spMkLst>
            <pc:docMk/>
            <pc:sldMk cId="3109927635" sldId="398"/>
            <ac:spMk id="127" creationId="{C6B2962A-FB1B-3469-95D8-629FD74FE675}"/>
          </ac:spMkLst>
        </pc:spChg>
        <pc:spChg chg="del mod">
          <ac:chgData name="Merlin Gutter" userId="2abc6f04-74af-430b-bdc8-569c3bfa1dda" providerId="ADAL" clId="{CB1EFBC3-10F5-3048-8961-5969497C0019}" dt="2022-11-23T17:24:13.860" v="82552"/>
          <ac:spMkLst>
            <pc:docMk/>
            <pc:sldMk cId="3109927635" sldId="398"/>
            <ac:spMk id="128" creationId="{C16680B5-DB37-2F62-5B84-AFEB3120FABF}"/>
          </ac:spMkLst>
        </pc:spChg>
        <pc:spChg chg="del mod">
          <ac:chgData name="Merlin Gutter" userId="2abc6f04-74af-430b-bdc8-569c3bfa1dda" providerId="ADAL" clId="{CB1EFBC3-10F5-3048-8961-5969497C0019}" dt="2022-11-23T17:24:13.860" v="82551"/>
          <ac:spMkLst>
            <pc:docMk/>
            <pc:sldMk cId="3109927635" sldId="398"/>
            <ac:spMk id="129" creationId="{249EC2D3-8F67-704B-301C-A65728D8723C}"/>
          </ac:spMkLst>
        </pc:spChg>
        <pc:spChg chg="del mod">
          <ac:chgData name="Merlin Gutter" userId="2abc6f04-74af-430b-bdc8-569c3bfa1dda" providerId="ADAL" clId="{CB1EFBC3-10F5-3048-8961-5969497C0019}" dt="2022-11-23T17:24:13.859" v="82550"/>
          <ac:spMkLst>
            <pc:docMk/>
            <pc:sldMk cId="3109927635" sldId="398"/>
            <ac:spMk id="130" creationId="{C983C178-09C1-45E5-362D-7FCAC7DDE5B1}"/>
          </ac:spMkLst>
        </pc:spChg>
        <pc:spChg chg="del mod">
          <ac:chgData name="Merlin Gutter" userId="2abc6f04-74af-430b-bdc8-569c3bfa1dda" providerId="ADAL" clId="{CB1EFBC3-10F5-3048-8961-5969497C0019}" dt="2022-11-23T17:24:13.859" v="82549"/>
          <ac:spMkLst>
            <pc:docMk/>
            <pc:sldMk cId="3109927635" sldId="398"/>
            <ac:spMk id="131" creationId="{83C6DF27-0B51-C660-244B-01EA3BD93791}"/>
          </ac:spMkLst>
        </pc:spChg>
        <pc:spChg chg="del mod">
          <ac:chgData name="Merlin Gutter" userId="2abc6f04-74af-430b-bdc8-569c3bfa1dda" providerId="ADAL" clId="{CB1EFBC3-10F5-3048-8961-5969497C0019}" dt="2022-11-23T17:24:13.859" v="82548"/>
          <ac:spMkLst>
            <pc:docMk/>
            <pc:sldMk cId="3109927635" sldId="398"/>
            <ac:spMk id="132" creationId="{BF41C1AA-8718-2498-87B2-AD74A78674ED}"/>
          </ac:spMkLst>
        </pc:spChg>
        <pc:spChg chg="del mod">
          <ac:chgData name="Merlin Gutter" userId="2abc6f04-74af-430b-bdc8-569c3bfa1dda" providerId="ADAL" clId="{CB1EFBC3-10F5-3048-8961-5969497C0019}" dt="2022-11-23T17:24:13.859" v="82547"/>
          <ac:spMkLst>
            <pc:docMk/>
            <pc:sldMk cId="3109927635" sldId="398"/>
            <ac:spMk id="133" creationId="{B1A10525-C936-C150-CB97-4A0674D9D86E}"/>
          </ac:spMkLst>
        </pc:spChg>
        <pc:spChg chg="del mod">
          <ac:chgData name="Merlin Gutter" userId="2abc6f04-74af-430b-bdc8-569c3bfa1dda" providerId="ADAL" clId="{CB1EFBC3-10F5-3048-8961-5969497C0019}" dt="2022-11-23T17:24:13.858" v="82546"/>
          <ac:spMkLst>
            <pc:docMk/>
            <pc:sldMk cId="3109927635" sldId="398"/>
            <ac:spMk id="134" creationId="{135CA4E2-CCA3-BCED-DDA1-95A66642CBB8}"/>
          </ac:spMkLst>
        </pc:spChg>
        <pc:spChg chg="del mod">
          <ac:chgData name="Merlin Gutter" userId="2abc6f04-74af-430b-bdc8-569c3bfa1dda" providerId="ADAL" clId="{CB1EFBC3-10F5-3048-8961-5969497C0019}" dt="2022-11-23T17:24:13.858" v="82545"/>
          <ac:spMkLst>
            <pc:docMk/>
            <pc:sldMk cId="3109927635" sldId="398"/>
            <ac:spMk id="135" creationId="{E61E8E78-6D7D-62BD-FFB2-E51497EB21FF}"/>
          </ac:spMkLst>
        </pc:spChg>
        <pc:spChg chg="del mod">
          <ac:chgData name="Merlin Gutter" userId="2abc6f04-74af-430b-bdc8-569c3bfa1dda" providerId="ADAL" clId="{CB1EFBC3-10F5-3048-8961-5969497C0019}" dt="2022-11-23T17:24:13.858" v="82544"/>
          <ac:spMkLst>
            <pc:docMk/>
            <pc:sldMk cId="3109927635" sldId="398"/>
            <ac:spMk id="136" creationId="{A30C869F-4C44-1FEB-2E00-766EA02E2871}"/>
          </ac:spMkLst>
        </pc:spChg>
        <pc:spChg chg="del mod">
          <ac:chgData name="Merlin Gutter" userId="2abc6f04-74af-430b-bdc8-569c3bfa1dda" providerId="ADAL" clId="{CB1EFBC3-10F5-3048-8961-5969497C0019}" dt="2022-11-23T17:24:13.858" v="82543"/>
          <ac:spMkLst>
            <pc:docMk/>
            <pc:sldMk cId="3109927635" sldId="398"/>
            <ac:spMk id="137" creationId="{90A0CE48-2CE3-B352-EB4A-C226EEC28B00}"/>
          </ac:spMkLst>
        </pc:spChg>
        <pc:spChg chg="del mod">
          <ac:chgData name="Merlin Gutter" userId="2abc6f04-74af-430b-bdc8-569c3bfa1dda" providerId="ADAL" clId="{CB1EFBC3-10F5-3048-8961-5969497C0019}" dt="2022-11-23T17:24:13.858" v="82542"/>
          <ac:spMkLst>
            <pc:docMk/>
            <pc:sldMk cId="3109927635" sldId="398"/>
            <ac:spMk id="138" creationId="{8BC9E89F-5EA9-704E-3BC1-F582ACEBF715}"/>
          </ac:spMkLst>
        </pc:spChg>
        <pc:spChg chg="del mod">
          <ac:chgData name="Merlin Gutter" userId="2abc6f04-74af-430b-bdc8-569c3bfa1dda" providerId="ADAL" clId="{CB1EFBC3-10F5-3048-8961-5969497C0019}" dt="2022-11-23T17:24:13.857" v="82541"/>
          <ac:spMkLst>
            <pc:docMk/>
            <pc:sldMk cId="3109927635" sldId="398"/>
            <ac:spMk id="139" creationId="{995343CC-C281-045E-CD70-B7B7949058D7}"/>
          </ac:spMkLst>
        </pc:spChg>
        <pc:spChg chg="del mod">
          <ac:chgData name="Merlin Gutter" userId="2abc6f04-74af-430b-bdc8-569c3bfa1dda" providerId="ADAL" clId="{CB1EFBC3-10F5-3048-8961-5969497C0019}" dt="2022-11-23T17:24:13.857" v="82540"/>
          <ac:spMkLst>
            <pc:docMk/>
            <pc:sldMk cId="3109927635" sldId="398"/>
            <ac:spMk id="140" creationId="{995ABC59-F07B-2A6B-E371-6B58815C820F}"/>
          </ac:spMkLst>
        </pc:spChg>
        <pc:spChg chg="del mod">
          <ac:chgData name="Merlin Gutter" userId="2abc6f04-74af-430b-bdc8-569c3bfa1dda" providerId="ADAL" clId="{CB1EFBC3-10F5-3048-8961-5969497C0019}" dt="2022-11-23T17:24:13.857" v="82539"/>
          <ac:spMkLst>
            <pc:docMk/>
            <pc:sldMk cId="3109927635" sldId="398"/>
            <ac:spMk id="141" creationId="{08B3CF0E-168B-FD45-758D-71B5E2C25E8D}"/>
          </ac:spMkLst>
        </pc:spChg>
        <pc:spChg chg="del mod">
          <ac:chgData name="Merlin Gutter" userId="2abc6f04-74af-430b-bdc8-569c3bfa1dda" providerId="ADAL" clId="{CB1EFBC3-10F5-3048-8961-5969497C0019}" dt="2022-11-23T17:24:13.857" v="82538"/>
          <ac:spMkLst>
            <pc:docMk/>
            <pc:sldMk cId="3109927635" sldId="398"/>
            <ac:spMk id="142" creationId="{578517E2-F1FE-D68E-DEA2-ADCBE8740C15}"/>
          </ac:spMkLst>
        </pc:spChg>
        <pc:spChg chg="del mod">
          <ac:chgData name="Merlin Gutter" userId="2abc6f04-74af-430b-bdc8-569c3bfa1dda" providerId="ADAL" clId="{CB1EFBC3-10F5-3048-8961-5969497C0019}" dt="2022-11-23T17:24:13.856" v="82537"/>
          <ac:spMkLst>
            <pc:docMk/>
            <pc:sldMk cId="3109927635" sldId="398"/>
            <ac:spMk id="143" creationId="{DD14D22D-B152-0144-49A1-CB16D4DEAE7C}"/>
          </ac:spMkLst>
        </pc:spChg>
        <pc:spChg chg="del mod">
          <ac:chgData name="Merlin Gutter" userId="2abc6f04-74af-430b-bdc8-569c3bfa1dda" providerId="ADAL" clId="{CB1EFBC3-10F5-3048-8961-5969497C0019}" dt="2022-11-23T17:24:13.856" v="82536"/>
          <ac:spMkLst>
            <pc:docMk/>
            <pc:sldMk cId="3109927635" sldId="398"/>
            <ac:spMk id="144" creationId="{972779A2-C737-9FAF-422F-1F3017E1FFF8}"/>
          </ac:spMkLst>
        </pc:spChg>
        <pc:spChg chg="del mod">
          <ac:chgData name="Merlin Gutter" userId="2abc6f04-74af-430b-bdc8-569c3bfa1dda" providerId="ADAL" clId="{CB1EFBC3-10F5-3048-8961-5969497C0019}" dt="2022-11-23T17:24:13.856" v="82535"/>
          <ac:spMkLst>
            <pc:docMk/>
            <pc:sldMk cId="3109927635" sldId="398"/>
            <ac:spMk id="145" creationId="{7AC40686-4E40-C6A1-E20A-F8B4CB4F3AD8}"/>
          </ac:spMkLst>
        </pc:spChg>
        <pc:spChg chg="del mod">
          <ac:chgData name="Merlin Gutter" userId="2abc6f04-74af-430b-bdc8-569c3bfa1dda" providerId="ADAL" clId="{CB1EFBC3-10F5-3048-8961-5969497C0019}" dt="2022-11-23T17:24:13.856" v="82534"/>
          <ac:spMkLst>
            <pc:docMk/>
            <pc:sldMk cId="3109927635" sldId="398"/>
            <ac:spMk id="146" creationId="{EFE7EF36-3478-1DD0-3FD7-DB93C2773EB0}"/>
          </ac:spMkLst>
        </pc:spChg>
        <pc:spChg chg="del mod">
          <ac:chgData name="Merlin Gutter" userId="2abc6f04-74af-430b-bdc8-569c3bfa1dda" providerId="ADAL" clId="{CB1EFBC3-10F5-3048-8961-5969497C0019}" dt="2022-11-23T17:24:13.855" v="82533"/>
          <ac:spMkLst>
            <pc:docMk/>
            <pc:sldMk cId="3109927635" sldId="398"/>
            <ac:spMk id="147" creationId="{FA29487A-4402-1B15-A560-7DF41B2A8352}"/>
          </ac:spMkLst>
        </pc:spChg>
        <pc:spChg chg="del mod">
          <ac:chgData name="Merlin Gutter" userId="2abc6f04-74af-430b-bdc8-569c3bfa1dda" providerId="ADAL" clId="{CB1EFBC3-10F5-3048-8961-5969497C0019}" dt="2022-11-23T17:24:13.855" v="82532"/>
          <ac:spMkLst>
            <pc:docMk/>
            <pc:sldMk cId="3109927635" sldId="398"/>
            <ac:spMk id="148" creationId="{F664D887-8534-D264-5EE8-81DABA811AD0}"/>
          </ac:spMkLst>
        </pc:spChg>
        <pc:spChg chg="del mod">
          <ac:chgData name="Merlin Gutter" userId="2abc6f04-74af-430b-bdc8-569c3bfa1dda" providerId="ADAL" clId="{CB1EFBC3-10F5-3048-8961-5969497C0019}" dt="2022-11-23T17:24:13.855" v="82531"/>
          <ac:spMkLst>
            <pc:docMk/>
            <pc:sldMk cId="3109927635" sldId="398"/>
            <ac:spMk id="149" creationId="{1660FB55-9F23-B26A-3A09-E37CF90F73CA}"/>
          </ac:spMkLst>
        </pc:spChg>
        <pc:spChg chg="del mod">
          <ac:chgData name="Merlin Gutter" userId="2abc6f04-74af-430b-bdc8-569c3bfa1dda" providerId="ADAL" clId="{CB1EFBC3-10F5-3048-8961-5969497C0019}" dt="2022-11-23T17:24:13.855" v="82530"/>
          <ac:spMkLst>
            <pc:docMk/>
            <pc:sldMk cId="3109927635" sldId="398"/>
            <ac:spMk id="150" creationId="{0D29C39E-F2EF-F6F8-626C-DFF5AA585A83}"/>
          </ac:spMkLst>
        </pc:spChg>
        <pc:spChg chg="del mod">
          <ac:chgData name="Merlin Gutter" userId="2abc6f04-74af-430b-bdc8-569c3bfa1dda" providerId="ADAL" clId="{CB1EFBC3-10F5-3048-8961-5969497C0019}" dt="2022-11-23T17:24:13.854" v="82529"/>
          <ac:spMkLst>
            <pc:docMk/>
            <pc:sldMk cId="3109927635" sldId="398"/>
            <ac:spMk id="151" creationId="{6203F2F5-E415-4903-0BD5-F13812216840}"/>
          </ac:spMkLst>
        </pc:spChg>
        <pc:spChg chg="del mod">
          <ac:chgData name="Merlin Gutter" userId="2abc6f04-74af-430b-bdc8-569c3bfa1dda" providerId="ADAL" clId="{CB1EFBC3-10F5-3048-8961-5969497C0019}" dt="2022-11-23T17:24:13.854" v="82528"/>
          <ac:spMkLst>
            <pc:docMk/>
            <pc:sldMk cId="3109927635" sldId="398"/>
            <ac:spMk id="152" creationId="{FDD022B4-9263-1D0B-0FA7-25997597224A}"/>
          </ac:spMkLst>
        </pc:spChg>
        <pc:spChg chg="del mod">
          <ac:chgData name="Merlin Gutter" userId="2abc6f04-74af-430b-bdc8-569c3bfa1dda" providerId="ADAL" clId="{CB1EFBC3-10F5-3048-8961-5969497C0019}" dt="2022-11-23T17:24:13.854" v="82527"/>
          <ac:spMkLst>
            <pc:docMk/>
            <pc:sldMk cId="3109927635" sldId="398"/>
            <ac:spMk id="153" creationId="{487FF4C6-75BC-74B7-595C-048CA566E232}"/>
          </ac:spMkLst>
        </pc:spChg>
        <pc:spChg chg="del mod">
          <ac:chgData name="Merlin Gutter" userId="2abc6f04-74af-430b-bdc8-569c3bfa1dda" providerId="ADAL" clId="{CB1EFBC3-10F5-3048-8961-5969497C0019}" dt="2022-11-23T17:24:13.854" v="82526"/>
          <ac:spMkLst>
            <pc:docMk/>
            <pc:sldMk cId="3109927635" sldId="398"/>
            <ac:spMk id="154" creationId="{1BE0DC21-9A03-D7B6-1A07-B82C5056D735}"/>
          </ac:spMkLst>
        </pc:spChg>
        <pc:spChg chg="del mod">
          <ac:chgData name="Merlin Gutter" userId="2abc6f04-74af-430b-bdc8-569c3bfa1dda" providerId="ADAL" clId="{CB1EFBC3-10F5-3048-8961-5969497C0019}" dt="2022-11-23T17:24:13.853" v="82525"/>
          <ac:spMkLst>
            <pc:docMk/>
            <pc:sldMk cId="3109927635" sldId="398"/>
            <ac:spMk id="155" creationId="{B9FB4172-78EC-1DBD-430E-8D44879E9715}"/>
          </ac:spMkLst>
        </pc:spChg>
        <pc:spChg chg="del mod">
          <ac:chgData name="Merlin Gutter" userId="2abc6f04-74af-430b-bdc8-569c3bfa1dda" providerId="ADAL" clId="{CB1EFBC3-10F5-3048-8961-5969497C0019}" dt="2022-11-23T17:24:13.853" v="82524"/>
          <ac:spMkLst>
            <pc:docMk/>
            <pc:sldMk cId="3109927635" sldId="398"/>
            <ac:spMk id="156" creationId="{D2E26725-795F-692E-D465-B3D5673AA974}"/>
          </ac:spMkLst>
        </pc:spChg>
        <pc:spChg chg="del mod">
          <ac:chgData name="Merlin Gutter" userId="2abc6f04-74af-430b-bdc8-569c3bfa1dda" providerId="ADAL" clId="{CB1EFBC3-10F5-3048-8961-5969497C0019}" dt="2022-11-23T17:24:13.853" v="82523"/>
          <ac:spMkLst>
            <pc:docMk/>
            <pc:sldMk cId="3109927635" sldId="398"/>
            <ac:spMk id="157" creationId="{060DBE4B-0768-E5A2-73A8-A9CEF6967041}"/>
          </ac:spMkLst>
        </pc:spChg>
        <pc:spChg chg="del mod">
          <ac:chgData name="Merlin Gutter" userId="2abc6f04-74af-430b-bdc8-569c3bfa1dda" providerId="ADAL" clId="{CB1EFBC3-10F5-3048-8961-5969497C0019}" dt="2022-11-23T17:24:13.853" v="82522"/>
          <ac:spMkLst>
            <pc:docMk/>
            <pc:sldMk cId="3109927635" sldId="398"/>
            <ac:spMk id="158" creationId="{2B7BE101-9172-0609-7E48-D9C5B7F4AE01}"/>
          </ac:spMkLst>
        </pc:spChg>
        <pc:spChg chg="del mod">
          <ac:chgData name="Merlin Gutter" userId="2abc6f04-74af-430b-bdc8-569c3bfa1dda" providerId="ADAL" clId="{CB1EFBC3-10F5-3048-8961-5969497C0019}" dt="2022-11-23T17:24:13.852" v="82521"/>
          <ac:spMkLst>
            <pc:docMk/>
            <pc:sldMk cId="3109927635" sldId="398"/>
            <ac:spMk id="159" creationId="{36BBC77D-07A7-CC56-DF9A-F863D16FCFC3}"/>
          </ac:spMkLst>
        </pc:spChg>
        <pc:spChg chg="del mod">
          <ac:chgData name="Merlin Gutter" userId="2abc6f04-74af-430b-bdc8-569c3bfa1dda" providerId="ADAL" clId="{CB1EFBC3-10F5-3048-8961-5969497C0019}" dt="2022-11-23T17:24:13.852" v="82520"/>
          <ac:spMkLst>
            <pc:docMk/>
            <pc:sldMk cId="3109927635" sldId="398"/>
            <ac:spMk id="160" creationId="{0314C8F0-3CD9-EEF6-ADED-D49E7D8353FC}"/>
          </ac:spMkLst>
        </pc:spChg>
        <pc:spChg chg="del mod">
          <ac:chgData name="Merlin Gutter" userId="2abc6f04-74af-430b-bdc8-569c3bfa1dda" providerId="ADAL" clId="{CB1EFBC3-10F5-3048-8961-5969497C0019}" dt="2022-11-23T17:24:13.852" v="82519"/>
          <ac:spMkLst>
            <pc:docMk/>
            <pc:sldMk cId="3109927635" sldId="398"/>
            <ac:spMk id="161" creationId="{B2FF1CBD-0CCC-417F-818E-F1A8E08F58EB}"/>
          </ac:spMkLst>
        </pc:spChg>
        <pc:spChg chg="del mod">
          <ac:chgData name="Merlin Gutter" userId="2abc6f04-74af-430b-bdc8-569c3bfa1dda" providerId="ADAL" clId="{CB1EFBC3-10F5-3048-8961-5969497C0019}" dt="2022-11-23T17:24:13.851" v="82518"/>
          <ac:spMkLst>
            <pc:docMk/>
            <pc:sldMk cId="3109927635" sldId="398"/>
            <ac:spMk id="162" creationId="{27977A41-AB41-C72B-02F1-F456C6EB7DCB}"/>
          </ac:spMkLst>
        </pc:spChg>
        <pc:spChg chg="del mod">
          <ac:chgData name="Merlin Gutter" userId="2abc6f04-74af-430b-bdc8-569c3bfa1dda" providerId="ADAL" clId="{CB1EFBC3-10F5-3048-8961-5969497C0019}" dt="2022-11-23T17:24:13.851" v="82517"/>
          <ac:spMkLst>
            <pc:docMk/>
            <pc:sldMk cId="3109927635" sldId="398"/>
            <ac:spMk id="163" creationId="{5C4E85DC-2CE8-41D1-B83A-03F8C561A0CE}"/>
          </ac:spMkLst>
        </pc:spChg>
        <pc:spChg chg="del mod">
          <ac:chgData name="Merlin Gutter" userId="2abc6f04-74af-430b-bdc8-569c3bfa1dda" providerId="ADAL" clId="{CB1EFBC3-10F5-3048-8961-5969497C0019}" dt="2022-11-23T17:24:13.851" v="82516"/>
          <ac:spMkLst>
            <pc:docMk/>
            <pc:sldMk cId="3109927635" sldId="398"/>
            <ac:spMk id="164" creationId="{3448B320-747D-C22C-8C36-4F04CD473BF9}"/>
          </ac:spMkLst>
        </pc:spChg>
        <pc:spChg chg="del mod">
          <ac:chgData name="Merlin Gutter" userId="2abc6f04-74af-430b-bdc8-569c3bfa1dda" providerId="ADAL" clId="{CB1EFBC3-10F5-3048-8961-5969497C0019}" dt="2022-11-23T17:24:13.850" v="82515"/>
          <ac:spMkLst>
            <pc:docMk/>
            <pc:sldMk cId="3109927635" sldId="398"/>
            <ac:spMk id="165" creationId="{35F8EC9B-E066-6A85-AD3B-7C759E5052E6}"/>
          </ac:spMkLst>
        </pc:spChg>
        <pc:spChg chg="del mod">
          <ac:chgData name="Merlin Gutter" userId="2abc6f04-74af-430b-bdc8-569c3bfa1dda" providerId="ADAL" clId="{CB1EFBC3-10F5-3048-8961-5969497C0019}" dt="2022-11-23T17:24:13.850" v="82514"/>
          <ac:spMkLst>
            <pc:docMk/>
            <pc:sldMk cId="3109927635" sldId="398"/>
            <ac:spMk id="166" creationId="{9E75DBEC-F848-151D-59CF-CF802B007ED5}"/>
          </ac:spMkLst>
        </pc:spChg>
        <pc:spChg chg="del mod">
          <ac:chgData name="Merlin Gutter" userId="2abc6f04-74af-430b-bdc8-569c3bfa1dda" providerId="ADAL" clId="{CB1EFBC3-10F5-3048-8961-5969497C0019}" dt="2022-11-23T17:24:13.850" v="82513"/>
          <ac:spMkLst>
            <pc:docMk/>
            <pc:sldMk cId="3109927635" sldId="398"/>
            <ac:spMk id="167" creationId="{C9D964D3-5384-A093-D3E1-75F979956F26}"/>
          </ac:spMkLst>
        </pc:spChg>
        <pc:spChg chg="del mod">
          <ac:chgData name="Merlin Gutter" userId="2abc6f04-74af-430b-bdc8-569c3bfa1dda" providerId="ADAL" clId="{CB1EFBC3-10F5-3048-8961-5969497C0019}" dt="2022-11-23T17:24:13.850" v="82512"/>
          <ac:spMkLst>
            <pc:docMk/>
            <pc:sldMk cId="3109927635" sldId="398"/>
            <ac:spMk id="168" creationId="{26219115-148A-1BA4-7641-BE8C47E30640}"/>
          </ac:spMkLst>
        </pc:spChg>
        <pc:spChg chg="del mod">
          <ac:chgData name="Merlin Gutter" userId="2abc6f04-74af-430b-bdc8-569c3bfa1dda" providerId="ADAL" clId="{CB1EFBC3-10F5-3048-8961-5969497C0019}" dt="2022-11-23T17:24:13.849" v="82511"/>
          <ac:spMkLst>
            <pc:docMk/>
            <pc:sldMk cId="3109927635" sldId="398"/>
            <ac:spMk id="169" creationId="{BC95B0D2-88F3-A643-2A2D-34F6A89CB1DF}"/>
          </ac:spMkLst>
        </pc:spChg>
        <pc:spChg chg="del mod">
          <ac:chgData name="Merlin Gutter" userId="2abc6f04-74af-430b-bdc8-569c3bfa1dda" providerId="ADAL" clId="{CB1EFBC3-10F5-3048-8961-5969497C0019}" dt="2022-11-23T17:24:13.849" v="82510"/>
          <ac:spMkLst>
            <pc:docMk/>
            <pc:sldMk cId="3109927635" sldId="398"/>
            <ac:spMk id="170" creationId="{C655087D-AF87-8885-6B98-070818D2B9D8}"/>
          </ac:spMkLst>
        </pc:spChg>
        <pc:spChg chg="del mod">
          <ac:chgData name="Merlin Gutter" userId="2abc6f04-74af-430b-bdc8-569c3bfa1dda" providerId="ADAL" clId="{CB1EFBC3-10F5-3048-8961-5969497C0019}" dt="2022-11-23T17:24:13.849" v="82509"/>
          <ac:spMkLst>
            <pc:docMk/>
            <pc:sldMk cId="3109927635" sldId="398"/>
            <ac:spMk id="171" creationId="{9ECE62BE-B535-650F-267D-7E23F4B7E401}"/>
          </ac:spMkLst>
        </pc:spChg>
        <pc:spChg chg="del mod">
          <ac:chgData name="Merlin Gutter" userId="2abc6f04-74af-430b-bdc8-569c3bfa1dda" providerId="ADAL" clId="{CB1EFBC3-10F5-3048-8961-5969497C0019}" dt="2022-11-23T17:24:13.848" v="82508"/>
          <ac:spMkLst>
            <pc:docMk/>
            <pc:sldMk cId="3109927635" sldId="398"/>
            <ac:spMk id="172" creationId="{DA7E4DEF-A5C0-3F5C-ACE7-35DCF57E0E47}"/>
          </ac:spMkLst>
        </pc:spChg>
        <pc:spChg chg="del mod">
          <ac:chgData name="Merlin Gutter" userId="2abc6f04-74af-430b-bdc8-569c3bfa1dda" providerId="ADAL" clId="{CB1EFBC3-10F5-3048-8961-5969497C0019}" dt="2022-11-23T17:24:13.848" v="82507"/>
          <ac:spMkLst>
            <pc:docMk/>
            <pc:sldMk cId="3109927635" sldId="398"/>
            <ac:spMk id="173" creationId="{0554C27D-A1F7-6F82-5906-3AC2476CF0A8}"/>
          </ac:spMkLst>
        </pc:spChg>
        <pc:spChg chg="del mod">
          <ac:chgData name="Merlin Gutter" userId="2abc6f04-74af-430b-bdc8-569c3bfa1dda" providerId="ADAL" clId="{CB1EFBC3-10F5-3048-8961-5969497C0019}" dt="2022-11-23T17:24:13.848" v="82506"/>
          <ac:spMkLst>
            <pc:docMk/>
            <pc:sldMk cId="3109927635" sldId="398"/>
            <ac:spMk id="174" creationId="{FDA60125-CB12-7656-A25D-E2EACDFBF9AA}"/>
          </ac:spMkLst>
        </pc:spChg>
        <pc:spChg chg="del mod">
          <ac:chgData name="Merlin Gutter" userId="2abc6f04-74af-430b-bdc8-569c3bfa1dda" providerId="ADAL" clId="{CB1EFBC3-10F5-3048-8961-5969497C0019}" dt="2022-11-23T17:24:13.868" v="82591"/>
          <ac:spMkLst>
            <pc:docMk/>
            <pc:sldMk cId="3109927635" sldId="398"/>
            <ac:spMk id="220" creationId="{E4B69861-E3F5-0F16-CC91-A82610558EC4}"/>
          </ac:spMkLst>
        </pc:spChg>
        <pc:spChg chg="del mod">
          <ac:chgData name="Merlin Gutter" userId="2abc6f04-74af-430b-bdc8-569c3bfa1dda" providerId="ADAL" clId="{CB1EFBC3-10F5-3048-8961-5969497C0019}" dt="2022-11-23T17:24:13.865" v="82576"/>
          <ac:spMkLst>
            <pc:docMk/>
            <pc:sldMk cId="3109927635" sldId="398"/>
            <ac:spMk id="223" creationId="{8AB1E456-CB01-D0C6-2400-431698263CBE}"/>
          </ac:spMkLst>
        </pc:spChg>
        <pc:spChg chg="del mod">
          <ac:chgData name="Merlin Gutter" userId="2abc6f04-74af-430b-bdc8-569c3bfa1dda" providerId="ADAL" clId="{CB1EFBC3-10F5-3048-8961-5969497C0019}" dt="2022-11-23T17:24:13.863" v="82566"/>
          <ac:spMkLst>
            <pc:docMk/>
            <pc:sldMk cId="3109927635" sldId="398"/>
            <ac:spMk id="225" creationId="{7E3BCF8A-261D-191B-B446-31C4905B05AF}"/>
          </ac:spMkLst>
        </pc:spChg>
        <pc:spChg chg="del mod">
          <ac:chgData name="Merlin Gutter" userId="2abc6f04-74af-430b-bdc8-569c3bfa1dda" providerId="ADAL" clId="{CB1EFBC3-10F5-3048-8961-5969497C0019}" dt="2022-11-23T17:24:13.861" v="82556"/>
          <ac:spMkLst>
            <pc:docMk/>
            <pc:sldMk cId="3109927635" sldId="398"/>
            <ac:spMk id="227" creationId="{5706404A-C5A3-7F57-5FF3-E2871360F7FB}"/>
          </ac:spMkLst>
        </pc:spChg>
        <pc:spChg chg="del mod">
          <ac:chgData name="Merlin Gutter" userId="2abc6f04-74af-430b-bdc8-569c3bfa1dda" providerId="ADAL" clId="{CB1EFBC3-10F5-3048-8961-5969497C0019}" dt="2022-11-23T17:24:13.847" v="82505"/>
          <ac:spMkLst>
            <pc:docMk/>
            <pc:sldMk cId="3109927635" sldId="398"/>
            <ac:spMk id="325" creationId="{D587C69E-A71E-6130-EFF9-F6584C0F6F7D}"/>
          </ac:spMkLst>
        </pc:spChg>
        <pc:spChg chg="del mod">
          <ac:chgData name="Merlin Gutter" userId="2abc6f04-74af-430b-bdc8-569c3bfa1dda" providerId="ADAL" clId="{CB1EFBC3-10F5-3048-8961-5969497C0019}" dt="2022-11-23T17:24:13.845" v="82497"/>
          <ac:spMkLst>
            <pc:docMk/>
            <pc:sldMk cId="3109927635" sldId="398"/>
            <ac:spMk id="380" creationId="{A4277D2A-A17B-94FB-372B-44CBF51AF92D}"/>
          </ac:spMkLst>
        </pc:spChg>
        <pc:spChg chg="del mod">
          <ac:chgData name="Merlin Gutter" userId="2abc6f04-74af-430b-bdc8-569c3bfa1dda" providerId="ADAL" clId="{CB1EFBC3-10F5-3048-8961-5969497C0019}" dt="2022-11-23T17:24:13.842" v="82489"/>
          <ac:spMkLst>
            <pc:docMk/>
            <pc:sldMk cId="3109927635" sldId="398"/>
            <ac:spMk id="386" creationId="{99C6B807-141E-3D78-57FC-17751DD454CB}"/>
          </ac:spMkLst>
        </pc:spChg>
        <pc:spChg chg="mod">
          <ac:chgData name="Merlin Gutter" userId="2abc6f04-74af-430b-bdc8-569c3bfa1dda" providerId="ADAL" clId="{CB1EFBC3-10F5-3048-8961-5969497C0019}" dt="2022-11-23T17:24:12.366" v="82433"/>
          <ac:spMkLst>
            <pc:docMk/>
            <pc:sldMk cId="3109927635" sldId="398"/>
            <ac:spMk id="414" creationId="{F02F9840-5CF3-A09F-3CFB-95A63CE8FA4D}"/>
          </ac:spMkLst>
        </pc:spChg>
        <pc:spChg chg="del mod">
          <ac:chgData name="Merlin Gutter" userId="2abc6f04-74af-430b-bdc8-569c3bfa1dda" providerId="ADAL" clId="{CB1EFBC3-10F5-3048-8961-5969497C0019}" dt="2022-11-23T17:24:13.867" v="82586"/>
          <ac:spMkLst>
            <pc:docMk/>
            <pc:sldMk cId="3109927635" sldId="398"/>
            <ac:spMk id="427" creationId="{C3038790-BF3B-EDDB-0C60-3504D554CDB1}"/>
          </ac:spMkLst>
        </pc:spChg>
        <pc:spChg chg="del mod">
          <ac:chgData name="Merlin Gutter" userId="2abc6f04-74af-430b-bdc8-569c3bfa1dda" providerId="ADAL" clId="{CB1EFBC3-10F5-3048-8961-5969497C0019}" dt="2022-11-23T17:24:13.866" v="82581"/>
          <ac:spMkLst>
            <pc:docMk/>
            <pc:sldMk cId="3109927635" sldId="398"/>
            <ac:spMk id="428" creationId="{6E265CAE-BFEB-4B0A-A749-56CBE14B0CB9}"/>
          </ac:spMkLst>
        </pc:spChg>
        <pc:spChg chg="del mod">
          <ac:chgData name="Merlin Gutter" userId="2abc6f04-74af-430b-bdc8-569c3bfa1dda" providerId="ADAL" clId="{CB1EFBC3-10F5-3048-8961-5969497C0019}" dt="2022-11-23T17:24:13.864" v="82571"/>
          <ac:spMkLst>
            <pc:docMk/>
            <pc:sldMk cId="3109927635" sldId="398"/>
            <ac:spMk id="429" creationId="{C4CAB5DA-4966-FE15-AD40-1B97D4C48366}"/>
          </ac:spMkLst>
        </pc:spChg>
        <pc:spChg chg="del mod">
          <ac:chgData name="Merlin Gutter" userId="2abc6f04-74af-430b-bdc8-569c3bfa1dda" providerId="ADAL" clId="{CB1EFBC3-10F5-3048-8961-5969497C0019}" dt="2022-11-23T17:24:13.862" v="82561"/>
          <ac:spMkLst>
            <pc:docMk/>
            <pc:sldMk cId="3109927635" sldId="398"/>
            <ac:spMk id="430" creationId="{DB444AD2-669B-993E-D2E8-BBD5ED92F094}"/>
          </ac:spMkLst>
        </pc:spChg>
        <pc:graphicFrameChg chg="add del mod replST">
          <ac:chgData name="Merlin Gutter" userId="2abc6f04-74af-430b-bdc8-569c3bfa1dda" providerId="ADAL" clId="{CB1EFBC3-10F5-3048-8961-5969497C0019}" dt="2022-11-23T17:24:13.870" v="82599"/>
          <ac:graphicFrameMkLst>
            <pc:docMk/>
            <pc:sldMk cId="3109927635" sldId="398"/>
            <ac:graphicFrameMk id="18" creationId="{DAEB9D50-8B94-F1B7-9591-5F802BFDA5CA}"/>
          </ac:graphicFrameMkLst>
        </pc:graphicFrameChg>
        <pc:graphicFrameChg chg="mod">
          <ac:chgData name="Merlin Gutter" userId="2abc6f04-74af-430b-bdc8-569c3bfa1dda" providerId="ADAL" clId="{CB1EFBC3-10F5-3048-8961-5969497C0019}" dt="2022-11-23T17:24:13.880" v="82603"/>
          <ac:graphicFrameMkLst>
            <pc:docMk/>
            <pc:sldMk cId="3109927635" sldId="398"/>
            <ac:graphicFrameMk id="20" creationId="{6813096F-D721-0653-587E-E254F033A5A9}"/>
          </ac:graphicFrameMkLst>
        </pc:graphicFrameChg>
        <pc:graphicFrameChg chg="del">
          <ac:chgData name="Merlin Gutter" userId="2abc6f04-74af-430b-bdc8-569c3bfa1dda" providerId="ADAL" clId="{CB1EFBC3-10F5-3048-8961-5969497C0019}" dt="2022-11-23T17:24:12.315" v="82248"/>
          <ac:graphicFrameMkLst>
            <pc:docMk/>
            <pc:sldMk cId="3109927635" sldId="398"/>
            <ac:graphicFrameMk id="35" creationId="{EC8CCEB7-B0D1-8F33-239D-1428AA8739F5}"/>
          </ac:graphicFrameMkLst>
        </pc:graphicFrameChg>
        <pc:cxnChg chg="mod">
          <ac:chgData name="Merlin Gutter" userId="2abc6f04-74af-430b-bdc8-569c3bfa1dda" providerId="ADAL" clId="{CB1EFBC3-10F5-3048-8961-5969497C0019}" dt="2022-11-23T17:24:12.366" v="82434"/>
          <ac:cxnSpMkLst>
            <pc:docMk/>
            <pc:sldMk cId="3109927635" sldId="398"/>
            <ac:cxnSpMk id="7" creationId="{BAF6F246-54A1-4312-90AB-0320FAD7CD8A}"/>
          </ac:cxnSpMkLst>
        </pc:cxnChg>
        <pc:cxnChg chg="mod">
          <ac:chgData name="Merlin Gutter" userId="2abc6f04-74af-430b-bdc8-569c3bfa1dda" providerId="ADAL" clId="{CB1EFBC3-10F5-3048-8961-5969497C0019}" dt="2022-11-23T17:24:12.366" v="82435"/>
          <ac:cxnSpMkLst>
            <pc:docMk/>
            <pc:sldMk cId="3109927635" sldId="398"/>
            <ac:cxnSpMk id="8" creationId="{7A2F73AD-ADF7-009C-C582-FA06B7B3A06D}"/>
          </ac:cxnSpMkLst>
        </pc:cxnChg>
        <pc:cxnChg chg="del mod">
          <ac:chgData name="Merlin Gutter" userId="2abc6f04-74af-430b-bdc8-569c3bfa1dda" providerId="ADAL" clId="{CB1EFBC3-10F5-3048-8961-5969497C0019}" dt="2022-11-23T17:24:13.868" v="82593"/>
          <ac:cxnSpMkLst>
            <pc:docMk/>
            <pc:sldMk cId="3109927635" sldId="398"/>
            <ac:cxnSpMk id="228" creationId="{BE191C59-1A3A-0A58-5312-8200EF43A74D}"/>
          </ac:cxnSpMkLst>
        </pc:cxnChg>
        <pc:cxnChg chg="del mod">
          <ac:chgData name="Merlin Gutter" userId="2abc6f04-74af-430b-bdc8-569c3bfa1dda" providerId="ADAL" clId="{CB1EFBC3-10F5-3048-8961-5969497C0019}" dt="2022-11-23T17:24:13.866" v="82580"/>
          <ac:cxnSpMkLst>
            <pc:docMk/>
            <pc:sldMk cId="3109927635" sldId="398"/>
            <ac:cxnSpMk id="231" creationId="{B2D4622C-A6B1-E5A0-BB01-86CC8FAF7C92}"/>
          </ac:cxnSpMkLst>
        </pc:cxnChg>
        <pc:cxnChg chg="del mod">
          <ac:chgData name="Merlin Gutter" userId="2abc6f04-74af-430b-bdc8-569c3bfa1dda" providerId="ADAL" clId="{CB1EFBC3-10F5-3048-8961-5969497C0019}" dt="2022-11-23T17:24:13.864" v="82570"/>
          <ac:cxnSpMkLst>
            <pc:docMk/>
            <pc:sldMk cId="3109927635" sldId="398"/>
            <ac:cxnSpMk id="233" creationId="{153CE8EC-2C42-5472-4595-FE206DE57468}"/>
          </ac:cxnSpMkLst>
        </pc:cxnChg>
        <pc:cxnChg chg="del mod">
          <ac:chgData name="Merlin Gutter" userId="2abc6f04-74af-430b-bdc8-569c3bfa1dda" providerId="ADAL" clId="{CB1EFBC3-10F5-3048-8961-5969497C0019}" dt="2022-11-23T17:24:13.862" v="82560"/>
          <ac:cxnSpMkLst>
            <pc:docMk/>
            <pc:sldMk cId="3109927635" sldId="398"/>
            <ac:cxnSpMk id="235" creationId="{9C8BA09B-4925-0289-7A24-3D94A2FFC472}"/>
          </ac:cxnSpMkLst>
        </pc:cxnChg>
        <pc:cxnChg chg="del mod">
          <ac:chgData name="Merlin Gutter" userId="2abc6f04-74af-430b-bdc8-569c3bfa1dda" providerId="ADAL" clId="{CB1EFBC3-10F5-3048-8961-5969497C0019}" dt="2022-11-23T17:24:13.847" v="82503"/>
          <ac:cxnSpMkLst>
            <pc:docMk/>
            <pc:sldMk cId="3109927635" sldId="398"/>
            <ac:cxnSpMk id="326" creationId="{0796DF65-985A-7DC7-C7E1-4D9DE163F8AE}"/>
          </ac:cxnSpMkLst>
        </pc:cxnChg>
        <pc:cxnChg chg="del mod">
          <ac:chgData name="Merlin Gutter" userId="2abc6f04-74af-430b-bdc8-569c3bfa1dda" providerId="ADAL" clId="{CB1EFBC3-10F5-3048-8961-5969497C0019}" dt="2022-11-23T17:24:13.846" v="82501"/>
          <ac:cxnSpMkLst>
            <pc:docMk/>
            <pc:sldMk cId="3109927635" sldId="398"/>
            <ac:cxnSpMk id="327" creationId="{CE3A590E-6AC0-D060-BFA8-8F5C334A6A85}"/>
          </ac:cxnSpMkLst>
        </pc:cxnChg>
        <pc:cxnChg chg="del mod">
          <ac:chgData name="Merlin Gutter" userId="2abc6f04-74af-430b-bdc8-569c3bfa1dda" providerId="ADAL" clId="{CB1EFBC3-10F5-3048-8961-5969497C0019}" dt="2022-11-23T17:24:13.846" v="82499"/>
          <ac:cxnSpMkLst>
            <pc:docMk/>
            <pc:sldMk cId="3109927635" sldId="398"/>
            <ac:cxnSpMk id="328" creationId="{0AE4D2DC-59E7-FCE3-5340-BF574B791973}"/>
          </ac:cxnSpMkLst>
        </pc:cxnChg>
        <pc:cxnChg chg="del mod">
          <ac:chgData name="Merlin Gutter" userId="2abc6f04-74af-430b-bdc8-569c3bfa1dda" providerId="ADAL" clId="{CB1EFBC3-10F5-3048-8961-5969497C0019}" dt="2022-11-23T17:24:13.844" v="82495"/>
          <ac:cxnSpMkLst>
            <pc:docMk/>
            <pc:sldMk cId="3109927635" sldId="398"/>
            <ac:cxnSpMk id="381" creationId="{457CE312-C0DC-0F5C-5B8B-912B30EA7C3D}"/>
          </ac:cxnSpMkLst>
        </pc:cxnChg>
        <pc:cxnChg chg="del mod">
          <ac:chgData name="Merlin Gutter" userId="2abc6f04-74af-430b-bdc8-569c3bfa1dda" providerId="ADAL" clId="{CB1EFBC3-10F5-3048-8961-5969497C0019}" dt="2022-11-23T17:24:13.844" v="82493"/>
          <ac:cxnSpMkLst>
            <pc:docMk/>
            <pc:sldMk cId="3109927635" sldId="398"/>
            <ac:cxnSpMk id="382" creationId="{7ED92058-A3E8-5E51-EB96-CC97C9437BD7}"/>
          </ac:cxnSpMkLst>
        </pc:cxnChg>
        <pc:cxnChg chg="del mod">
          <ac:chgData name="Merlin Gutter" userId="2abc6f04-74af-430b-bdc8-569c3bfa1dda" providerId="ADAL" clId="{CB1EFBC3-10F5-3048-8961-5969497C0019}" dt="2022-11-23T17:24:13.843" v="82491"/>
          <ac:cxnSpMkLst>
            <pc:docMk/>
            <pc:sldMk cId="3109927635" sldId="398"/>
            <ac:cxnSpMk id="383" creationId="{33534F8B-417F-CDE3-430C-CA3F942F4F06}"/>
          </ac:cxnSpMkLst>
        </pc:cxnChg>
        <pc:cxnChg chg="del mod">
          <ac:chgData name="Merlin Gutter" userId="2abc6f04-74af-430b-bdc8-569c3bfa1dda" providerId="ADAL" clId="{CB1EFBC3-10F5-3048-8961-5969497C0019}" dt="2022-11-23T17:24:13.841" v="82487"/>
          <ac:cxnSpMkLst>
            <pc:docMk/>
            <pc:sldMk cId="3109927635" sldId="398"/>
            <ac:cxnSpMk id="387" creationId="{17040920-7574-9678-5E32-4247AF87C4DA}"/>
          </ac:cxnSpMkLst>
        </pc:cxnChg>
        <pc:cxnChg chg="del mod">
          <ac:chgData name="Merlin Gutter" userId="2abc6f04-74af-430b-bdc8-569c3bfa1dda" providerId="ADAL" clId="{CB1EFBC3-10F5-3048-8961-5969497C0019}" dt="2022-11-23T17:24:13.841" v="82485"/>
          <ac:cxnSpMkLst>
            <pc:docMk/>
            <pc:sldMk cId="3109927635" sldId="398"/>
            <ac:cxnSpMk id="388" creationId="{AE187C29-CD3F-549B-6670-9106D8B9A8E5}"/>
          </ac:cxnSpMkLst>
        </pc:cxnChg>
        <pc:cxnChg chg="del mod">
          <ac:chgData name="Merlin Gutter" userId="2abc6f04-74af-430b-bdc8-569c3bfa1dda" providerId="ADAL" clId="{CB1EFBC3-10F5-3048-8961-5969497C0019}" dt="2022-11-23T17:24:13.840" v="82483"/>
          <ac:cxnSpMkLst>
            <pc:docMk/>
            <pc:sldMk cId="3109927635" sldId="398"/>
            <ac:cxnSpMk id="389" creationId="{6661D47C-5D15-C012-E53E-7F898F03871B}"/>
          </ac:cxnSpMkLst>
        </pc:cxnChg>
        <pc:cxnChg chg="del mod">
          <ac:chgData name="Merlin Gutter" userId="2abc6f04-74af-430b-bdc8-569c3bfa1dda" providerId="ADAL" clId="{CB1EFBC3-10F5-3048-8961-5969497C0019}" dt="2022-11-23T17:24:13.866" v="82578"/>
          <ac:cxnSpMkLst>
            <pc:docMk/>
            <pc:sldMk cId="3109927635" sldId="398"/>
            <ac:cxnSpMk id="408" creationId="{673B08D9-145F-249E-897F-0B8F338B4322}"/>
          </ac:cxnSpMkLst>
        </pc:cxnChg>
        <pc:cxnChg chg="del mod">
          <ac:chgData name="Merlin Gutter" userId="2abc6f04-74af-430b-bdc8-569c3bfa1dda" providerId="ADAL" clId="{CB1EFBC3-10F5-3048-8961-5969497C0019}" dt="2022-11-23T17:24:13.864" v="82568"/>
          <ac:cxnSpMkLst>
            <pc:docMk/>
            <pc:sldMk cId="3109927635" sldId="398"/>
            <ac:cxnSpMk id="410" creationId="{5A35DF61-481A-ADBE-456F-E2CE1F56C9D0}"/>
          </ac:cxnSpMkLst>
        </pc:cxnChg>
        <pc:cxnChg chg="del mod">
          <ac:chgData name="Merlin Gutter" userId="2abc6f04-74af-430b-bdc8-569c3bfa1dda" providerId="ADAL" clId="{CB1EFBC3-10F5-3048-8961-5969497C0019}" dt="2022-11-23T17:24:13.862" v="82558"/>
          <ac:cxnSpMkLst>
            <pc:docMk/>
            <pc:sldMk cId="3109927635" sldId="398"/>
            <ac:cxnSpMk id="412" creationId="{1B89F2C6-D2C5-481B-287F-FF68CD9A5949}"/>
          </ac:cxnSpMkLst>
        </pc:cxnChg>
        <pc:cxnChg chg="del mod">
          <ac:chgData name="Merlin Gutter" userId="2abc6f04-74af-430b-bdc8-569c3bfa1dda" providerId="ADAL" clId="{CB1EFBC3-10F5-3048-8961-5969497C0019}" dt="2022-11-23T17:24:13.868" v="82590"/>
          <ac:cxnSpMkLst>
            <pc:docMk/>
            <pc:sldMk cId="3109927635" sldId="398"/>
            <ac:cxnSpMk id="431" creationId="{CEE8284B-99A5-8437-10DA-69E6C8F09ACD}"/>
          </ac:cxnSpMkLst>
        </pc:cxnChg>
        <pc:cxnChg chg="del mod">
          <ac:chgData name="Merlin Gutter" userId="2abc6f04-74af-430b-bdc8-569c3bfa1dda" providerId="ADAL" clId="{CB1EFBC3-10F5-3048-8961-5969497C0019}" dt="2022-11-23T17:24:13.867" v="82588"/>
          <ac:cxnSpMkLst>
            <pc:docMk/>
            <pc:sldMk cId="3109927635" sldId="398"/>
            <ac:cxnSpMk id="432" creationId="{36A99B78-9B88-D1EC-3D0C-10FB4B33E911}"/>
          </ac:cxnSpMkLst>
        </pc:cxnChg>
        <pc:cxnChg chg="del mod">
          <ac:chgData name="Merlin Gutter" userId="2abc6f04-74af-430b-bdc8-569c3bfa1dda" providerId="ADAL" clId="{CB1EFBC3-10F5-3048-8961-5969497C0019}" dt="2022-11-23T17:24:13.867" v="82585"/>
          <ac:cxnSpMkLst>
            <pc:docMk/>
            <pc:sldMk cId="3109927635" sldId="398"/>
            <ac:cxnSpMk id="433" creationId="{9F2075F1-1CCA-86C6-DBB9-731191CD5BF2}"/>
          </ac:cxnSpMkLst>
        </pc:cxnChg>
        <pc:cxnChg chg="del mod">
          <ac:chgData name="Merlin Gutter" userId="2abc6f04-74af-430b-bdc8-569c3bfa1dda" providerId="ADAL" clId="{CB1EFBC3-10F5-3048-8961-5969497C0019}" dt="2022-11-23T17:24:13.866" v="82583"/>
          <ac:cxnSpMkLst>
            <pc:docMk/>
            <pc:sldMk cId="3109927635" sldId="398"/>
            <ac:cxnSpMk id="434" creationId="{49458954-C9F1-A38A-8864-B1384C131185}"/>
          </ac:cxnSpMkLst>
        </pc:cxnChg>
        <pc:cxnChg chg="del mod">
          <ac:chgData name="Merlin Gutter" userId="2abc6f04-74af-430b-bdc8-569c3bfa1dda" providerId="ADAL" clId="{CB1EFBC3-10F5-3048-8961-5969497C0019}" dt="2022-11-23T17:24:13.865" v="82575"/>
          <ac:cxnSpMkLst>
            <pc:docMk/>
            <pc:sldMk cId="3109927635" sldId="398"/>
            <ac:cxnSpMk id="435" creationId="{85DD01DE-21FB-C7C2-2DBE-416879CFF66D}"/>
          </ac:cxnSpMkLst>
        </pc:cxnChg>
        <pc:cxnChg chg="del mod">
          <ac:chgData name="Merlin Gutter" userId="2abc6f04-74af-430b-bdc8-569c3bfa1dda" providerId="ADAL" clId="{CB1EFBC3-10F5-3048-8961-5969497C0019}" dt="2022-11-23T17:24:13.865" v="82573"/>
          <ac:cxnSpMkLst>
            <pc:docMk/>
            <pc:sldMk cId="3109927635" sldId="398"/>
            <ac:cxnSpMk id="436" creationId="{28819932-92DC-ED91-FF9C-8E3F400B42F5}"/>
          </ac:cxnSpMkLst>
        </pc:cxnChg>
        <pc:cxnChg chg="del mod">
          <ac:chgData name="Merlin Gutter" userId="2abc6f04-74af-430b-bdc8-569c3bfa1dda" providerId="ADAL" clId="{CB1EFBC3-10F5-3048-8961-5969497C0019}" dt="2022-11-23T17:24:13.863" v="82565"/>
          <ac:cxnSpMkLst>
            <pc:docMk/>
            <pc:sldMk cId="3109927635" sldId="398"/>
            <ac:cxnSpMk id="437" creationId="{E51121C7-83F9-B3A6-FF04-F8517BCD2705}"/>
          </ac:cxnSpMkLst>
        </pc:cxnChg>
        <pc:cxnChg chg="del mod">
          <ac:chgData name="Merlin Gutter" userId="2abc6f04-74af-430b-bdc8-569c3bfa1dda" providerId="ADAL" clId="{CB1EFBC3-10F5-3048-8961-5969497C0019}" dt="2022-11-23T17:24:13.863" v="82563"/>
          <ac:cxnSpMkLst>
            <pc:docMk/>
            <pc:sldMk cId="3109927635" sldId="398"/>
            <ac:cxnSpMk id="438" creationId="{25EAF4F5-E92F-E119-0DE8-99DC38A1B848}"/>
          </ac:cxnSpMkLst>
        </pc:cxnChg>
      </pc:sldChg>
      <pc:sldChg chg="addSp delSp modSp add mod chgLayout">
        <pc:chgData name="Merlin Gutter" userId="2abc6f04-74af-430b-bdc8-569c3bfa1dda" providerId="ADAL" clId="{CB1EFBC3-10F5-3048-8961-5969497C0019}" dt="2022-11-25T00:08:56.975" v="191086" actId="20577"/>
        <pc:sldMkLst>
          <pc:docMk/>
          <pc:sldMk cId="3505808948" sldId="399"/>
        </pc:sldMkLst>
        <pc:spChg chg="del mod">
          <ac:chgData name="Merlin Gutter" userId="2abc6f04-74af-430b-bdc8-569c3bfa1dda" providerId="ADAL" clId="{CB1EFBC3-10F5-3048-8961-5969497C0019}" dt="2022-11-23T17:47:15.997" v="108367"/>
          <ac:spMkLst>
            <pc:docMk/>
            <pc:sldMk cId="3505808948" sldId="399"/>
            <ac:spMk id="2" creationId="{EBDD7A3D-4F52-3DE2-F933-8449D83DCF02}"/>
          </ac:spMkLst>
        </pc:spChg>
        <pc:spChg chg="mod ord">
          <ac:chgData name="Merlin Gutter" userId="2abc6f04-74af-430b-bdc8-569c3bfa1dda" providerId="ADAL" clId="{CB1EFBC3-10F5-3048-8961-5969497C0019}" dt="2022-11-23T17:47:15.997" v="108367"/>
          <ac:spMkLst>
            <pc:docMk/>
            <pc:sldMk cId="3505808948" sldId="399"/>
            <ac:spMk id="3" creationId="{4B23F066-78F6-ED99-A2E1-FCA243435AA8}"/>
          </ac:spMkLst>
        </pc:spChg>
        <pc:spChg chg="mod ord">
          <ac:chgData name="Merlin Gutter" userId="2abc6f04-74af-430b-bdc8-569c3bfa1dda" providerId="ADAL" clId="{CB1EFBC3-10F5-3048-8961-5969497C0019}" dt="2022-11-23T17:47:15.997" v="108367"/>
          <ac:spMkLst>
            <pc:docMk/>
            <pc:sldMk cId="3505808948" sldId="399"/>
            <ac:spMk id="4" creationId="{419A56F2-33FC-B13B-F824-5320C14683F0}"/>
          </ac:spMkLst>
        </pc:spChg>
        <pc:spChg chg="mod ord">
          <ac:chgData name="Merlin Gutter" userId="2abc6f04-74af-430b-bdc8-569c3bfa1dda" providerId="ADAL" clId="{CB1EFBC3-10F5-3048-8961-5969497C0019}" dt="2022-11-25T00:08:56.975" v="191086" actId="20577"/>
          <ac:spMkLst>
            <pc:docMk/>
            <pc:sldMk cId="3505808948" sldId="399"/>
            <ac:spMk id="5" creationId="{64E62B09-B628-9390-D8F1-925831825F25}"/>
          </ac:spMkLst>
        </pc:spChg>
        <pc:spChg chg="mod ord">
          <ac:chgData name="Merlin Gutter" userId="2abc6f04-74af-430b-bdc8-569c3bfa1dda" providerId="ADAL" clId="{CB1EFBC3-10F5-3048-8961-5969497C0019}" dt="2022-11-23T17:47:15.997" v="108367"/>
          <ac:spMkLst>
            <pc:docMk/>
            <pc:sldMk cId="3505808948" sldId="399"/>
            <ac:spMk id="6" creationId="{5CD15DEF-BD86-6BAD-F618-0FCA1640781D}"/>
          </ac:spMkLst>
        </pc:spChg>
        <pc:spChg chg="mod">
          <ac:chgData name="Merlin Gutter" userId="2abc6f04-74af-430b-bdc8-569c3bfa1dda" providerId="ADAL" clId="{CB1EFBC3-10F5-3048-8961-5969497C0019}" dt="2022-11-23T17:28:25.162" v="94740"/>
          <ac:spMkLst>
            <pc:docMk/>
            <pc:sldMk cId="3505808948" sldId="399"/>
            <ac:spMk id="9" creationId="{A288F178-0675-D978-CFEB-B90888260247}"/>
          </ac:spMkLst>
        </pc:spChg>
        <pc:spChg chg="mod">
          <ac:chgData name="Merlin Gutter" userId="2abc6f04-74af-430b-bdc8-569c3bfa1dda" providerId="ADAL" clId="{CB1EFBC3-10F5-3048-8961-5969497C0019}" dt="2022-11-23T17:28:25.162" v="94741"/>
          <ac:spMkLst>
            <pc:docMk/>
            <pc:sldMk cId="3505808948" sldId="399"/>
            <ac:spMk id="10" creationId="{24323348-6412-EF19-EA46-8CEA164E454F}"/>
          </ac:spMkLst>
        </pc:spChg>
        <pc:spChg chg="del">
          <ac:chgData name="Merlin Gutter" userId="2abc6f04-74af-430b-bdc8-569c3bfa1dda" providerId="ADAL" clId="{CB1EFBC3-10F5-3048-8961-5969497C0019}" dt="2022-11-23T17:24:24.437" v="83464"/>
          <ac:spMkLst>
            <pc:docMk/>
            <pc:sldMk cId="3505808948" sldId="399"/>
            <ac:spMk id="11" creationId="{A53FEEEA-7C1F-95E2-9F1D-826981E30A99}"/>
          </ac:spMkLst>
        </pc:spChg>
        <pc:spChg chg="del">
          <ac:chgData name="Merlin Gutter" userId="2abc6f04-74af-430b-bdc8-569c3bfa1dda" providerId="ADAL" clId="{CB1EFBC3-10F5-3048-8961-5969497C0019}" dt="2022-11-23T17:24:24.443" v="83480"/>
          <ac:spMkLst>
            <pc:docMk/>
            <pc:sldMk cId="3505808948" sldId="399"/>
            <ac:spMk id="12" creationId="{ADDE32B0-4671-19EE-14EC-7DB8A8F0E55A}"/>
          </ac:spMkLst>
        </pc:spChg>
        <pc:spChg chg="del">
          <ac:chgData name="Merlin Gutter" userId="2abc6f04-74af-430b-bdc8-569c3bfa1dda" providerId="ADAL" clId="{CB1EFBC3-10F5-3048-8961-5969497C0019}" dt="2022-11-23T17:24:24.448" v="83497"/>
          <ac:spMkLst>
            <pc:docMk/>
            <pc:sldMk cId="3505808948" sldId="399"/>
            <ac:spMk id="13" creationId="{0E67283A-44CA-8FAF-8B7B-725B81291DE0}"/>
          </ac:spMkLst>
        </pc:spChg>
        <pc:spChg chg="add del mod modVis">
          <ac:chgData name="Merlin Gutter" userId="2abc6f04-74af-430b-bdc8-569c3bfa1dda" providerId="ADAL" clId="{CB1EFBC3-10F5-3048-8961-5969497C0019}" dt="2022-11-23T17:24:24.707" v="84077"/>
          <ac:spMkLst>
            <pc:docMk/>
            <pc:sldMk cId="3505808948" sldId="399"/>
            <ac:spMk id="14" creationId="{0C009506-9B06-AC50-D30D-1CFD52E6A1D8}"/>
          </ac:spMkLst>
        </pc:spChg>
        <pc:spChg chg="mod">
          <ac:chgData name="Merlin Gutter" userId="2abc6f04-74af-430b-bdc8-569c3bfa1dda" providerId="ADAL" clId="{CB1EFBC3-10F5-3048-8961-5969497C0019}" dt="2022-11-23T17:28:25.162" v="94742"/>
          <ac:spMkLst>
            <pc:docMk/>
            <pc:sldMk cId="3505808948" sldId="399"/>
            <ac:spMk id="15" creationId="{CC6A62E4-E6F0-2512-1FC2-33EE52B543C8}"/>
          </ac:spMkLst>
        </pc:spChg>
        <pc:spChg chg="mod">
          <ac:chgData name="Merlin Gutter" userId="2abc6f04-74af-430b-bdc8-569c3bfa1dda" providerId="ADAL" clId="{CB1EFBC3-10F5-3048-8961-5969497C0019}" dt="2022-11-23T17:28:25.162" v="94743"/>
          <ac:spMkLst>
            <pc:docMk/>
            <pc:sldMk cId="3505808948" sldId="399"/>
            <ac:spMk id="16" creationId="{1B2601E8-FC66-1C25-CFBB-3D42FB1F6895}"/>
          </ac:spMkLst>
        </pc:spChg>
        <pc:spChg chg="add del mod replST">
          <ac:chgData name="Merlin Gutter" userId="2abc6f04-74af-430b-bdc8-569c3bfa1dda" providerId="ADAL" clId="{CB1EFBC3-10F5-3048-8961-5969497C0019}" dt="2022-11-23T17:24:26.693" v="84214"/>
          <ac:spMkLst>
            <pc:docMk/>
            <pc:sldMk cId="3505808948" sldId="399"/>
            <ac:spMk id="17" creationId="{8CE49011-E154-9B27-E27C-ABCF000A04F8}"/>
          </ac:spMkLst>
        </pc:spChg>
        <pc:spChg chg="mod">
          <ac:chgData name="Merlin Gutter" userId="2abc6f04-74af-430b-bdc8-569c3bfa1dda" providerId="ADAL" clId="{CB1EFBC3-10F5-3048-8961-5969497C0019}" dt="2022-11-23T17:28:25.163" v="94744"/>
          <ac:spMkLst>
            <pc:docMk/>
            <pc:sldMk cId="3505808948" sldId="399"/>
            <ac:spMk id="18" creationId="{5DE6064C-8D86-64D0-17D5-5A318F259ACC}"/>
          </ac:spMkLst>
        </pc:spChg>
        <pc:spChg chg="add del mod replST">
          <ac:chgData name="Merlin Gutter" userId="2abc6f04-74af-430b-bdc8-569c3bfa1dda" providerId="ADAL" clId="{CB1EFBC3-10F5-3048-8961-5969497C0019}" dt="2022-11-23T17:24:26.693" v="84213"/>
          <ac:spMkLst>
            <pc:docMk/>
            <pc:sldMk cId="3505808948" sldId="399"/>
            <ac:spMk id="19" creationId="{A833868D-6CBC-058B-7515-DD7485387BD0}"/>
          </ac:spMkLst>
        </pc:spChg>
        <pc:spChg chg="add del mod replST">
          <ac:chgData name="Merlin Gutter" userId="2abc6f04-74af-430b-bdc8-569c3bfa1dda" providerId="ADAL" clId="{CB1EFBC3-10F5-3048-8961-5969497C0019}" dt="2022-11-23T17:24:26.693" v="84212"/>
          <ac:spMkLst>
            <pc:docMk/>
            <pc:sldMk cId="3505808948" sldId="399"/>
            <ac:spMk id="21" creationId="{9B32E54D-F19F-897D-F73D-073038A0AB88}"/>
          </ac:spMkLst>
        </pc:spChg>
        <pc:spChg chg="mod">
          <ac:chgData name="Merlin Gutter" userId="2abc6f04-74af-430b-bdc8-569c3bfa1dda" providerId="ADAL" clId="{CB1EFBC3-10F5-3048-8961-5969497C0019}" dt="2022-11-23T17:28:25.163" v="94745"/>
          <ac:spMkLst>
            <pc:docMk/>
            <pc:sldMk cId="3505808948" sldId="399"/>
            <ac:spMk id="22" creationId="{762FE224-4748-3330-47DC-F9776F9E94DE}"/>
          </ac:spMkLst>
        </pc:spChg>
        <pc:spChg chg="del mod">
          <ac:chgData name="Merlin Gutter" userId="2abc6f04-74af-430b-bdc8-569c3bfa1dda" providerId="ADAL" clId="{CB1EFBC3-10F5-3048-8961-5969497C0019}" dt="2022-11-23T17:24:26.666" v="84084"/>
          <ac:spMkLst>
            <pc:docMk/>
            <pc:sldMk cId="3505808948" sldId="399"/>
            <ac:spMk id="23" creationId="{DC9273EB-C6FF-14E8-51E2-69145B1C568C}"/>
          </ac:spMkLst>
        </pc:spChg>
        <pc:spChg chg="add del mod replST">
          <ac:chgData name="Merlin Gutter" userId="2abc6f04-74af-430b-bdc8-569c3bfa1dda" providerId="ADAL" clId="{CB1EFBC3-10F5-3048-8961-5969497C0019}" dt="2022-11-23T17:24:24.595" v="83774"/>
          <ac:spMkLst>
            <pc:docMk/>
            <pc:sldMk cId="3505808948" sldId="399"/>
            <ac:spMk id="24" creationId="{442BBAD5-4960-0BFD-07DE-331A90A624CC}"/>
          </ac:spMkLst>
        </pc:spChg>
        <pc:spChg chg="del mod">
          <ac:chgData name="Merlin Gutter" userId="2abc6f04-74af-430b-bdc8-569c3bfa1dda" providerId="ADAL" clId="{CB1EFBC3-10F5-3048-8961-5969497C0019}" dt="2022-11-23T17:24:26.669" v="84087"/>
          <ac:spMkLst>
            <pc:docMk/>
            <pc:sldMk cId="3505808948" sldId="399"/>
            <ac:spMk id="27" creationId="{F7100A5A-841E-E2C8-B3C9-2586A03514A3}"/>
          </ac:spMkLst>
        </pc:spChg>
        <pc:spChg chg="del mod">
          <ac:chgData name="Merlin Gutter" userId="2abc6f04-74af-430b-bdc8-569c3bfa1dda" providerId="ADAL" clId="{CB1EFBC3-10F5-3048-8961-5969497C0019}" dt="2022-11-23T17:24:26.671" v="84094"/>
          <ac:spMkLst>
            <pc:docMk/>
            <pc:sldMk cId="3505808948" sldId="399"/>
            <ac:spMk id="28" creationId="{9C92382B-3252-975B-491D-3C319195521F}"/>
          </ac:spMkLst>
        </pc:spChg>
        <pc:spChg chg="del mod">
          <ac:chgData name="Merlin Gutter" userId="2abc6f04-74af-430b-bdc8-569c3bfa1dda" providerId="ADAL" clId="{CB1EFBC3-10F5-3048-8961-5969497C0019}" dt="2022-11-23T17:24:26.670" v="84091"/>
          <ac:spMkLst>
            <pc:docMk/>
            <pc:sldMk cId="3505808948" sldId="399"/>
            <ac:spMk id="29" creationId="{54302D63-9E30-93F1-8B2F-B2B66D817369}"/>
          </ac:spMkLst>
        </pc:spChg>
        <pc:spChg chg="del mod">
          <ac:chgData name="Merlin Gutter" userId="2abc6f04-74af-430b-bdc8-569c3bfa1dda" providerId="ADAL" clId="{CB1EFBC3-10F5-3048-8961-5969497C0019}" dt="2022-11-23T17:24:26.669" v="84085"/>
          <ac:spMkLst>
            <pc:docMk/>
            <pc:sldMk cId="3505808948" sldId="399"/>
            <ac:spMk id="30" creationId="{489FD541-C06B-1A32-2BBE-F7651954E86A}"/>
          </ac:spMkLst>
        </pc:spChg>
        <pc:spChg chg="del mod">
          <ac:chgData name="Merlin Gutter" userId="2abc6f04-74af-430b-bdc8-569c3bfa1dda" providerId="ADAL" clId="{CB1EFBC3-10F5-3048-8961-5969497C0019}" dt="2022-11-23T17:24:26.670" v="84088"/>
          <ac:spMkLst>
            <pc:docMk/>
            <pc:sldMk cId="3505808948" sldId="399"/>
            <ac:spMk id="31" creationId="{B179F675-4222-915E-50E3-0F874B2D2246}"/>
          </ac:spMkLst>
        </pc:spChg>
        <pc:spChg chg="del mod">
          <ac:chgData name="Merlin Gutter" userId="2abc6f04-74af-430b-bdc8-569c3bfa1dda" providerId="ADAL" clId="{CB1EFBC3-10F5-3048-8961-5969497C0019}" dt="2022-11-23T17:24:26.671" v="84096"/>
          <ac:spMkLst>
            <pc:docMk/>
            <pc:sldMk cId="3505808948" sldId="399"/>
            <ac:spMk id="32" creationId="{343DB04A-433F-933A-1918-FA31581C5DD4}"/>
          </ac:spMkLst>
        </pc:spChg>
        <pc:spChg chg="del mod">
          <ac:chgData name="Merlin Gutter" userId="2abc6f04-74af-430b-bdc8-569c3bfa1dda" providerId="ADAL" clId="{CB1EFBC3-10F5-3048-8961-5969497C0019}" dt="2022-11-23T17:24:26.671" v="84093"/>
          <ac:spMkLst>
            <pc:docMk/>
            <pc:sldMk cId="3505808948" sldId="399"/>
            <ac:spMk id="33" creationId="{96A54093-5254-D635-FFCC-101565A9D5BD}"/>
          </ac:spMkLst>
        </pc:spChg>
        <pc:spChg chg="del mod">
          <ac:chgData name="Merlin Gutter" userId="2abc6f04-74af-430b-bdc8-569c3bfa1dda" providerId="ADAL" clId="{CB1EFBC3-10F5-3048-8961-5969497C0019}" dt="2022-11-23T17:24:26.670" v="84090"/>
          <ac:spMkLst>
            <pc:docMk/>
            <pc:sldMk cId="3505808948" sldId="399"/>
            <ac:spMk id="34" creationId="{D16D1F97-A490-067E-F166-2196A5026DB3}"/>
          </ac:spMkLst>
        </pc:spChg>
        <pc:spChg chg="del mod">
          <ac:chgData name="Merlin Gutter" userId="2abc6f04-74af-430b-bdc8-569c3bfa1dda" providerId="ADAL" clId="{CB1EFBC3-10F5-3048-8961-5969497C0019}" dt="2022-11-23T17:24:26.672" v="84099"/>
          <ac:spMkLst>
            <pc:docMk/>
            <pc:sldMk cId="3505808948" sldId="399"/>
            <ac:spMk id="36" creationId="{E97931BC-87D8-0BBA-0D21-319EF9F777EA}"/>
          </ac:spMkLst>
        </pc:spChg>
        <pc:spChg chg="del mod">
          <ac:chgData name="Merlin Gutter" userId="2abc6f04-74af-430b-bdc8-569c3bfa1dda" providerId="ADAL" clId="{CB1EFBC3-10F5-3048-8961-5969497C0019}" dt="2022-11-23T17:24:26.672" v="84097"/>
          <ac:spMkLst>
            <pc:docMk/>
            <pc:sldMk cId="3505808948" sldId="399"/>
            <ac:spMk id="37" creationId="{E566F33B-0E26-EB72-47C4-0D5C9E5F657E}"/>
          </ac:spMkLst>
        </pc:spChg>
        <pc:spChg chg="del mod">
          <ac:chgData name="Merlin Gutter" userId="2abc6f04-74af-430b-bdc8-569c3bfa1dda" providerId="ADAL" clId="{CB1EFBC3-10F5-3048-8961-5969497C0019}" dt="2022-11-23T17:24:26.672" v="84100"/>
          <ac:spMkLst>
            <pc:docMk/>
            <pc:sldMk cId="3505808948" sldId="399"/>
            <ac:spMk id="38" creationId="{9784F329-C167-C5D6-9344-D4DC82A41177}"/>
          </ac:spMkLst>
        </pc:spChg>
        <pc:spChg chg="mod">
          <ac:chgData name="Merlin Gutter" userId="2abc6f04-74af-430b-bdc8-569c3bfa1dda" providerId="ADAL" clId="{CB1EFBC3-10F5-3048-8961-5969497C0019}" dt="2022-11-23T17:28:25.163" v="94746"/>
          <ac:spMkLst>
            <pc:docMk/>
            <pc:sldMk cId="3505808948" sldId="399"/>
            <ac:spMk id="39" creationId="{619A6EEA-7E7A-EEA8-1BF9-3041B09DCE2F}"/>
          </ac:spMkLst>
        </pc:spChg>
        <pc:spChg chg="mod">
          <ac:chgData name="Merlin Gutter" userId="2abc6f04-74af-430b-bdc8-569c3bfa1dda" providerId="ADAL" clId="{CB1EFBC3-10F5-3048-8961-5969497C0019}" dt="2022-11-23T17:28:25.163" v="94747"/>
          <ac:spMkLst>
            <pc:docMk/>
            <pc:sldMk cId="3505808948" sldId="399"/>
            <ac:spMk id="40" creationId="{CF7ED3B8-7EDA-E2AC-E1A6-07FE8FB367AE}"/>
          </ac:spMkLst>
        </pc:spChg>
        <pc:spChg chg="mod">
          <ac:chgData name="Merlin Gutter" userId="2abc6f04-74af-430b-bdc8-569c3bfa1dda" providerId="ADAL" clId="{CB1EFBC3-10F5-3048-8961-5969497C0019}" dt="2022-11-23T17:28:25.163" v="94748"/>
          <ac:spMkLst>
            <pc:docMk/>
            <pc:sldMk cId="3505808948" sldId="399"/>
            <ac:spMk id="42" creationId="{0C06680F-40FF-AB8F-DC29-414D19EA23ED}"/>
          </ac:spMkLst>
        </pc:spChg>
        <pc:spChg chg="mod">
          <ac:chgData name="Merlin Gutter" userId="2abc6f04-74af-430b-bdc8-569c3bfa1dda" providerId="ADAL" clId="{CB1EFBC3-10F5-3048-8961-5969497C0019}" dt="2022-11-23T17:28:25.164" v="94749"/>
          <ac:spMkLst>
            <pc:docMk/>
            <pc:sldMk cId="3505808948" sldId="399"/>
            <ac:spMk id="43" creationId="{5E0F6D59-4924-FA4E-D4A7-EF064A9D9D36}"/>
          </ac:spMkLst>
        </pc:spChg>
        <pc:spChg chg="del mod">
          <ac:chgData name="Merlin Gutter" userId="2abc6f04-74af-430b-bdc8-569c3bfa1dda" providerId="ADAL" clId="{CB1EFBC3-10F5-3048-8961-5969497C0019}" dt="2022-11-23T17:24:36.756" v="84222" actId="478"/>
          <ac:spMkLst>
            <pc:docMk/>
            <pc:sldMk cId="3505808948" sldId="399"/>
            <ac:spMk id="45" creationId="{6E96FBD5-096D-A5B2-690D-33DB03B48C36}"/>
          </ac:spMkLst>
        </pc:spChg>
        <pc:spChg chg="add mod replST">
          <ac:chgData name="Merlin Gutter" userId="2abc6f04-74af-430b-bdc8-569c3bfa1dda" providerId="ADAL" clId="{CB1EFBC3-10F5-3048-8961-5969497C0019}" dt="2022-11-23T17:28:25.168" v="94769"/>
          <ac:spMkLst>
            <pc:docMk/>
            <pc:sldMk cId="3505808948" sldId="399"/>
            <ac:spMk id="63" creationId="{32C5D45C-4AD1-4627-129F-74EB9629B48C}"/>
          </ac:spMkLst>
        </pc:spChg>
        <pc:spChg chg="add mod replST">
          <ac:chgData name="Merlin Gutter" userId="2abc6f04-74af-430b-bdc8-569c3bfa1dda" providerId="ADAL" clId="{CB1EFBC3-10F5-3048-8961-5969497C0019}" dt="2022-11-23T17:28:25.168" v="94772"/>
          <ac:spMkLst>
            <pc:docMk/>
            <pc:sldMk cId="3505808948" sldId="399"/>
            <ac:spMk id="64" creationId="{3C9FEA9A-F3D6-C7A9-5253-E2BD75099F41}"/>
          </ac:spMkLst>
        </pc:spChg>
        <pc:spChg chg="add mod replST">
          <ac:chgData name="Merlin Gutter" userId="2abc6f04-74af-430b-bdc8-569c3bfa1dda" providerId="ADAL" clId="{CB1EFBC3-10F5-3048-8961-5969497C0019}" dt="2022-11-23T17:28:25.167" v="94766"/>
          <ac:spMkLst>
            <pc:docMk/>
            <pc:sldMk cId="3505808948" sldId="399"/>
            <ac:spMk id="65" creationId="{E182FC0B-9421-DA29-3FB2-2889D10FAA6E}"/>
          </ac:spMkLst>
        </pc:spChg>
        <pc:spChg chg="add mod replST">
          <ac:chgData name="Merlin Gutter" userId="2abc6f04-74af-430b-bdc8-569c3bfa1dda" providerId="ADAL" clId="{CB1EFBC3-10F5-3048-8961-5969497C0019}" dt="2022-11-23T17:28:25.168" v="94773"/>
          <ac:spMkLst>
            <pc:docMk/>
            <pc:sldMk cId="3505808948" sldId="399"/>
            <ac:spMk id="66" creationId="{43A7DE57-9885-52B6-6519-5DF18E0E5A7B}"/>
          </ac:spMkLst>
        </pc:spChg>
        <pc:spChg chg="add mod replST">
          <ac:chgData name="Merlin Gutter" userId="2abc6f04-74af-430b-bdc8-569c3bfa1dda" providerId="ADAL" clId="{CB1EFBC3-10F5-3048-8961-5969497C0019}" dt="2022-11-23T17:28:25.167" v="94767"/>
          <ac:spMkLst>
            <pc:docMk/>
            <pc:sldMk cId="3505808948" sldId="399"/>
            <ac:spMk id="67" creationId="{55957967-307A-D766-F8FF-7836A2F07D03}"/>
          </ac:spMkLst>
        </pc:spChg>
        <pc:spChg chg="add mod replST">
          <ac:chgData name="Merlin Gutter" userId="2abc6f04-74af-430b-bdc8-569c3bfa1dda" providerId="ADAL" clId="{CB1EFBC3-10F5-3048-8961-5969497C0019}" dt="2022-11-23T17:28:25.168" v="94770"/>
          <ac:spMkLst>
            <pc:docMk/>
            <pc:sldMk cId="3505808948" sldId="399"/>
            <ac:spMk id="68" creationId="{387628E0-DF20-9A18-5AEA-3019A50D5D46}"/>
          </ac:spMkLst>
        </pc:spChg>
        <pc:spChg chg="add mod replST">
          <ac:chgData name="Merlin Gutter" userId="2abc6f04-74af-430b-bdc8-569c3bfa1dda" providerId="ADAL" clId="{CB1EFBC3-10F5-3048-8961-5969497C0019}" dt="2022-11-23T17:28:25.168" v="94771"/>
          <ac:spMkLst>
            <pc:docMk/>
            <pc:sldMk cId="3505808948" sldId="399"/>
            <ac:spMk id="69" creationId="{3C410A5A-8AC8-30DD-2387-DCE54A4234A7}"/>
          </ac:spMkLst>
        </pc:spChg>
        <pc:spChg chg="add mod replST">
          <ac:chgData name="Merlin Gutter" userId="2abc6f04-74af-430b-bdc8-569c3bfa1dda" providerId="ADAL" clId="{CB1EFBC3-10F5-3048-8961-5969497C0019}" dt="2022-11-23T17:28:25.167" v="94768"/>
          <ac:spMkLst>
            <pc:docMk/>
            <pc:sldMk cId="3505808948" sldId="399"/>
            <ac:spMk id="70" creationId="{A54A686E-F37D-B2A0-FE6E-5BE1C593E099}"/>
          </ac:spMkLst>
        </pc:spChg>
        <pc:spChg chg="add mod replST">
          <ac:chgData name="Merlin Gutter" userId="2abc6f04-74af-430b-bdc8-569c3bfa1dda" providerId="ADAL" clId="{CB1EFBC3-10F5-3048-8961-5969497C0019}" dt="2022-11-23T17:28:25.169" v="94774"/>
          <ac:spMkLst>
            <pc:docMk/>
            <pc:sldMk cId="3505808948" sldId="399"/>
            <ac:spMk id="71" creationId="{6AC205B5-7852-F30F-7BE2-A18CEA8358C7}"/>
          </ac:spMkLst>
        </pc:spChg>
        <pc:spChg chg="add mod replST">
          <ac:chgData name="Merlin Gutter" userId="2abc6f04-74af-430b-bdc8-569c3bfa1dda" providerId="ADAL" clId="{CB1EFBC3-10F5-3048-8961-5969497C0019}" dt="2022-11-23T17:28:25.169" v="94776"/>
          <ac:spMkLst>
            <pc:docMk/>
            <pc:sldMk cId="3505808948" sldId="399"/>
            <ac:spMk id="72" creationId="{2818825D-180A-2911-1A64-D3F64BC3B886}"/>
          </ac:spMkLst>
        </pc:spChg>
        <pc:spChg chg="add mod replST">
          <ac:chgData name="Merlin Gutter" userId="2abc6f04-74af-430b-bdc8-569c3bfa1dda" providerId="ADAL" clId="{CB1EFBC3-10F5-3048-8961-5969497C0019}" dt="2022-11-23T17:28:25.169" v="94775"/>
          <ac:spMkLst>
            <pc:docMk/>
            <pc:sldMk cId="3505808948" sldId="399"/>
            <ac:spMk id="73" creationId="{F2480755-F297-AAA5-1C1E-15496E20055D}"/>
          </ac:spMkLst>
        </pc:spChg>
        <pc:spChg chg="add mod replST">
          <ac:chgData name="Merlin Gutter" userId="2abc6f04-74af-430b-bdc8-569c3bfa1dda" providerId="ADAL" clId="{CB1EFBC3-10F5-3048-8961-5969497C0019}" dt="2022-11-23T17:28:25.178" v="94819"/>
          <ac:spMkLst>
            <pc:docMk/>
            <pc:sldMk cId="3505808948" sldId="399"/>
            <ac:spMk id="75" creationId="{F7954165-8FFC-E18B-B516-DD2FF0F06D35}"/>
          </ac:spMkLst>
        </pc:spChg>
        <pc:spChg chg="add mod replST">
          <ac:chgData name="Merlin Gutter" userId="2abc6f04-74af-430b-bdc8-569c3bfa1dda" providerId="ADAL" clId="{CB1EFBC3-10F5-3048-8961-5969497C0019}" dt="2022-11-23T17:28:25.180" v="94829"/>
          <ac:spMkLst>
            <pc:docMk/>
            <pc:sldMk cId="3505808948" sldId="399"/>
            <ac:spMk id="76" creationId="{3B2C80B9-B07E-D5A5-CA7A-0610864761E7}"/>
          </ac:spMkLst>
        </pc:spChg>
        <pc:spChg chg="add mod replST">
          <ac:chgData name="Merlin Gutter" userId="2abc6f04-74af-430b-bdc8-569c3bfa1dda" providerId="ADAL" clId="{CB1EFBC3-10F5-3048-8961-5969497C0019}" dt="2022-11-23T17:28:25.175" v="94804"/>
          <ac:spMkLst>
            <pc:docMk/>
            <pc:sldMk cId="3505808948" sldId="399"/>
            <ac:spMk id="77" creationId="{F949BB3D-6C17-342B-AC4D-2052B1936156}"/>
          </ac:spMkLst>
        </pc:spChg>
        <pc:spChg chg="add mod replST">
          <ac:chgData name="Merlin Gutter" userId="2abc6f04-74af-430b-bdc8-569c3bfa1dda" providerId="ADAL" clId="{CB1EFBC3-10F5-3048-8961-5969497C0019}" dt="2022-11-23T17:28:25.172" v="94792"/>
          <ac:spMkLst>
            <pc:docMk/>
            <pc:sldMk cId="3505808948" sldId="399"/>
            <ac:spMk id="78" creationId="{C93010FF-C37E-F8FC-0FB8-D9452C820500}"/>
          </ac:spMkLst>
        </pc:spChg>
        <pc:spChg chg="add mod replST">
          <ac:chgData name="Merlin Gutter" userId="2abc6f04-74af-430b-bdc8-569c3bfa1dda" providerId="ADAL" clId="{CB1EFBC3-10F5-3048-8961-5969497C0019}" dt="2022-11-23T17:28:25.171" v="94785"/>
          <ac:spMkLst>
            <pc:docMk/>
            <pc:sldMk cId="3505808948" sldId="399"/>
            <ac:spMk id="79" creationId="{F76BB3CA-8EF4-777B-6696-1C82CE3C0603}"/>
          </ac:spMkLst>
        </pc:spChg>
        <pc:spChg chg="add mod replST">
          <ac:chgData name="Merlin Gutter" userId="2abc6f04-74af-430b-bdc8-569c3bfa1dda" providerId="ADAL" clId="{CB1EFBC3-10F5-3048-8961-5969497C0019}" dt="2022-11-23T17:28:25.180" v="94832"/>
          <ac:spMkLst>
            <pc:docMk/>
            <pc:sldMk cId="3505808948" sldId="399"/>
            <ac:spMk id="80" creationId="{74225C3A-2694-D770-A85A-DB18D47A28BD}"/>
          </ac:spMkLst>
        </pc:spChg>
        <pc:spChg chg="add mod replST">
          <ac:chgData name="Merlin Gutter" userId="2abc6f04-74af-430b-bdc8-569c3bfa1dda" providerId="ADAL" clId="{CB1EFBC3-10F5-3048-8961-5969497C0019}" dt="2022-11-23T17:28:25.171" v="94786"/>
          <ac:spMkLst>
            <pc:docMk/>
            <pc:sldMk cId="3505808948" sldId="399"/>
            <ac:spMk id="81" creationId="{759C057F-EB35-06E8-ECF1-12590153AF79}"/>
          </ac:spMkLst>
        </pc:spChg>
        <pc:spChg chg="add mod replST">
          <ac:chgData name="Merlin Gutter" userId="2abc6f04-74af-430b-bdc8-569c3bfa1dda" providerId="ADAL" clId="{CB1EFBC3-10F5-3048-8961-5969497C0019}" dt="2022-11-23T17:28:25.171" v="94784"/>
          <ac:spMkLst>
            <pc:docMk/>
            <pc:sldMk cId="3505808948" sldId="399"/>
            <ac:spMk id="82" creationId="{4E7A05F4-E794-83B7-1C04-29D67115DDEA}"/>
          </ac:spMkLst>
        </pc:spChg>
        <pc:spChg chg="add mod replST">
          <ac:chgData name="Merlin Gutter" userId="2abc6f04-74af-430b-bdc8-569c3bfa1dda" providerId="ADAL" clId="{CB1EFBC3-10F5-3048-8961-5969497C0019}" dt="2022-11-23T17:28:25.180" v="94828"/>
          <ac:spMkLst>
            <pc:docMk/>
            <pc:sldMk cId="3505808948" sldId="399"/>
            <ac:spMk id="83" creationId="{F01AFC18-4B97-EDEB-E706-BF1F804AF4A0}"/>
          </ac:spMkLst>
        </pc:spChg>
        <pc:spChg chg="add mod replST">
          <ac:chgData name="Merlin Gutter" userId="2abc6f04-74af-430b-bdc8-569c3bfa1dda" providerId="ADAL" clId="{CB1EFBC3-10F5-3048-8961-5969497C0019}" dt="2022-11-23T17:28:25.171" v="94788"/>
          <ac:spMkLst>
            <pc:docMk/>
            <pc:sldMk cId="3505808948" sldId="399"/>
            <ac:spMk id="84" creationId="{5E4C6666-4458-CD01-E4D5-7E68D646BE63}"/>
          </ac:spMkLst>
        </pc:spChg>
        <pc:spChg chg="add mod replST">
          <ac:chgData name="Merlin Gutter" userId="2abc6f04-74af-430b-bdc8-569c3bfa1dda" providerId="ADAL" clId="{CB1EFBC3-10F5-3048-8961-5969497C0019}" dt="2022-11-23T17:28:25.171" v="94787"/>
          <ac:spMkLst>
            <pc:docMk/>
            <pc:sldMk cId="3505808948" sldId="399"/>
            <ac:spMk id="85" creationId="{71FCB19F-5475-3B1A-A0A5-2D1ED8A0D216}"/>
          </ac:spMkLst>
        </pc:spChg>
        <pc:spChg chg="add mod replST">
          <ac:chgData name="Merlin Gutter" userId="2abc6f04-74af-430b-bdc8-569c3bfa1dda" providerId="ADAL" clId="{CB1EFBC3-10F5-3048-8961-5969497C0019}" dt="2022-11-23T17:28:25.176" v="94813"/>
          <ac:spMkLst>
            <pc:docMk/>
            <pc:sldMk cId="3505808948" sldId="399"/>
            <ac:spMk id="86" creationId="{76B8611B-BF0F-CFB2-D1CF-B4D9F341FB04}"/>
          </ac:spMkLst>
        </pc:spChg>
        <pc:spChg chg="add mod replST">
          <ac:chgData name="Merlin Gutter" userId="2abc6f04-74af-430b-bdc8-569c3bfa1dda" providerId="ADAL" clId="{CB1EFBC3-10F5-3048-8961-5969497C0019}" dt="2022-11-23T17:28:25.172" v="94789"/>
          <ac:spMkLst>
            <pc:docMk/>
            <pc:sldMk cId="3505808948" sldId="399"/>
            <ac:spMk id="87" creationId="{1786E6BB-AD7F-B44E-E826-8A07768A66DE}"/>
          </ac:spMkLst>
        </pc:spChg>
        <pc:spChg chg="add mod replST">
          <ac:chgData name="Merlin Gutter" userId="2abc6f04-74af-430b-bdc8-569c3bfa1dda" providerId="ADAL" clId="{CB1EFBC3-10F5-3048-8961-5969497C0019}" dt="2022-11-23T17:28:25.180" v="94831"/>
          <ac:spMkLst>
            <pc:docMk/>
            <pc:sldMk cId="3505808948" sldId="399"/>
            <ac:spMk id="88" creationId="{9557F4FA-0984-8D80-C9AC-8E0E7D7A5011}"/>
          </ac:spMkLst>
        </pc:spChg>
        <pc:spChg chg="add mod replST">
          <ac:chgData name="Merlin Gutter" userId="2abc6f04-74af-430b-bdc8-569c3bfa1dda" providerId="ADAL" clId="{CB1EFBC3-10F5-3048-8961-5969497C0019}" dt="2022-11-23T17:28:25.172" v="94791"/>
          <ac:spMkLst>
            <pc:docMk/>
            <pc:sldMk cId="3505808948" sldId="399"/>
            <ac:spMk id="89" creationId="{D51F1D18-F0EA-DEFB-94EF-D94A0D43D027}"/>
          </ac:spMkLst>
        </pc:spChg>
        <pc:spChg chg="add mod replST">
          <ac:chgData name="Merlin Gutter" userId="2abc6f04-74af-430b-bdc8-569c3bfa1dda" providerId="ADAL" clId="{CB1EFBC3-10F5-3048-8961-5969497C0019}" dt="2022-11-23T17:28:25.173" v="94794"/>
          <ac:spMkLst>
            <pc:docMk/>
            <pc:sldMk cId="3505808948" sldId="399"/>
            <ac:spMk id="90" creationId="{6ACF863E-FDC3-50E2-CC22-BA5337C1E891}"/>
          </ac:spMkLst>
        </pc:spChg>
        <pc:spChg chg="add mod replST">
          <ac:chgData name="Merlin Gutter" userId="2abc6f04-74af-430b-bdc8-569c3bfa1dda" providerId="ADAL" clId="{CB1EFBC3-10F5-3048-8961-5969497C0019}" dt="2022-11-23T17:28:25.173" v="94795"/>
          <ac:spMkLst>
            <pc:docMk/>
            <pc:sldMk cId="3505808948" sldId="399"/>
            <ac:spMk id="91" creationId="{88670B54-6FC1-3CB3-974A-3AADB7577174}"/>
          </ac:spMkLst>
        </pc:spChg>
        <pc:spChg chg="add mod replST">
          <ac:chgData name="Merlin Gutter" userId="2abc6f04-74af-430b-bdc8-569c3bfa1dda" providerId="ADAL" clId="{CB1EFBC3-10F5-3048-8961-5969497C0019}" dt="2022-11-23T17:28:25.174" v="94800"/>
          <ac:spMkLst>
            <pc:docMk/>
            <pc:sldMk cId="3505808948" sldId="399"/>
            <ac:spMk id="92" creationId="{19958275-D01C-D9E2-3358-5E3CF915604A}"/>
          </ac:spMkLst>
        </pc:spChg>
        <pc:spChg chg="add mod replST">
          <ac:chgData name="Merlin Gutter" userId="2abc6f04-74af-430b-bdc8-569c3bfa1dda" providerId="ADAL" clId="{CB1EFBC3-10F5-3048-8961-5969497C0019}" dt="2022-11-23T17:28:25.173" v="94796"/>
          <ac:spMkLst>
            <pc:docMk/>
            <pc:sldMk cId="3505808948" sldId="399"/>
            <ac:spMk id="93" creationId="{19DC2949-DE29-08A9-6A36-1869DD26ADCA}"/>
          </ac:spMkLst>
        </pc:spChg>
        <pc:spChg chg="add mod replST">
          <ac:chgData name="Merlin Gutter" userId="2abc6f04-74af-430b-bdc8-569c3bfa1dda" providerId="ADAL" clId="{CB1EFBC3-10F5-3048-8961-5969497C0019}" dt="2022-11-23T17:28:25.174" v="94801"/>
          <ac:spMkLst>
            <pc:docMk/>
            <pc:sldMk cId="3505808948" sldId="399"/>
            <ac:spMk id="94" creationId="{F0011749-18D2-8B51-3C5E-28672A19FA3C}"/>
          </ac:spMkLst>
        </pc:spChg>
        <pc:spChg chg="add mod replST">
          <ac:chgData name="Merlin Gutter" userId="2abc6f04-74af-430b-bdc8-569c3bfa1dda" providerId="ADAL" clId="{CB1EFBC3-10F5-3048-8961-5969497C0019}" dt="2022-11-23T17:28:25.175" v="94806"/>
          <ac:spMkLst>
            <pc:docMk/>
            <pc:sldMk cId="3505808948" sldId="399"/>
            <ac:spMk id="95" creationId="{FFC12358-CC44-6411-FEB8-48E7D66E7BF8}"/>
          </ac:spMkLst>
        </pc:spChg>
        <pc:spChg chg="add mod replST">
          <ac:chgData name="Merlin Gutter" userId="2abc6f04-74af-430b-bdc8-569c3bfa1dda" providerId="ADAL" clId="{CB1EFBC3-10F5-3048-8961-5969497C0019}" dt="2022-11-23T17:28:25.174" v="94803"/>
          <ac:spMkLst>
            <pc:docMk/>
            <pc:sldMk cId="3505808948" sldId="399"/>
            <ac:spMk id="96" creationId="{4CE66421-A685-4A24-9D61-DF84787419B7}"/>
          </ac:spMkLst>
        </pc:spChg>
        <pc:spChg chg="add mod replST">
          <ac:chgData name="Merlin Gutter" userId="2abc6f04-74af-430b-bdc8-569c3bfa1dda" providerId="ADAL" clId="{CB1EFBC3-10F5-3048-8961-5969497C0019}" dt="2022-11-23T17:28:25.178" v="94822"/>
          <ac:spMkLst>
            <pc:docMk/>
            <pc:sldMk cId="3505808948" sldId="399"/>
            <ac:spMk id="97" creationId="{A3981093-29C3-6DED-C25D-9C2E107C92F2}"/>
          </ac:spMkLst>
        </pc:spChg>
        <pc:spChg chg="add mod replST">
          <ac:chgData name="Merlin Gutter" userId="2abc6f04-74af-430b-bdc8-569c3bfa1dda" providerId="ADAL" clId="{CB1EFBC3-10F5-3048-8961-5969497C0019}" dt="2022-11-23T17:28:25.175" v="94807"/>
          <ac:spMkLst>
            <pc:docMk/>
            <pc:sldMk cId="3505808948" sldId="399"/>
            <ac:spMk id="98" creationId="{1E548F2F-C904-F0BD-F913-53B43F3B93F5}"/>
          </ac:spMkLst>
        </pc:spChg>
        <pc:spChg chg="add mod replST">
          <ac:chgData name="Merlin Gutter" userId="2abc6f04-74af-430b-bdc8-569c3bfa1dda" providerId="ADAL" clId="{CB1EFBC3-10F5-3048-8961-5969497C0019}" dt="2022-11-23T17:28:25.173" v="94797"/>
          <ac:spMkLst>
            <pc:docMk/>
            <pc:sldMk cId="3505808948" sldId="399"/>
            <ac:spMk id="99" creationId="{FD296FF2-7FEB-1E33-C6C0-5140943B6726}"/>
          </ac:spMkLst>
        </pc:spChg>
        <pc:spChg chg="add mod replST">
          <ac:chgData name="Merlin Gutter" userId="2abc6f04-74af-430b-bdc8-569c3bfa1dda" providerId="ADAL" clId="{CB1EFBC3-10F5-3048-8961-5969497C0019}" dt="2022-11-23T17:28:25.174" v="94799"/>
          <ac:spMkLst>
            <pc:docMk/>
            <pc:sldMk cId="3505808948" sldId="399"/>
            <ac:spMk id="100" creationId="{69A3E3BE-D27D-FC78-7B3F-F7B700DDE241}"/>
          </ac:spMkLst>
        </pc:spChg>
        <pc:spChg chg="add mod replST">
          <ac:chgData name="Merlin Gutter" userId="2abc6f04-74af-430b-bdc8-569c3bfa1dda" providerId="ADAL" clId="{CB1EFBC3-10F5-3048-8961-5969497C0019}" dt="2022-11-23T17:28:25.172" v="94790"/>
          <ac:spMkLst>
            <pc:docMk/>
            <pc:sldMk cId="3505808948" sldId="399"/>
            <ac:spMk id="101" creationId="{F40B17D2-D1D5-0901-D090-CC988FB7F8DB}"/>
          </ac:spMkLst>
        </pc:spChg>
        <pc:spChg chg="add mod replST">
          <ac:chgData name="Merlin Gutter" userId="2abc6f04-74af-430b-bdc8-569c3bfa1dda" providerId="ADAL" clId="{CB1EFBC3-10F5-3048-8961-5969497C0019}" dt="2022-11-23T17:28:25.175" v="94805"/>
          <ac:spMkLst>
            <pc:docMk/>
            <pc:sldMk cId="3505808948" sldId="399"/>
            <ac:spMk id="102" creationId="{9B8C0583-A15B-FCCA-2764-B95AFBF91AB3}"/>
          </ac:spMkLst>
        </pc:spChg>
        <pc:spChg chg="add mod replST">
          <ac:chgData name="Merlin Gutter" userId="2abc6f04-74af-430b-bdc8-569c3bfa1dda" providerId="ADAL" clId="{CB1EFBC3-10F5-3048-8961-5969497C0019}" dt="2022-11-23T17:28:25.179" v="94826"/>
          <ac:spMkLst>
            <pc:docMk/>
            <pc:sldMk cId="3505808948" sldId="399"/>
            <ac:spMk id="103" creationId="{5F499540-F340-BDFC-509D-6830B959D6A0}"/>
          </ac:spMkLst>
        </pc:spChg>
        <pc:spChg chg="add mod replST">
          <ac:chgData name="Merlin Gutter" userId="2abc6f04-74af-430b-bdc8-569c3bfa1dda" providerId="ADAL" clId="{CB1EFBC3-10F5-3048-8961-5969497C0019}" dt="2022-11-23T17:28:25.181" v="94833"/>
          <ac:spMkLst>
            <pc:docMk/>
            <pc:sldMk cId="3505808948" sldId="399"/>
            <ac:spMk id="104" creationId="{C53219EB-B9A1-0F0B-E17D-0417AA95F142}"/>
          </ac:spMkLst>
        </pc:spChg>
        <pc:spChg chg="add mod replST">
          <ac:chgData name="Merlin Gutter" userId="2abc6f04-74af-430b-bdc8-569c3bfa1dda" providerId="ADAL" clId="{CB1EFBC3-10F5-3048-8961-5969497C0019}" dt="2022-11-23T17:28:25.176" v="94809"/>
          <ac:spMkLst>
            <pc:docMk/>
            <pc:sldMk cId="3505808948" sldId="399"/>
            <ac:spMk id="105" creationId="{39F4E30C-EFD6-E0FE-93E6-499129C41C92}"/>
          </ac:spMkLst>
        </pc:spChg>
        <pc:spChg chg="add mod replST">
          <ac:chgData name="Merlin Gutter" userId="2abc6f04-74af-430b-bdc8-569c3bfa1dda" providerId="ADAL" clId="{CB1EFBC3-10F5-3048-8961-5969497C0019}" dt="2022-11-23T17:28:25.176" v="94810"/>
          <ac:spMkLst>
            <pc:docMk/>
            <pc:sldMk cId="3505808948" sldId="399"/>
            <ac:spMk id="106" creationId="{91A71B84-DD4F-8529-42D0-EC4433C226BA}"/>
          </ac:spMkLst>
        </pc:spChg>
        <pc:spChg chg="add mod replST">
          <ac:chgData name="Merlin Gutter" userId="2abc6f04-74af-430b-bdc8-569c3bfa1dda" providerId="ADAL" clId="{CB1EFBC3-10F5-3048-8961-5969497C0019}" dt="2022-11-23T17:28:25.176" v="94811"/>
          <ac:spMkLst>
            <pc:docMk/>
            <pc:sldMk cId="3505808948" sldId="399"/>
            <ac:spMk id="107" creationId="{4CE09E8D-2EBD-482F-F970-9B0638293EB3}"/>
          </ac:spMkLst>
        </pc:spChg>
        <pc:spChg chg="add mod replST">
          <ac:chgData name="Merlin Gutter" userId="2abc6f04-74af-430b-bdc8-569c3bfa1dda" providerId="ADAL" clId="{CB1EFBC3-10F5-3048-8961-5969497C0019}" dt="2022-11-23T17:28:25.176" v="94812"/>
          <ac:spMkLst>
            <pc:docMk/>
            <pc:sldMk cId="3505808948" sldId="399"/>
            <ac:spMk id="108" creationId="{DD3D38D8-EFA5-7E59-76BF-E6163FA3CA1A}"/>
          </ac:spMkLst>
        </pc:spChg>
        <pc:spChg chg="add mod replST">
          <ac:chgData name="Merlin Gutter" userId="2abc6f04-74af-430b-bdc8-569c3bfa1dda" providerId="ADAL" clId="{CB1EFBC3-10F5-3048-8961-5969497C0019}" dt="2022-11-23T17:28:25.177" v="94814"/>
          <ac:spMkLst>
            <pc:docMk/>
            <pc:sldMk cId="3505808948" sldId="399"/>
            <ac:spMk id="109" creationId="{885B0B41-88B3-92E7-C826-8BBC50842F14}"/>
          </ac:spMkLst>
        </pc:spChg>
        <pc:spChg chg="add mod replST">
          <ac:chgData name="Merlin Gutter" userId="2abc6f04-74af-430b-bdc8-569c3bfa1dda" providerId="ADAL" clId="{CB1EFBC3-10F5-3048-8961-5969497C0019}" dt="2022-11-23T17:28:25.177" v="94815"/>
          <ac:spMkLst>
            <pc:docMk/>
            <pc:sldMk cId="3505808948" sldId="399"/>
            <ac:spMk id="110" creationId="{AB96F481-9EFC-34E2-7534-A576370F62FF}"/>
          </ac:spMkLst>
        </pc:spChg>
        <pc:spChg chg="add mod replST">
          <ac:chgData name="Merlin Gutter" userId="2abc6f04-74af-430b-bdc8-569c3bfa1dda" providerId="ADAL" clId="{CB1EFBC3-10F5-3048-8961-5969497C0019}" dt="2022-11-23T17:28:25.179" v="94823"/>
          <ac:spMkLst>
            <pc:docMk/>
            <pc:sldMk cId="3505808948" sldId="399"/>
            <ac:spMk id="111" creationId="{C8ADC001-3291-8EAF-EEFE-2EB02120F57A}"/>
          </ac:spMkLst>
        </pc:spChg>
        <pc:spChg chg="add mod replST">
          <ac:chgData name="Merlin Gutter" userId="2abc6f04-74af-430b-bdc8-569c3bfa1dda" providerId="ADAL" clId="{CB1EFBC3-10F5-3048-8961-5969497C0019}" dt="2022-11-23T17:28:25.180" v="94830"/>
          <ac:spMkLst>
            <pc:docMk/>
            <pc:sldMk cId="3505808948" sldId="399"/>
            <ac:spMk id="112" creationId="{4F00FCF6-94B9-756C-C671-71A618F474CC}"/>
          </ac:spMkLst>
        </pc:spChg>
        <pc:spChg chg="add mod replST">
          <ac:chgData name="Merlin Gutter" userId="2abc6f04-74af-430b-bdc8-569c3bfa1dda" providerId="ADAL" clId="{CB1EFBC3-10F5-3048-8961-5969497C0019}" dt="2022-11-23T17:28:25.177" v="94817"/>
          <ac:spMkLst>
            <pc:docMk/>
            <pc:sldMk cId="3505808948" sldId="399"/>
            <ac:spMk id="113" creationId="{9F783156-1E65-5937-33CD-38DE723B9C6B}"/>
          </ac:spMkLst>
        </pc:spChg>
        <pc:spChg chg="add mod replST">
          <ac:chgData name="Merlin Gutter" userId="2abc6f04-74af-430b-bdc8-569c3bfa1dda" providerId="ADAL" clId="{CB1EFBC3-10F5-3048-8961-5969497C0019}" dt="2022-11-23T17:28:25.177" v="94816"/>
          <ac:spMkLst>
            <pc:docMk/>
            <pc:sldMk cId="3505808948" sldId="399"/>
            <ac:spMk id="114" creationId="{5DF792CD-2043-C12C-3DA3-5044416AC194}"/>
          </ac:spMkLst>
        </pc:spChg>
        <pc:spChg chg="add mod replST">
          <ac:chgData name="Merlin Gutter" userId="2abc6f04-74af-430b-bdc8-569c3bfa1dda" providerId="ADAL" clId="{CB1EFBC3-10F5-3048-8961-5969497C0019}" dt="2022-11-23T17:28:25.173" v="94798"/>
          <ac:spMkLst>
            <pc:docMk/>
            <pc:sldMk cId="3505808948" sldId="399"/>
            <ac:spMk id="115" creationId="{4A1691AE-ED22-5C5A-79F9-4E9084A6C30A}"/>
          </ac:spMkLst>
        </pc:spChg>
        <pc:spChg chg="add mod replST">
          <ac:chgData name="Merlin Gutter" userId="2abc6f04-74af-430b-bdc8-569c3bfa1dda" providerId="ADAL" clId="{CB1EFBC3-10F5-3048-8961-5969497C0019}" dt="2022-11-23T17:28:25.177" v="94818"/>
          <ac:spMkLst>
            <pc:docMk/>
            <pc:sldMk cId="3505808948" sldId="399"/>
            <ac:spMk id="116" creationId="{B20D77F3-3E70-5CBD-C7D9-EAF9AACD2154}"/>
          </ac:spMkLst>
        </pc:spChg>
        <pc:spChg chg="add mod replST">
          <ac:chgData name="Merlin Gutter" userId="2abc6f04-74af-430b-bdc8-569c3bfa1dda" providerId="ADAL" clId="{CB1EFBC3-10F5-3048-8961-5969497C0019}" dt="2022-11-23T17:28:25.174" v="94802"/>
          <ac:spMkLst>
            <pc:docMk/>
            <pc:sldMk cId="3505808948" sldId="399"/>
            <ac:spMk id="117" creationId="{6F5AAD87-A3BB-991A-F24A-C1947D0085C8}"/>
          </ac:spMkLst>
        </pc:spChg>
        <pc:spChg chg="add mod replST">
          <ac:chgData name="Merlin Gutter" userId="2abc6f04-74af-430b-bdc8-569c3bfa1dda" providerId="ADAL" clId="{CB1EFBC3-10F5-3048-8961-5969497C0019}" dt="2022-11-23T17:28:25.178" v="94820"/>
          <ac:spMkLst>
            <pc:docMk/>
            <pc:sldMk cId="3505808948" sldId="399"/>
            <ac:spMk id="118" creationId="{7CA6EEA1-1A78-81D0-30AF-7783D35339A9}"/>
          </ac:spMkLst>
        </pc:spChg>
        <pc:spChg chg="add mod replST">
          <ac:chgData name="Merlin Gutter" userId="2abc6f04-74af-430b-bdc8-569c3bfa1dda" providerId="ADAL" clId="{CB1EFBC3-10F5-3048-8961-5969497C0019}" dt="2022-11-23T17:28:25.178" v="94821"/>
          <ac:spMkLst>
            <pc:docMk/>
            <pc:sldMk cId="3505808948" sldId="399"/>
            <ac:spMk id="119" creationId="{5BB46F8F-4AA7-C909-D5CC-2D196F82B303}"/>
          </ac:spMkLst>
        </pc:spChg>
        <pc:spChg chg="add mod replST">
          <ac:chgData name="Merlin Gutter" userId="2abc6f04-74af-430b-bdc8-569c3bfa1dda" providerId="ADAL" clId="{CB1EFBC3-10F5-3048-8961-5969497C0019}" dt="2022-11-23T17:28:25.175" v="94808"/>
          <ac:spMkLst>
            <pc:docMk/>
            <pc:sldMk cId="3505808948" sldId="399"/>
            <ac:spMk id="120" creationId="{66A28265-B7E2-B6FE-5D5D-06129AF28B89}"/>
          </ac:spMkLst>
        </pc:spChg>
        <pc:spChg chg="add mod replST">
          <ac:chgData name="Merlin Gutter" userId="2abc6f04-74af-430b-bdc8-569c3bfa1dda" providerId="ADAL" clId="{CB1EFBC3-10F5-3048-8961-5969497C0019}" dt="2022-11-23T17:28:25.172" v="94793"/>
          <ac:spMkLst>
            <pc:docMk/>
            <pc:sldMk cId="3505808948" sldId="399"/>
            <ac:spMk id="121" creationId="{F441A7CD-1738-1257-3CCC-154C8F869307}"/>
          </ac:spMkLst>
        </pc:spChg>
        <pc:spChg chg="add mod replST">
          <ac:chgData name="Merlin Gutter" userId="2abc6f04-74af-430b-bdc8-569c3bfa1dda" providerId="ADAL" clId="{CB1EFBC3-10F5-3048-8961-5969497C0019}" dt="2022-11-23T17:28:25.179" v="94825"/>
          <ac:spMkLst>
            <pc:docMk/>
            <pc:sldMk cId="3505808948" sldId="399"/>
            <ac:spMk id="122" creationId="{6D21D482-91EA-85C0-E5F6-35646044E6B9}"/>
          </ac:spMkLst>
        </pc:spChg>
        <pc:spChg chg="add mod replST">
          <ac:chgData name="Merlin Gutter" userId="2abc6f04-74af-430b-bdc8-569c3bfa1dda" providerId="ADAL" clId="{CB1EFBC3-10F5-3048-8961-5969497C0019}" dt="2022-11-23T17:28:25.179" v="94824"/>
          <ac:spMkLst>
            <pc:docMk/>
            <pc:sldMk cId="3505808948" sldId="399"/>
            <ac:spMk id="123" creationId="{02CA99CC-02A1-BF0A-B278-E081F42052E0}"/>
          </ac:spMkLst>
        </pc:spChg>
        <pc:spChg chg="add mod replST">
          <ac:chgData name="Merlin Gutter" userId="2abc6f04-74af-430b-bdc8-569c3bfa1dda" providerId="ADAL" clId="{CB1EFBC3-10F5-3048-8961-5969497C0019}" dt="2022-11-23T17:28:25.179" v="94827"/>
          <ac:spMkLst>
            <pc:docMk/>
            <pc:sldMk cId="3505808948" sldId="399"/>
            <ac:spMk id="124" creationId="{8DF0F20B-9853-DC29-3F26-0D0F2F68D337}"/>
          </ac:spMkLst>
        </pc:spChg>
        <pc:spChg chg="del mod">
          <ac:chgData name="Merlin Gutter" userId="2abc6f04-74af-430b-bdc8-569c3bfa1dda" providerId="ADAL" clId="{CB1EFBC3-10F5-3048-8961-5969497C0019}" dt="2022-11-23T17:24:26.686" v="84172"/>
          <ac:spMkLst>
            <pc:docMk/>
            <pc:sldMk cId="3505808948" sldId="399"/>
            <ac:spMk id="125" creationId="{DE60708C-C90B-3DFC-AE23-71A9F3AEAF48}"/>
          </ac:spMkLst>
        </pc:spChg>
        <pc:spChg chg="del mod">
          <ac:chgData name="Merlin Gutter" userId="2abc6f04-74af-430b-bdc8-569c3bfa1dda" providerId="ADAL" clId="{CB1EFBC3-10F5-3048-8961-5969497C0019}" dt="2022-11-23T17:24:26.686" v="84171"/>
          <ac:spMkLst>
            <pc:docMk/>
            <pc:sldMk cId="3505808948" sldId="399"/>
            <ac:spMk id="126" creationId="{93D1F641-308D-9713-5F4B-6C85F504F8B1}"/>
          </ac:spMkLst>
        </pc:spChg>
        <pc:spChg chg="del mod">
          <ac:chgData name="Merlin Gutter" userId="2abc6f04-74af-430b-bdc8-569c3bfa1dda" providerId="ADAL" clId="{CB1EFBC3-10F5-3048-8961-5969497C0019}" dt="2022-11-23T17:24:26.686" v="84170"/>
          <ac:spMkLst>
            <pc:docMk/>
            <pc:sldMk cId="3505808948" sldId="399"/>
            <ac:spMk id="127" creationId="{C6B2962A-FB1B-3469-95D8-629FD74FE675}"/>
          </ac:spMkLst>
        </pc:spChg>
        <pc:spChg chg="del mod">
          <ac:chgData name="Merlin Gutter" userId="2abc6f04-74af-430b-bdc8-569c3bfa1dda" providerId="ADAL" clId="{CB1EFBC3-10F5-3048-8961-5969497C0019}" dt="2022-11-23T17:24:26.686" v="84169"/>
          <ac:spMkLst>
            <pc:docMk/>
            <pc:sldMk cId="3505808948" sldId="399"/>
            <ac:spMk id="128" creationId="{C16680B5-DB37-2F62-5B84-AFEB3120FABF}"/>
          </ac:spMkLst>
        </pc:spChg>
        <pc:spChg chg="del mod">
          <ac:chgData name="Merlin Gutter" userId="2abc6f04-74af-430b-bdc8-569c3bfa1dda" providerId="ADAL" clId="{CB1EFBC3-10F5-3048-8961-5969497C0019}" dt="2022-11-23T17:24:26.685" v="84168"/>
          <ac:spMkLst>
            <pc:docMk/>
            <pc:sldMk cId="3505808948" sldId="399"/>
            <ac:spMk id="129" creationId="{249EC2D3-8F67-704B-301C-A65728D8723C}"/>
          </ac:spMkLst>
        </pc:spChg>
        <pc:spChg chg="del mod">
          <ac:chgData name="Merlin Gutter" userId="2abc6f04-74af-430b-bdc8-569c3bfa1dda" providerId="ADAL" clId="{CB1EFBC3-10F5-3048-8961-5969497C0019}" dt="2022-11-23T17:24:26.685" v="84167"/>
          <ac:spMkLst>
            <pc:docMk/>
            <pc:sldMk cId="3505808948" sldId="399"/>
            <ac:spMk id="130" creationId="{C983C178-09C1-45E5-362D-7FCAC7DDE5B1}"/>
          </ac:spMkLst>
        </pc:spChg>
        <pc:spChg chg="del mod">
          <ac:chgData name="Merlin Gutter" userId="2abc6f04-74af-430b-bdc8-569c3bfa1dda" providerId="ADAL" clId="{CB1EFBC3-10F5-3048-8961-5969497C0019}" dt="2022-11-23T17:24:26.685" v="84166"/>
          <ac:spMkLst>
            <pc:docMk/>
            <pc:sldMk cId="3505808948" sldId="399"/>
            <ac:spMk id="131" creationId="{83C6DF27-0B51-C660-244B-01EA3BD93791}"/>
          </ac:spMkLst>
        </pc:spChg>
        <pc:spChg chg="del mod">
          <ac:chgData name="Merlin Gutter" userId="2abc6f04-74af-430b-bdc8-569c3bfa1dda" providerId="ADAL" clId="{CB1EFBC3-10F5-3048-8961-5969497C0019}" dt="2022-11-23T17:24:26.685" v="84165"/>
          <ac:spMkLst>
            <pc:docMk/>
            <pc:sldMk cId="3505808948" sldId="399"/>
            <ac:spMk id="132" creationId="{BF41C1AA-8718-2498-87B2-AD74A78674ED}"/>
          </ac:spMkLst>
        </pc:spChg>
        <pc:spChg chg="del mod">
          <ac:chgData name="Merlin Gutter" userId="2abc6f04-74af-430b-bdc8-569c3bfa1dda" providerId="ADAL" clId="{CB1EFBC3-10F5-3048-8961-5969497C0019}" dt="2022-11-23T17:24:26.685" v="84164"/>
          <ac:spMkLst>
            <pc:docMk/>
            <pc:sldMk cId="3505808948" sldId="399"/>
            <ac:spMk id="133" creationId="{B1A10525-C936-C150-CB97-4A0674D9D86E}"/>
          </ac:spMkLst>
        </pc:spChg>
        <pc:spChg chg="del mod">
          <ac:chgData name="Merlin Gutter" userId="2abc6f04-74af-430b-bdc8-569c3bfa1dda" providerId="ADAL" clId="{CB1EFBC3-10F5-3048-8961-5969497C0019}" dt="2022-11-23T17:24:26.684" v="84163"/>
          <ac:spMkLst>
            <pc:docMk/>
            <pc:sldMk cId="3505808948" sldId="399"/>
            <ac:spMk id="134" creationId="{135CA4E2-CCA3-BCED-DDA1-95A66642CBB8}"/>
          </ac:spMkLst>
        </pc:spChg>
        <pc:spChg chg="del mod">
          <ac:chgData name="Merlin Gutter" userId="2abc6f04-74af-430b-bdc8-569c3bfa1dda" providerId="ADAL" clId="{CB1EFBC3-10F5-3048-8961-5969497C0019}" dt="2022-11-23T17:24:26.684" v="84162"/>
          <ac:spMkLst>
            <pc:docMk/>
            <pc:sldMk cId="3505808948" sldId="399"/>
            <ac:spMk id="135" creationId="{E61E8E78-6D7D-62BD-FFB2-E51497EB21FF}"/>
          </ac:spMkLst>
        </pc:spChg>
        <pc:spChg chg="del mod">
          <ac:chgData name="Merlin Gutter" userId="2abc6f04-74af-430b-bdc8-569c3bfa1dda" providerId="ADAL" clId="{CB1EFBC3-10F5-3048-8961-5969497C0019}" dt="2022-11-23T17:24:26.684" v="84161"/>
          <ac:spMkLst>
            <pc:docMk/>
            <pc:sldMk cId="3505808948" sldId="399"/>
            <ac:spMk id="136" creationId="{A30C869F-4C44-1FEB-2E00-766EA02E2871}"/>
          </ac:spMkLst>
        </pc:spChg>
        <pc:spChg chg="del mod">
          <ac:chgData name="Merlin Gutter" userId="2abc6f04-74af-430b-bdc8-569c3bfa1dda" providerId="ADAL" clId="{CB1EFBC3-10F5-3048-8961-5969497C0019}" dt="2022-11-23T17:24:26.684" v="84160"/>
          <ac:spMkLst>
            <pc:docMk/>
            <pc:sldMk cId="3505808948" sldId="399"/>
            <ac:spMk id="137" creationId="{90A0CE48-2CE3-B352-EB4A-C226EEC28B00}"/>
          </ac:spMkLst>
        </pc:spChg>
        <pc:spChg chg="del mod">
          <ac:chgData name="Merlin Gutter" userId="2abc6f04-74af-430b-bdc8-569c3bfa1dda" providerId="ADAL" clId="{CB1EFBC3-10F5-3048-8961-5969497C0019}" dt="2022-11-23T17:24:26.684" v="84159"/>
          <ac:spMkLst>
            <pc:docMk/>
            <pc:sldMk cId="3505808948" sldId="399"/>
            <ac:spMk id="138" creationId="{8BC9E89F-5EA9-704E-3BC1-F582ACEBF715}"/>
          </ac:spMkLst>
        </pc:spChg>
        <pc:spChg chg="del mod">
          <ac:chgData name="Merlin Gutter" userId="2abc6f04-74af-430b-bdc8-569c3bfa1dda" providerId="ADAL" clId="{CB1EFBC3-10F5-3048-8961-5969497C0019}" dt="2022-11-23T17:24:26.683" v="84158"/>
          <ac:spMkLst>
            <pc:docMk/>
            <pc:sldMk cId="3505808948" sldId="399"/>
            <ac:spMk id="139" creationId="{995343CC-C281-045E-CD70-B7B7949058D7}"/>
          </ac:spMkLst>
        </pc:spChg>
        <pc:spChg chg="del mod">
          <ac:chgData name="Merlin Gutter" userId="2abc6f04-74af-430b-bdc8-569c3bfa1dda" providerId="ADAL" clId="{CB1EFBC3-10F5-3048-8961-5969497C0019}" dt="2022-11-23T17:24:26.683" v="84157"/>
          <ac:spMkLst>
            <pc:docMk/>
            <pc:sldMk cId="3505808948" sldId="399"/>
            <ac:spMk id="140" creationId="{995ABC59-F07B-2A6B-E371-6B58815C820F}"/>
          </ac:spMkLst>
        </pc:spChg>
        <pc:spChg chg="del mod">
          <ac:chgData name="Merlin Gutter" userId="2abc6f04-74af-430b-bdc8-569c3bfa1dda" providerId="ADAL" clId="{CB1EFBC3-10F5-3048-8961-5969497C0019}" dt="2022-11-23T17:24:26.683" v="84156"/>
          <ac:spMkLst>
            <pc:docMk/>
            <pc:sldMk cId="3505808948" sldId="399"/>
            <ac:spMk id="141" creationId="{08B3CF0E-168B-FD45-758D-71B5E2C25E8D}"/>
          </ac:spMkLst>
        </pc:spChg>
        <pc:spChg chg="del mod">
          <ac:chgData name="Merlin Gutter" userId="2abc6f04-74af-430b-bdc8-569c3bfa1dda" providerId="ADAL" clId="{CB1EFBC3-10F5-3048-8961-5969497C0019}" dt="2022-11-23T17:24:26.683" v="84155"/>
          <ac:spMkLst>
            <pc:docMk/>
            <pc:sldMk cId="3505808948" sldId="399"/>
            <ac:spMk id="142" creationId="{578517E2-F1FE-D68E-DEA2-ADCBE8740C15}"/>
          </ac:spMkLst>
        </pc:spChg>
        <pc:spChg chg="del mod">
          <ac:chgData name="Merlin Gutter" userId="2abc6f04-74af-430b-bdc8-569c3bfa1dda" providerId="ADAL" clId="{CB1EFBC3-10F5-3048-8961-5969497C0019}" dt="2022-11-23T17:24:26.683" v="84154"/>
          <ac:spMkLst>
            <pc:docMk/>
            <pc:sldMk cId="3505808948" sldId="399"/>
            <ac:spMk id="143" creationId="{DD14D22D-B152-0144-49A1-CB16D4DEAE7C}"/>
          </ac:spMkLst>
        </pc:spChg>
        <pc:spChg chg="del mod">
          <ac:chgData name="Merlin Gutter" userId="2abc6f04-74af-430b-bdc8-569c3bfa1dda" providerId="ADAL" clId="{CB1EFBC3-10F5-3048-8961-5969497C0019}" dt="2022-11-23T17:24:26.683" v="84153"/>
          <ac:spMkLst>
            <pc:docMk/>
            <pc:sldMk cId="3505808948" sldId="399"/>
            <ac:spMk id="144" creationId="{972779A2-C737-9FAF-422F-1F3017E1FFF8}"/>
          </ac:spMkLst>
        </pc:spChg>
        <pc:spChg chg="del mod">
          <ac:chgData name="Merlin Gutter" userId="2abc6f04-74af-430b-bdc8-569c3bfa1dda" providerId="ADAL" clId="{CB1EFBC3-10F5-3048-8961-5969497C0019}" dt="2022-11-23T17:24:26.682" v="84152"/>
          <ac:spMkLst>
            <pc:docMk/>
            <pc:sldMk cId="3505808948" sldId="399"/>
            <ac:spMk id="145" creationId="{7AC40686-4E40-C6A1-E20A-F8B4CB4F3AD8}"/>
          </ac:spMkLst>
        </pc:spChg>
        <pc:spChg chg="del mod">
          <ac:chgData name="Merlin Gutter" userId="2abc6f04-74af-430b-bdc8-569c3bfa1dda" providerId="ADAL" clId="{CB1EFBC3-10F5-3048-8961-5969497C0019}" dt="2022-11-23T17:24:26.682" v="84151"/>
          <ac:spMkLst>
            <pc:docMk/>
            <pc:sldMk cId="3505808948" sldId="399"/>
            <ac:spMk id="146" creationId="{EFE7EF36-3478-1DD0-3FD7-DB93C2773EB0}"/>
          </ac:spMkLst>
        </pc:spChg>
        <pc:spChg chg="del mod">
          <ac:chgData name="Merlin Gutter" userId="2abc6f04-74af-430b-bdc8-569c3bfa1dda" providerId="ADAL" clId="{CB1EFBC3-10F5-3048-8961-5969497C0019}" dt="2022-11-23T17:24:26.682" v="84150"/>
          <ac:spMkLst>
            <pc:docMk/>
            <pc:sldMk cId="3505808948" sldId="399"/>
            <ac:spMk id="147" creationId="{FA29487A-4402-1B15-A560-7DF41B2A8352}"/>
          </ac:spMkLst>
        </pc:spChg>
        <pc:spChg chg="del mod">
          <ac:chgData name="Merlin Gutter" userId="2abc6f04-74af-430b-bdc8-569c3bfa1dda" providerId="ADAL" clId="{CB1EFBC3-10F5-3048-8961-5969497C0019}" dt="2022-11-23T17:24:26.682" v="84149"/>
          <ac:spMkLst>
            <pc:docMk/>
            <pc:sldMk cId="3505808948" sldId="399"/>
            <ac:spMk id="148" creationId="{F664D887-8534-D264-5EE8-81DABA811AD0}"/>
          </ac:spMkLst>
        </pc:spChg>
        <pc:spChg chg="del mod">
          <ac:chgData name="Merlin Gutter" userId="2abc6f04-74af-430b-bdc8-569c3bfa1dda" providerId="ADAL" clId="{CB1EFBC3-10F5-3048-8961-5969497C0019}" dt="2022-11-23T17:24:26.682" v="84148"/>
          <ac:spMkLst>
            <pc:docMk/>
            <pc:sldMk cId="3505808948" sldId="399"/>
            <ac:spMk id="149" creationId="{1660FB55-9F23-B26A-3A09-E37CF90F73CA}"/>
          </ac:spMkLst>
        </pc:spChg>
        <pc:spChg chg="del mod">
          <ac:chgData name="Merlin Gutter" userId="2abc6f04-74af-430b-bdc8-569c3bfa1dda" providerId="ADAL" clId="{CB1EFBC3-10F5-3048-8961-5969497C0019}" dt="2022-11-23T17:24:26.681" v="84147"/>
          <ac:spMkLst>
            <pc:docMk/>
            <pc:sldMk cId="3505808948" sldId="399"/>
            <ac:spMk id="150" creationId="{0D29C39E-F2EF-F6F8-626C-DFF5AA585A83}"/>
          </ac:spMkLst>
        </pc:spChg>
        <pc:spChg chg="del mod">
          <ac:chgData name="Merlin Gutter" userId="2abc6f04-74af-430b-bdc8-569c3bfa1dda" providerId="ADAL" clId="{CB1EFBC3-10F5-3048-8961-5969497C0019}" dt="2022-11-23T17:24:26.681" v="84146"/>
          <ac:spMkLst>
            <pc:docMk/>
            <pc:sldMk cId="3505808948" sldId="399"/>
            <ac:spMk id="151" creationId="{6203F2F5-E415-4903-0BD5-F13812216840}"/>
          </ac:spMkLst>
        </pc:spChg>
        <pc:spChg chg="del mod">
          <ac:chgData name="Merlin Gutter" userId="2abc6f04-74af-430b-bdc8-569c3bfa1dda" providerId="ADAL" clId="{CB1EFBC3-10F5-3048-8961-5969497C0019}" dt="2022-11-23T17:24:26.681" v="84145"/>
          <ac:spMkLst>
            <pc:docMk/>
            <pc:sldMk cId="3505808948" sldId="399"/>
            <ac:spMk id="152" creationId="{FDD022B4-9263-1D0B-0FA7-25997597224A}"/>
          </ac:spMkLst>
        </pc:spChg>
        <pc:spChg chg="del mod">
          <ac:chgData name="Merlin Gutter" userId="2abc6f04-74af-430b-bdc8-569c3bfa1dda" providerId="ADAL" clId="{CB1EFBC3-10F5-3048-8961-5969497C0019}" dt="2022-11-23T17:24:26.681" v="84144"/>
          <ac:spMkLst>
            <pc:docMk/>
            <pc:sldMk cId="3505808948" sldId="399"/>
            <ac:spMk id="153" creationId="{487FF4C6-75BC-74B7-595C-048CA566E232}"/>
          </ac:spMkLst>
        </pc:spChg>
        <pc:spChg chg="del mod">
          <ac:chgData name="Merlin Gutter" userId="2abc6f04-74af-430b-bdc8-569c3bfa1dda" providerId="ADAL" clId="{CB1EFBC3-10F5-3048-8961-5969497C0019}" dt="2022-11-23T17:24:26.681" v="84143"/>
          <ac:spMkLst>
            <pc:docMk/>
            <pc:sldMk cId="3505808948" sldId="399"/>
            <ac:spMk id="154" creationId="{1BE0DC21-9A03-D7B6-1A07-B82C5056D735}"/>
          </ac:spMkLst>
        </pc:spChg>
        <pc:spChg chg="del mod">
          <ac:chgData name="Merlin Gutter" userId="2abc6f04-74af-430b-bdc8-569c3bfa1dda" providerId="ADAL" clId="{CB1EFBC3-10F5-3048-8961-5969497C0019}" dt="2022-11-23T17:24:26.680" v="84142"/>
          <ac:spMkLst>
            <pc:docMk/>
            <pc:sldMk cId="3505808948" sldId="399"/>
            <ac:spMk id="155" creationId="{B9FB4172-78EC-1DBD-430E-8D44879E9715}"/>
          </ac:spMkLst>
        </pc:spChg>
        <pc:spChg chg="del mod">
          <ac:chgData name="Merlin Gutter" userId="2abc6f04-74af-430b-bdc8-569c3bfa1dda" providerId="ADAL" clId="{CB1EFBC3-10F5-3048-8961-5969497C0019}" dt="2022-11-23T17:24:26.680" v="84141"/>
          <ac:spMkLst>
            <pc:docMk/>
            <pc:sldMk cId="3505808948" sldId="399"/>
            <ac:spMk id="156" creationId="{D2E26725-795F-692E-D465-B3D5673AA974}"/>
          </ac:spMkLst>
        </pc:spChg>
        <pc:spChg chg="del mod">
          <ac:chgData name="Merlin Gutter" userId="2abc6f04-74af-430b-bdc8-569c3bfa1dda" providerId="ADAL" clId="{CB1EFBC3-10F5-3048-8961-5969497C0019}" dt="2022-11-23T17:24:26.680" v="84140"/>
          <ac:spMkLst>
            <pc:docMk/>
            <pc:sldMk cId="3505808948" sldId="399"/>
            <ac:spMk id="157" creationId="{060DBE4B-0768-E5A2-73A8-A9CEF6967041}"/>
          </ac:spMkLst>
        </pc:spChg>
        <pc:spChg chg="del mod">
          <ac:chgData name="Merlin Gutter" userId="2abc6f04-74af-430b-bdc8-569c3bfa1dda" providerId="ADAL" clId="{CB1EFBC3-10F5-3048-8961-5969497C0019}" dt="2022-11-23T17:24:26.680" v="84139"/>
          <ac:spMkLst>
            <pc:docMk/>
            <pc:sldMk cId="3505808948" sldId="399"/>
            <ac:spMk id="158" creationId="{2B7BE101-9172-0609-7E48-D9C5B7F4AE01}"/>
          </ac:spMkLst>
        </pc:spChg>
        <pc:spChg chg="del mod">
          <ac:chgData name="Merlin Gutter" userId="2abc6f04-74af-430b-bdc8-569c3bfa1dda" providerId="ADAL" clId="{CB1EFBC3-10F5-3048-8961-5969497C0019}" dt="2022-11-23T17:24:26.680" v="84138"/>
          <ac:spMkLst>
            <pc:docMk/>
            <pc:sldMk cId="3505808948" sldId="399"/>
            <ac:spMk id="159" creationId="{36BBC77D-07A7-CC56-DF9A-F863D16FCFC3}"/>
          </ac:spMkLst>
        </pc:spChg>
        <pc:spChg chg="del mod">
          <ac:chgData name="Merlin Gutter" userId="2abc6f04-74af-430b-bdc8-569c3bfa1dda" providerId="ADAL" clId="{CB1EFBC3-10F5-3048-8961-5969497C0019}" dt="2022-11-23T17:24:26.679" v="84137"/>
          <ac:spMkLst>
            <pc:docMk/>
            <pc:sldMk cId="3505808948" sldId="399"/>
            <ac:spMk id="160" creationId="{0314C8F0-3CD9-EEF6-ADED-D49E7D8353FC}"/>
          </ac:spMkLst>
        </pc:spChg>
        <pc:spChg chg="del mod">
          <ac:chgData name="Merlin Gutter" userId="2abc6f04-74af-430b-bdc8-569c3bfa1dda" providerId="ADAL" clId="{CB1EFBC3-10F5-3048-8961-5969497C0019}" dt="2022-11-23T17:24:26.679" v="84136"/>
          <ac:spMkLst>
            <pc:docMk/>
            <pc:sldMk cId="3505808948" sldId="399"/>
            <ac:spMk id="161" creationId="{B2FF1CBD-0CCC-417F-818E-F1A8E08F58EB}"/>
          </ac:spMkLst>
        </pc:spChg>
        <pc:spChg chg="del mod">
          <ac:chgData name="Merlin Gutter" userId="2abc6f04-74af-430b-bdc8-569c3bfa1dda" providerId="ADAL" clId="{CB1EFBC3-10F5-3048-8961-5969497C0019}" dt="2022-11-23T17:24:26.679" v="84135"/>
          <ac:spMkLst>
            <pc:docMk/>
            <pc:sldMk cId="3505808948" sldId="399"/>
            <ac:spMk id="162" creationId="{27977A41-AB41-C72B-02F1-F456C6EB7DCB}"/>
          </ac:spMkLst>
        </pc:spChg>
        <pc:spChg chg="del mod">
          <ac:chgData name="Merlin Gutter" userId="2abc6f04-74af-430b-bdc8-569c3bfa1dda" providerId="ADAL" clId="{CB1EFBC3-10F5-3048-8961-5969497C0019}" dt="2022-11-23T17:24:26.679" v="84134"/>
          <ac:spMkLst>
            <pc:docMk/>
            <pc:sldMk cId="3505808948" sldId="399"/>
            <ac:spMk id="163" creationId="{5C4E85DC-2CE8-41D1-B83A-03F8C561A0CE}"/>
          </ac:spMkLst>
        </pc:spChg>
        <pc:spChg chg="del mod">
          <ac:chgData name="Merlin Gutter" userId="2abc6f04-74af-430b-bdc8-569c3bfa1dda" providerId="ADAL" clId="{CB1EFBC3-10F5-3048-8961-5969497C0019}" dt="2022-11-23T17:24:26.679" v="84133"/>
          <ac:spMkLst>
            <pc:docMk/>
            <pc:sldMk cId="3505808948" sldId="399"/>
            <ac:spMk id="164" creationId="{3448B320-747D-C22C-8C36-4F04CD473BF9}"/>
          </ac:spMkLst>
        </pc:spChg>
        <pc:spChg chg="del mod">
          <ac:chgData name="Merlin Gutter" userId="2abc6f04-74af-430b-bdc8-569c3bfa1dda" providerId="ADAL" clId="{CB1EFBC3-10F5-3048-8961-5969497C0019}" dt="2022-11-23T17:24:26.679" v="84132"/>
          <ac:spMkLst>
            <pc:docMk/>
            <pc:sldMk cId="3505808948" sldId="399"/>
            <ac:spMk id="165" creationId="{35F8EC9B-E066-6A85-AD3B-7C759E5052E6}"/>
          </ac:spMkLst>
        </pc:spChg>
        <pc:spChg chg="del mod">
          <ac:chgData name="Merlin Gutter" userId="2abc6f04-74af-430b-bdc8-569c3bfa1dda" providerId="ADAL" clId="{CB1EFBC3-10F5-3048-8961-5969497C0019}" dt="2022-11-23T17:24:26.678" v="84131"/>
          <ac:spMkLst>
            <pc:docMk/>
            <pc:sldMk cId="3505808948" sldId="399"/>
            <ac:spMk id="166" creationId="{9E75DBEC-F848-151D-59CF-CF802B007ED5}"/>
          </ac:spMkLst>
        </pc:spChg>
        <pc:spChg chg="del mod">
          <ac:chgData name="Merlin Gutter" userId="2abc6f04-74af-430b-bdc8-569c3bfa1dda" providerId="ADAL" clId="{CB1EFBC3-10F5-3048-8961-5969497C0019}" dt="2022-11-23T17:24:26.678" v="84130"/>
          <ac:spMkLst>
            <pc:docMk/>
            <pc:sldMk cId="3505808948" sldId="399"/>
            <ac:spMk id="167" creationId="{C9D964D3-5384-A093-D3E1-75F979956F26}"/>
          </ac:spMkLst>
        </pc:spChg>
        <pc:spChg chg="del mod">
          <ac:chgData name="Merlin Gutter" userId="2abc6f04-74af-430b-bdc8-569c3bfa1dda" providerId="ADAL" clId="{CB1EFBC3-10F5-3048-8961-5969497C0019}" dt="2022-11-23T17:24:26.678" v="84129"/>
          <ac:spMkLst>
            <pc:docMk/>
            <pc:sldMk cId="3505808948" sldId="399"/>
            <ac:spMk id="168" creationId="{26219115-148A-1BA4-7641-BE8C47E30640}"/>
          </ac:spMkLst>
        </pc:spChg>
        <pc:spChg chg="del mod">
          <ac:chgData name="Merlin Gutter" userId="2abc6f04-74af-430b-bdc8-569c3bfa1dda" providerId="ADAL" clId="{CB1EFBC3-10F5-3048-8961-5969497C0019}" dt="2022-11-23T17:24:26.678" v="84128"/>
          <ac:spMkLst>
            <pc:docMk/>
            <pc:sldMk cId="3505808948" sldId="399"/>
            <ac:spMk id="169" creationId="{BC95B0D2-88F3-A643-2A2D-34F6A89CB1DF}"/>
          </ac:spMkLst>
        </pc:spChg>
        <pc:spChg chg="del mod">
          <ac:chgData name="Merlin Gutter" userId="2abc6f04-74af-430b-bdc8-569c3bfa1dda" providerId="ADAL" clId="{CB1EFBC3-10F5-3048-8961-5969497C0019}" dt="2022-11-23T17:24:26.677" v="84127"/>
          <ac:spMkLst>
            <pc:docMk/>
            <pc:sldMk cId="3505808948" sldId="399"/>
            <ac:spMk id="170" creationId="{C655087D-AF87-8885-6B98-070818D2B9D8}"/>
          </ac:spMkLst>
        </pc:spChg>
        <pc:spChg chg="del mod">
          <ac:chgData name="Merlin Gutter" userId="2abc6f04-74af-430b-bdc8-569c3bfa1dda" providerId="ADAL" clId="{CB1EFBC3-10F5-3048-8961-5969497C0019}" dt="2022-11-23T17:24:26.677" v="84126"/>
          <ac:spMkLst>
            <pc:docMk/>
            <pc:sldMk cId="3505808948" sldId="399"/>
            <ac:spMk id="171" creationId="{9ECE62BE-B535-650F-267D-7E23F4B7E401}"/>
          </ac:spMkLst>
        </pc:spChg>
        <pc:spChg chg="del mod">
          <ac:chgData name="Merlin Gutter" userId="2abc6f04-74af-430b-bdc8-569c3bfa1dda" providerId="ADAL" clId="{CB1EFBC3-10F5-3048-8961-5969497C0019}" dt="2022-11-23T17:24:26.677" v="84125"/>
          <ac:spMkLst>
            <pc:docMk/>
            <pc:sldMk cId="3505808948" sldId="399"/>
            <ac:spMk id="172" creationId="{DA7E4DEF-A5C0-3F5C-ACE7-35DCF57E0E47}"/>
          </ac:spMkLst>
        </pc:spChg>
        <pc:spChg chg="del mod">
          <ac:chgData name="Merlin Gutter" userId="2abc6f04-74af-430b-bdc8-569c3bfa1dda" providerId="ADAL" clId="{CB1EFBC3-10F5-3048-8961-5969497C0019}" dt="2022-11-23T17:24:26.677" v="84124"/>
          <ac:spMkLst>
            <pc:docMk/>
            <pc:sldMk cId="3505808948" sldId="399"/>
            <ac:spMk id="173" creationId="{0554C27D-A1F7-6F82-5906-3AC2476CF0A8}"/>
          </ac:spMkLst>
        </pc:spChg>
        <pc:spChg chg="del mod">
          <ac:chgData name="Merlin Gutter" userId="2abc6f04-74af-430b-bdc8-569c3bfa1dda" providerId="ADAL" clId="{CB1EFBC3-10F5-3048-8961-5969497C0019}" dt="2022-11-23T17:24:26.676" v="84123"/>
          <ac:spMkLst>
            <pc:docMk/>
            <pc:sldMk cId="3505808948" sldId="399"/>
            <ac:spMk id="174" creationId="{FDA60125-CB12-7656-A25D-E2EACDFBF9AA}"/>
          </ac:spMkLst>
        </pc:spChg>
        <pc:spChg chg="add mod replST">
          <ac:chgData name="Merlin Gutter" userId="2abc6f04-74af-430b-bdc8-569c3bfa1dda" providerId="ADAL" clId="{CB1EFBC3-10F5-3048-8961-5969497C0019}" dt="2022-11-23T17:28:25.181" v="94836"/>
          <ac:spMkLst>
            <pc:docMk/>
            <pc:sldMk cId="3505808948" sldId="399"/>
            <ac:spMk id="175" creationId="{F3802B06-C1AA-0C88-86F6-EDDF9880D551}"/>
          </ac:spMkLst>
        </pc:spChg>
        <pc:spChg chg="add mod replST">
          <ac:chgData name="Merlin Gutter" userId="2abc6f04-74af-430b-bdc8-569c3bfa1dda" providerId="ADAL" clId="{CB1EFBC3-10F5-3048-8961-5969497C0019}" dt="2022-11-23T17:46:54.821" v="108214" actId="208"/>
          <ac:spMkLst>
            <pc:docMk/>
            <pc:sldMk cId="3505808948" sldId="399"/>
            <ac:spMk id="176" creationId="{894860E7-AF4E-8280-D97D-781A8B00C650}"/>
          </ac:spMkLst>
        </pc:spChg>
        <pc:spChg chg="add mod replST">
          <ac:chgData name="Merlin Gutter" userId="2abc6f04-74af-430b-bdc8-569c3bfa1dda" providerId="ADAL" clId="{CB1EFBC3-10F5-3048-8961-5969497C0019}" dt="2022-11-23T17:46:54.818" v="108200" actId="208"/>
          <ac:spMkLst>
            <pc:docMk/>
            <pc:sldMk cId="3505808948" sldId="399"/>
            <ac:spMk id="177" creationId="{8512CD68-B1BA-6C46-7685-010B61EB2864}"/>
          </ac:spMkLst>
        </pc:spChg>
        <pc:spChg chg="add mod replST">
          <ac:chgData name="Merlin Gutter" userId="2abc6f04-74af-430b-bdc8-569c3bfa1dda" providerId="ADAL" clId="{CB1EFBC3-10F5-3048-8961-5969497C0019}" dt="2022-11-23T17:46:54.813" v="108172" actId="208"/>
          <ac:spMkLst>
            <pc:docMk/>
            <pc:sldMk cId="3505808948" sldId="399"/>
            <ac:spMk id="178" creationId="{78300576-2553-A787-FE9F-3546B7F00763}"/>
          </ac:spMkLst>
        </pc:spChg>
        <pc:spChg chg="add mod replST">
          <ac:chgData name="Merlin Gutter" userId="2abc6f04-74af-430b-bdc8-569c3bfa1dda" providerId="ADAL" clId="{CB1EFBC3-10F5-3048-8961-5969497C0019}" dt="2022-11-23T17:46:54.816" v="108186" actId="208"/>
          <ac:spMkLst>
            <pc:docMk/>
            <pc:sldMk cId="3505808948" sldId="399"/>
            <ac:spMk id="179" creationId="{C39C1766-B6D7-5DA1-C2C8-AEF9DF1AEBAD}"/>
          </ac:spMkLst>
        </pc:spChg>
        <pc:spChg chg="add mod replST">
          <ac:chgData name="Merlin Gutter" userId="2abc6f04-74af-430b-bdc8-569c3bfa1dda" providerId="ADAL" clId="{CB1EFBC3-10F5-3048-8961-5969497C0019}" dt="2022-11-23T17:46:54.805" v="108144" actId="208"/>
          <ac:spMkLst>
            <pc:docMk/>
            <pc:sldMk cId="3505808948" sldId="399"/>
            <ac:spMk id="180" creationId="{F0F7A003-5FC8-F89E-BF58-C74D51AEE1C0}"/>
          </ac:spMkLst>
        </pc:spChg>
        <pc:spChg chg="add mod replST">
          <ac:chgData name="Merlin Gutter" userId="2abc6f04-74af-430b-bdc8-569c3bfa1dda" providerId="ADAL" clId="{CB1EFBC3-10F5-3048-8961-5969497C0019}" dt="2022-11-23T17:46:54.811" v="108158" actId="208"/>
          <ac:spMkLst>
            <pc:docMk/>
            <pc:sldMk cId="3505808948" sldId="399"/>
            <ac:spMk id="181" creationId="{22E9F76C-266B-E8D1-D0F3-303DDFB3526F}"/>
          </ac:spMkLst>
        </pc:spChg>
        <pc:spChg chg="add mod replST">
          <ac:chgData name="Merlin Gutter" userId="2abc6f04-74af-430b-bdc8-569c3bfa1dda" providerId="ADAL" clId="{CB1EFBC3-10F5-3048-8961-5969497C0019}" dt="2022-11-23T17:46:54.814" v="108176"/>
          <ac:spMkLst>
            <pc:docMk/>
            <pc:sldMk cId="3505808948" sldId="399"/>
            <ac:spMk id="182" creationId="{B13D85E1-6E11-7E45-E3B1-2E01F712F836}"/>
          </ac:spMkLst>
        </pc:spChg>
        <pc:spChg chg="add mod replST">
          <ac:chgData name="Merlin Gutter" userId="2abc6f04-74af-430b-bdc8-569c3bfa1dda" providerId="ADAL" clId="{CB1EFBC3-10F5-3048-8961-5969497C0019}" dt="2022-11-23T17:46:54.817" v="108190"/>
          <ac:spMkLst>
            <pc:docMk/>
            <pc:sldMk cId="3505808948" sldId="399"/>
            <ac:spMk id="183" creationId="{406C2B40-33CE-4F55-30B5-EFEE4060C558}"/>
          </ac:spMkLst>
        </pc:spChg>
        <pc:spChg chg="add mod replST">
          <ac:chgData name="Merlin Gutter" userId="2abc6f04-74af-430b-bdc8-569c3bfa1dda" providerId="ADAL" clId="{CB1EFBC3-10F5-3048-8961-5969497C0019}" dt="2022-11-23T17:46:54.812" v="108162"/>
          <ac:spMkLst>
            <pc:docMk/>
            <pc:sldMk cId="3505808948" sldId="399"/>
            <ac:spMk id="184" creationId="{D626251A-1334-63CE-F085-723279011498}"/>
          </ac:spMkLst>
        </pc:spChg>
        <pc:spChg chg="add mod replST">
          <ac:chgData name="Merlin Gutter" userId="2abc6f04-74af-430b-bdc8-569c3bfa1dda" providerId="ADAL" clId="{CB1EFBC3-10F5-3048-8961-5969497C0019}" dt="2022-11-23T17:46:54.821" v="108218"/>
          <ac:spMkLst>
            <pc:docMk/>
            <pc:sldMk cId="3505808948" sldId="399"/>
            <ac:spMk id="185" creationId="{BAB89DCE-013B-18D7-7802-BD2496C9D6B4}"/>
          </ac:spMkLst>
        </pc:spChg>
        <pc:spChg chg="add mod replST">
          <ac:chgData name="Merlin Gutter" userId="2abc6f04-74af-430b-bdc8-569c3bfa1dda" providerId="ADAL" clId="{CB1EFBC3-10F5-3048-8961-5969497C0019}" dt="2022-11-23T17:46:54.819" v="108204"/>
          <ac:spMkLst>
            <pc:docMk/>
            <pc:sldMk cId="3505808948" sldId="399"/>
            <ac:spMk id="186" creationId="{782F2973-FFA5-7232-1758-6768BC518954}"/>
          </ac:spMkLst>
        </pc:spChg>
        <pc:spChg chg="add mod replST">
          <ac:chgData name="Merlin Gutter" userId="2abc6f04-74af-430b-bdc8-569c3bfa1dda" providerId="ADAL" clId="{CB1EFBC3-10F5-3048-8961-5969497C0019}" dt="2022-11-23T17:46:54.808" v="108148"/>
          <ac:spMkLst>
            <pc:docMk/>
            <pc:sldMk cId="3505808948" sldId="399"/>
            <ac:spMk id="187" creationId="{6E086DB9-6623-24B5-C305-0E5D05DD5C33}"/>
          </ac:spMkLst>
        </pc:spChg>
        <pc:spChg chg="add del mod modVis">
          <ac:chgData name="Merlin Gutter" userId="2abc6f04-74af-430b-bdc8-569c3bfa1dda" providerId="ADAL" clId="{CB1EFBC3-10F5-3048-8961-5969497C0019}" dt="2022-11-23T17:24:45.031" v="85731"/>
          <ac:spMkLst>
            <pc:docMk/>
            <pc:sldMk cId="3505808948" sldId="399"/>
            <ac:spMk id="188" creationId="{F5088244-662F-1B66-7DAC-1EAEEBF5F645}"/>
          </ac:spMkLst>
        </pc:spChg>
        <pc:spChg chg="add del mod modVis">
          <ac:chgData name="Merlin Gutter" userId="2abc6f04-74af-430b-bdc8-569c3bfa1dda" providerId="ADAL" clId="{CB1EFBC3-10F5-3048-8961-5969497C0019}" dt="2022-11-23T17:25:32.637" v="90796"/>
          <ac:spMkLst>
            <pc:docMk/>
            <pc:sldMk cId="3505808948" sldId="399"/>
            <ac:spMk id="190" creationId="{270FF882-9268-A2D9-B0DB-B4616733C5C0}"/>
          </ac:spMkLst>
        </pc:spChg>
        <pc:spChg chg="add del mod modVis">
          <ac:chgData name="Merlin Gutter" userId="2abc6f04-74af-430b-bdc8-569c3bfa1dda" providerId="ADAL" clId="{CB1EFBC3-10F5-3048-8961-5969497C0019}" dt="2022-11-23T17:25:37.711" v="91081"/>
          <ac:spMkLst>
            <pc:docMk/>
            <pc:sldMk cId="3505808948" sldId="399"/>
            <ac:spMk id="192" creationId="{839858AC-1981-FAE8-2FB5-BD7C758C2367}"/>
          </ac:spMkLst>
        </pc:spChg>
        <pc:spChg chg="add del mod modVis">
          <ac:chgData name="Merlin Gutter" userId="2abc6f04-74af-430b-bdc8-569c3bfa1dda" providerId="ADAL" clId="{CB1EFBC3-10F5-3048-8961-5969497C0019}" dt="2022-11-23T17:28:00.675" v="93173"/>
          <ac:spMkLst>
            <pc:docMk/>
            <pc:sldMk cId="3505808948" sldId="399"/>
            <ac:spMk id="194" creationId="{0D4C2045-EE57-2A4C-EE1B-79BFF95FEE5D}"/>
          </ac:spMkLst>
        </pc:spChg>
        <pc:spChg chg="add mod replST">
          <ac:chgData name="Merlin Gutter" userId="2abc6f04-74af-430b-bdc8-569c3bfa1dda" providerId="ADAL" clId="{CB1EFBC3-10F5-3048-8961-5969497C0019}" dt="2022-11-23T17:28:25.181" v="94835"/>
          <ac:spMkLst>
            <pc:docMk/>
            <pc:sldMk cId="3505808948" sldId="399"/>
            <ac:spMk id="195" creationId="{2A6039AD-6F32-1DEA-E7D9-D48659B0D5E8}"/>
          </ac:spMkLst>
        </pc:spChg>
        <pc:spChg chg="add del mod modVis">
          <ac:chgData name="Merlin Gutter" userId="2abc6f04-74af-430b-bdc8-569c3bfa1dda" providerId="ADAL" clId="{CB1EFBC3-10F5-3048-8961-5969497C0019}" dt="2022-11-23T17:28:03.902" v="93487"/>
          <ac:spMkLst>
            <pc:docMk/>
            <pc:sldMk cId="3505808948" sldId="399"/>
            <ac:spMk id="200" creationId="{16E36E13-DC28-CC95-1387-E78992F1ADCE}"/>
          </ac:spMkLst>
        </pc:spChg>
        <pc:spChg chg="add del mod modVis">
          <ac:chgData name="Merlin Gutter" userId="2abc6f04-74af-430b-bdc8-569c3bfa1dda" providerId="ADAL" clId="{CB1EFBC3-10F5-3048-8961-5969497C0019}" dt="2022-11-23T17:28:06.187" v="93801"/>
          <ac:spMkLst>
            <pc:docMk/>
            <pc:sldMk cId="3505808948" sldId="399"/>
            <ac:spMk id="202" creationId="{8CA897A7-2827-F0A4-1140-D667559901CC}"/>
          </ac:spMkLst>
        </pc:spChg>
        <pc:spChg chg="add del mod modVis">
          <ac:chgData name="Merlin Gutter" userId="2abc6f04-74af-430b-bdc8-569c3bfa1dda" providerId="ADAL" clId="{CB1EFBC3-10F5-3048-8961-5969497C0019}" dt="2022-11-23T17:28:16.265" v="94180"/>
          <ac:spMkLst>
            <pc:docMk/>
            <pc:sldMk cId="3505808948" sldId="399"/>
            <ac:spMk id="204" creationId="{79DA271B-1D89-B98A-700C-26E3134CEC7C}"/>
          </ac:spMkLst>
        </pc:spChg>
        <pc:spChg chg="add mod replST">
          <ac:chgData name="Merlin Gutter" userId="2abc6f04-74af-430b-bdc8-569c3bfa1dda" providerId="ADAL" clId="{CB1EFBC3-10F5-3048-8961-5969497C0019}" dt="2022-11-23T17:28:25.181" v="94834"/>
          <ac:spMkLst>
            <pc:docMk/>
            <pc:sldMk cId="3505808948" sldId="399"/>
            <ac:spMk id="205" creationId="{4E7AE04D-3C9C-C81E-9117-4A8CDCC02673}"/>
          </ac:spMkLst>
        </pc:spChg>
        <pc:spChg chg="add del mod modVis">
          <ac:chgData name="Merlin Gutter" userId="2abc6f04-74af-430b-bdc8-569c3bfa1dda" providerId="ADAL" clId="{CB1EFBC3-10F5-3048-8961-5969497C0019}" dt="2022-11-23T17:28:23.601" v="94494"/>
          <ac:spMkLst>
            <pc:docMk/>
            <pc:sldMk cId="3505808948" sldId="399"/>
            <ac:spMk id="210" creationId="{D95F18B6-38F0-A5EF-989A-FDF8BF7C49D9}"/>
          </ac:spMkLst>
        </pc:spChg>
        <pc:spChg chg="add del mod modVis">
          <ac:chgData name="Merlin Gutter" userId="2abc6f04-74af-430b-bdc8-569c3bfa1dda" providerId="ADAL" clId="{CB1EFBC3-10F5-3048-8961-5969497C0019}" dt="2022-11-23T17:28:25.185" v="94852"/>
          <ac:spMkLst>
            <pc:docMk/>
            <pc:sldMk cId="3505808948" sldId="399"/>
            <ac:spMk id="212" creationId="{BF0B817A-3C6A-5A0C-CE08-30F844A84967}"/>
          </ac:spMkLst>
        </pc:spChg>
        <pc:spChg chg="add mod ord">
          <ac:chgData name="Merlin Gutter" userId="2abc6f04-74af-430b-bdc8-569c3bfa1dda" providerId="ADAL" clId="{CB1EFBC3-10F5-3048-8961-5969497C0019}" dt="2022-11-24T19:24:54.042" v="130654"/>
          <ac:spMkLst>
            <pc:docMk/>
            <pc:sldMk cId="3505808948" sldId="399"/>
            <ac:spMk id="215" creationId="{E88AA0DF-B1E5-5E89-2DA4-B2D9368971EA}"/>
          </ac:spMkLst>
        </pc:spChg>
        <pc:spChg chg="del mod">
          <ac:chgData name="Merlin Gutter" userId="2abc6f04-74af-430b-bdc8-569c3bfa1dda" providerId="ADAL" clId="{CB1EFBC3-10F5-3048-8961-5969497C0019}" dt="2022-11-23T17:24:26.692" v="84208"/>
          <ac:spMkLst>
            <pc:docMk/>
            <pc:sldMk cId="3505808948" sldId="399"/>
            <ac:spMk id="220" creationId="{E4B69861-E3F5-0F16-CC91-A82610558EC4}"/>
          </ac:spMkLst>
        </pc:spChg>
        <pc:spChg chg="del mod">
          <ac:chgData name="Merlin Gutter" userId="2abc6f04-74af-430b-bdc8-569c3bfa1dda" providerId="ADAL" clId="{CB1EFBC3-10F5-3048-8961-5969497C0019}" dt="2022-11-23T17:24:26.690" v="84193"/>
          <ac:spMkLst>
            <pc:docMk/>
            <pc:sldMk cId="3505808948" sldId="399"/>
            <ac:spMk id="223" creationId="{8AB1E456-CB01-D0C6-2400-431698263CBE}"/>
          </ac:spMkLst>
        </pc:spChg>
        <pc:spChg chg="del mod">
          <ac:chgData name="Merlin Gutter" userId="2abc6f04-74af-430b-bdc8-569c3bfa1dda" providerId="ADAL" clId="{CB1EFBC3-10F5-3048-8961-5969497C0019}" dt="2022-11-23T17:24:26.688" v="84183"/>
          <ac:spMkLst>
            <pc:docMk/>
            <pc:sldMk cId="3505808948" sldId="399"/>
            <ac:spMk id="225" creationId="{7E3BCF8A-261D-191B-B446-31C4905B05AF}"/>
          </ac:spMkLst>
        </pc:spChg>
        <pc:spChg chg="del mod">
          <ac:chgData name="Merlin Gutter" userId="2abc6f04-74af-430b-bdc8-569c3bfa1dda" providerId="ADAL" clId="{CB1EFBC3-10F5-3048-8961-5969497C0019}" dt="2022-11-23T17:24:26.687" v="84173"/>
          <ac:spMkLst>
            <pc:docMk/>
            <pc:sldMk cId="3505808948" sldId="399"/>
            <ac:spMk id="227" creationId="{5706404A-C5A3-7F57-5FF3-E2871360F7FB}"/>
          </ac:spMkLst>
        </pc:spChg>
        <pc:spChg chg="del mod">
          <ac:chgData name="Merlin Gutter" userId="2abc6f04-74af-430b-bdc8-569c3bfa1dda" providerId="ADAL" clId="{CB1EFBC3-10F5-3048-8961-5969497C0019}" dt="2022-11-23T17:24:26.675" v="84116"/>
          <ac:spMkLst>
            <pc:docMk/>
            <pc:sldMk cId="3505808948" sldId="399"/>
            <ac:spMk id="380" creationId="{A4277D2A-A17B-94FB-372B-44CBF51AF92D}"/>
          </ac:spMkLst>
        </pc:spChg>
        <pc:spChg chg="del mod">
          <ac:chgData name="Merlin Gutter" userId="2abc6f04-74af-430b-bdc8-569c3bfa1dda" providerId="ADAL" clId="{CB1EFBC3-10F5-3048-8961-5969497C0019}" dt="2022-11-23T17:24:26.673" v="84108"/>
          <ac:spMkLst>
            <pc:docMk/>
            <pc:sldMk cId="3505808948" sldId="399"/>
            <ac:spMk id="386" creationId="{99C6B807-141E-3D78-57FC-17751DD454CB}"/>
          </ac:spMkLst>
        </pc:spChg>
        <pc:spChg chg="del mod">
          <ac:chgData name="Merlin Gutter" userId="2abc6f04-74af-430b-bdc8-569c3bfa1dda" providerId="ADAL" clId="{CB1EFBC3-10F5-3048-8961-5969497C0019}" dt="2022-11-23T17:24:26.692" v="84203"/>
          <ac:spMkLst>
            <pc:docMk/>
            <pc:sldMk cId="3505808948" sldId="399"/>
            <ac:spMk id="427" creationId="{C3038790-BF3B-EDDB-0C60-3504D554CDB1}"/>
          </ac:spMkLst>
        </pc:spChg>
        <pc:spChg chg="del mod">
          <ac:chgData name="Merlin Gutter" userId="2abc6f04-74af-430b-bdc8-569c3bfa1dda" providerId="ADAL" clId="{CB1EFBC3-10F5-3048-8961-5969497C0019}" dt="2022-11-23T17:24:26.691" v="84198"/>
          <ac:spMkLst>
            <pc:docMk/>
            <pc:sldMk cId="3505808948" sldId="399"/>
            <ac:spMk id="428" creationId="{6E265CAE-BFEB-4B0A-A749-56CBE14B0CB9}"/>
          </ac:spMkLst>
        </pc:spChg>
        <pc:spChg chg="del mod">
          <ac:chgData name="Merlin Gutter" userId="2abc6f04-74af-430b-bdc8-569c3bfa1dda" providerId="ADAL" clId="{CB1EFBC3-10F5-3048-8961-5969497C0019}" dt="2022-11-23T17:24:26.689" v="84188"/>
          <ac:spMkLst>
            <pc:docMk/>
            <pc:sldMk cId="3505808948" sldId="399"/>
            <ac:spMk id="429" creationId="{C4CAB5DA-4966-FE15-AD40-1B97D4C48366}"/>
          </ac:spMkLst>
        </pc:spChg>
        <pc:spChg chg="del mod">
          <ac:chgData name="Merlin Gutter" userId="2abc6f04-74af-430b-bdc8-569c3bfa1dda" providerId="ADAL" clId="{CB1EFBC3-10F5-3048-8961-5969497C0019}" dt="2022-11-23T17:24:26.687" v="84178"/>
          <ac:spMkLst>
            <pc:docMk/>
            <pc:sldMk cId="3505808948" sldId="399"/>
            <ac:spMk id="430" creationId="{DB444AD2-669B-993E-D2E8-BBD5ED92F094}"/>
          </ac:spMkLst>
        </pc:spChg>
        <pc:graphicFrameChg chg="mod">
          <ac:chgData name="Merlin Gutter" userId="2abc6f04-74af-430b-bdc8-569c3bfa1dda" providerId="ADAL" clId="{CB1EFBC3-10F5-3048-8961-5969497C0019}" dt="2022-11-23T17:46:54.839" v="108222"/>
          <ac:graphicFrameMkLst>
            <pc:docMk/>
            <pc:sldMk cId="3505808948" sldId="399"/>
            <ac:graphicFrameMk id="20" creationId="{6813096F-D721-0653-587E-E254F033A5A9}"/>
          </ac:graphicFrameMkLst>
        </pc:graphicFrameChg>
        <pc:graphicFrameChg chg="del">
          <ac:chgData name="Merlin Gutter" userId="2abc6f04-74af-430b-bdc8-569c3bfa1dda" providerId="ADAL" clId="{CB1EFBC3-10F5-3048-8961-5969497C0019}" dt="2022-11-23T17:24:24.633" v="83864"/>
          <ac:graphicFrameMkLst>
            <pc:docMk/>
            <pc:sldMk cId="3505808948" sldId="399"/>
            <ac:graphicFrameMk id="35" creationId="{EC8CCEB7-B0D1-8F33-239D-1428AA8739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4:26.694" v="84216"/>
          <ac:graphicFrameMkLst>
            <pc:docMk/>
            <pc:sldMk cId="3505808948" sldId="399"/>
            <ac:graphicFrameMk id="46" creationId="{4A090770-745D-16E8-A9FC-2FCB17652DE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4:44.965" v="85529"/>
          <ac:graphicFrameMkLst>
            <pc:docMk/>
            <pc:sldMk cId="3505808948" sldId="399"/>
            <ac:graphicFrameMk id="62" creationId="{A3E44D02-5173-2ED1-E5CF-2B35129815A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32.596" v="90678"/>
          <ac:graphicFrameMkLst>
            <pc:docMk/>
            <pc:sldMk cId="3505808948" sldId="399"/>
            <ac:graphicFrameMk id="189" creationId="{7E7E9653-C1D8-7A74-00A6-B5A6C2B592C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5:37.669" v="90963"/>
          <ac:graphicFrameMkLst>
            <pc:docMk/>
            <pc:sldMk cId="3505808948" sldId="399"/>
            <ac:graphicFrameMk id="191" creationId="{220B4AA9-D0A3-986A-C246-58DD9729953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8:00.633" v="93051"/>
          <ac:graphicFrameMkLst>
            <pc:docMk/>
            <pc:sldMk cId="3505808948" sldId="399"/>
            <ac:graphicFrameMk id="193" creationId="{153B4608-2434-F415-21AB-8FA3C3D4889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8:03.862" v="93365"/>
          <ac:graphicFrameMkLst>
            <pc:docMk/>
            <pc:sldMk cId="3505808948" sldId="399"/>
            <ac:graphicFrameMk id="199" creationId="{87AFFBB2-8DF4-956F-C0A9-F22AE1F6C0C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8:06.144" v="93679"/>
          <ac:graphicFrameMkLst>
            <pc:docMk/>
            <pc:sldMk cId="3505808948" sldId="399"/>
            <ac:graphicFrameMk id="201" creationId="{B2C27D2C-50CF-7CE8-B385-E82B95DCBB5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8:16.223" v="94055"/>
          <ac:graphicFrameMkLst>
            <pc:docMk/>
            <pc:sldMk cId="3505808948" sldId="399"/>
            <ac:graphicFrameMk id="203" creationId="{39B26F6D-4E3C-7AF5-A9E0-C2376ED67CF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8:23.560" v="94369"/>
          <ac:graphicFrameMkLst>
            <pc:docMk/>
            <pc:sldMk cId="3505808948" sldId="399"/>
            <ac:graphicFrameMk id="209" creationId="{0C29E94E-9F7B-8A8A-C210-C7241CDF584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7:28:25.144" v="94726"/>
          <ac:graphicFrameMkLst>
            <pc:docMk/>
            <pc:sldMk cId="3505808948" sldId="399"/>
            <ac:graphicFrameMk id="211" creationId="{8F403900-AE17-DB20-FF8D-E7FAF1E1A2B3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3T17:28:25.167" v="94765"/>
          <ac:graphicFrameMkLst>
            <pc:docMk/>
            <pc:sldMk cId="3505808948" sldId="399"/>
            <ac:graphicFrameMk id="214" creationId="{6B920EE4-FCBD-5D52-7A88-56E39F2FF214}"/>
          </ac:graphicFrameMkLst>
        </pc:graphicFrameChg>
        <pc:cxnChg chg="mod">
          <ac:chgData name="Merlin Gutter" userId="2abc6f04-74af-430b-bdc8-569c3bfa1dda" providerId="ADAL" clId="{CB1EFBC3-10F5-3048-8961-5969497C0019}" dt="2022-11-23T17:28:25.161" v="94738"/>
          <ac:cxnSpMkLst>
            <pc:docMk/>
            <pc:sldMk cId="3505808948" sldId="399"/>
            <ac:cxnSpMk id="7" creationId="{BAF6F246-54A1-4312-90AB-0320FAD7CD8A}"/>
          </ac:cxnSpMkLst>
        </pc:cxnChg>
        <pc:cxnChg chg="mod">
          <ac:chgData name="Merlin Gutter" userId="2abc6f04-74af-430b-bdc8-569c3bfa1dda" providerId="ADAL" clId="{CB1EFBC3-10F5-3048-8961-5969497C0019}" dt="2022-11-23T17:28:25.162" v="94739"/>
          <ac:cxnSpMkLst>
            <pc:docMk/>
            <pc:sldMk cId="3505808948" sldId="399"/>
            <ac:cxnSpMk id="8" creationId="{7A2F73AD-ADF7-009C-C582-FA06B7B3A06D}"/>
          </ac:cxnSpMkLst>
        </pc:cxnChg>
        <pc:cxnChg chg="add del mod replST">
          <ac:chgData name="Merlin Gutter" userId="2abc6f04-74af-430b-bdc8-569c3bfa1dda" providerId="ADAL" clId="{CB1EFBC3-10F5-3048-8961-5969497C0019}" dt="2022-11-23T17:24:26.676" v="84122"/>
          <ac:cxnSpMkLst>
            <pc:docMk/>
            <pc:sldMk cId="3505808948" sldId="399"/>
            <ac:cxnSpMk id="25" creationId="{A21908CC-1DE6-B41B-23F6-900E071BE8A0}"/>
          </ac:cxnSpMkLst>
        </pc:cxnChg>
        <pc:cxnChg chg="add del mod replST">
          <ac:chgData name="Merlin Gutter" userId="2abc6f04-74af-430b-bdc8-569c3bfa1dda" providerId="ADAL" clId="{CB1EFBC3-10F5-3048-8961-5969497C0019}" dt="2022-11-23T17:24:26.676" v="84120"/>
          <ac:cxnSpMkLst>
            <pc:docMk/>
            <pc:sldMk cId="3505808948" sldId="399"/>
            <ac:cxnSpMk id="26" creationId="{5D76A19D-4CC9-2DF5-F3B6-679A217FC051}"/>
          </ac:cxnSpMkLst>
        </pc:cxnChg>
        <pc:cxnChg chg="add del mod replST">
          <ac:chgData name="Merlin Gutter" userId="2abc6f04-74af-430b-bdc8-569c3bfa1dda" providerId="ADAL" clId="{CB1EFBC3-10F5-3048-8961-5969497C0019}" dt="2022-11-23T17:24:26.675" v="84118"/>
          <ac:cxnSpMkLst>
            <pc:docMk/>
            <pc:sldMk cId="3505808948" sldId="399"/>
            <ac:cxnSpMk id="41" creationId="{35BFC69D-3F47-9F7C-8738-6799221FD24F}"/>
          </ac:cxnSpMkLst>
        </pc:cxnChg>
        <pc:cxnChg chg="del mod">
          <ac:chgData name="Merlin Gutter" userId="2abc6f04-74af-430b-bdc8-569c3bfa1dda" providerId="ADAL" clId="{CB1EFBC3-10F5-3048-8961-5969497C0019}" dt="2022-11-23T17:24:35.414" v="84221" actId="478"/>
          <ac:cxnSpMkLst>
            <pc:docMk/>
            <pc:sldMk cId="3505808948" sldId="399"/>
            <ac:cxnSpMk id="44" creationId="{EDA89F83-E306-95C1-2097-DDF0729EA99B}"/>
          </ac:cxnSpMkLst>
        </pc:cxnChg>
        <pc:cxnChg chg="add mod replST">
          <ac:chgData name="Merlin Gutter" userId="2abc6f04-74af-430b-bdc8-569c3bfa1dda" providerId="ADAL" clId="{CB1EFBC3-10F5-3048-8961-5969497C0019}" dt="2022-11-23T17:28:25.164" v="94751"/>
          <ac:cxnSpMkLst>
            <pc:docMk/>
            <pc:sldMk cId="3505808948" sldId="399"/>
            <ac:cxnSpMk id="47" creationId="{CE2FBE29-35A6-F7BD-3C88-01CB583DF196}"/>
          </ac:cxnSpMkLst>
        </pc:cxnChg>
        <pc:cxnChg chg="add mod replST">
          <ac:chgData name="Merlin Gutter" userId="2abc6f04-74af-430b-bdc8-569c3bfa1dda" providerId="ADAL" clId="{CB1EFBC3-10F5-3048-8961-5969497C0019}" dt="2022-11-23T17:28:25.165" v="94756"/>
          <ac:cxnSpMkLst>
            <pc:docMk/>
            <pc:sldMk cId="3505808948" sldId="399"/>
            <ac:cxnSpMk id="48" creationId="{FC59B858-7B1D-AD30-C5C7-8198B6149818}"/>
          </ac:cxnSpMkLst>
        </pc:cxnChg>
        <pc:cxnChg chg="add mod replST">
          <ac:chgData name="Merlin Gutter" userId="2abc6f04-74af-430b-bdc8-569c3bfa1dda" providerId="ADAL" clId="{CB1EFBC3-10F5-3048-8961-5969497C0019}" dt="2022-11-23T17:28:25.165" v="94755"/>
          <ac:cxnSpMkLst>
            <pc:docMk/>
            <pc:sldMk cId="3505808948" sldId="399"/>
            <ac:cxnSpMk id="49" creationId="{40374228-89D2-0D25-1C8C-FCDC9C8969E7}"/>
          </ac:cxnSpMkLst>
        </pc:cxnChg>
        <pc:cxnChg chg="add mod replST">
          <ac:chgData name="Merlin Gutter" userId="2abc6f04-74af-430b-bdc8-569c3bfa1dda" providerId="ADAL" clId="{CB1EFBC3-10F5-3048-8961-5969497C0019}" dt="2022-11-23T17:28:25.165" v="94754"/>
          <ac:cxnSpMkLst>
            <pc:docMk/>
            <pc:sldMk cId="3505808948" sldId="399"/>
            <ac:cxnSpMk id="50" creationId="{88566FA7-8344-A09D-B194-1573EBFA0F5C}"/>
          </ac:cxnSpMkLst>
        </pc:cxnChg>
        <pc:cxnChg chg="add mod replST">
          <ac:chgData name="Merlin Gutter" userId="2abc6f04-74af-430b-bdc8-569c3bfa1dda" providerId="ADAL" clId="{CB1EFBC3-10F5-3048-8961-5969497C0019}" dt="2022-11-23T17:28:25.164" v="94753"/>
          <ac:cxnSpMkLst>
            <pc:docMk/>
            <pc:sldMk cId="3505808948" sldId="399"/>
            <ac:cxnSpMk id="51" creationId="{3A6CCF3D-020D-B47C-C837-7BE0C28FD89E}"/>
          </ac:cxnSpMkLst>
        </pc:cxnChg>
        <pc:cxnChg chg="add mod replST">
          <ac:chgData name="Merlin Gutter" userId="2abc6f04-74af-430b-bdc8-569c3bfa1dda" providerId="ADAL" clId="{CB1EFBC3-10F5-3048-8961-5969497C0019}" dt="2022-11-23T17:28:25.164" v="94752"/>
          <ac:cxnSpMkLst>
            <pc:docMk/>
            <pc:sldMk cId="3505808948" sldId="399"/>
            <ac:cxnSpMk id="52" creationId="{1E8B403E-4269-6D6E-8DAE-C9D4867C618B}"/>
          </ac:cxnSpMkLst>
        </pc:cxnChg>
        <pc:cxnChg chg="add mod replST">
          <ac:chgData name="Merlin Gutter" userId="2abc6f04-74af-430b-bdc8-569c3bfa1dda" providerId="ADAL" clId="{CB1EFBC3-10F5-3048-8961-5969497C0019}" dt="2022-11-23T17:28:25.164" v="94750"/>
          <ac:cxnSpMkLst>
            <pc:docMk/>
            <pc:sldMk cId="3505808948" sldId="399"/>
            <ac:cxnSpMk id="53" creationId="{6A56153A-26DB-6CEF-E1C8-AFA3BF9C5E05}"/>
          </ac:cxnSpMkLst>
        </pc:cxnChg>
        <pc:cxnChg chg="add mod replST">
          <ac:chgData name="Merlin Gutter" userId="2abc6f04-74af-430b-bdc8-569c3bfa1dda" providerId="ADAL" clId="{CB1EFBC3-10F5-3048-8961-5969497C0019}" dt="2022-11-23T17:28:25.165" v="94757"/>
          <ac:cxnSpMkLst>
            <pc:docMk/>
            <pc:sldMk cId="3505808948" sldId="399"/>
            <ac:cxnSpMk id="54" creationId="{9244BA2F-D4BC-D36E-AC11-B53C22583F4A}"/>
          </ac:cxnSpMkLst>
        </pc:cxnChg>
        <pc:cxnChg chg="add mod replST">
          <ac:chgData name="Merlin Gutter" userId="2abc6f04-74af-430b-bdc8-569c3bfa1dda" providerId="ADAL" clId="{CB1EFBC3-10F5-3048-8961-5969497C0019}" dt="2022-11-23T17:28:25.166" v="94763"/>
          <ac:cxnSpMkLst>
            <pc:docMk/>
            <pc:sldMk cId="3505808948" sldId="399"/>
            <ac:cxnSpMk id="55" creationId="{834914C2-F645-CA7E-1DE3-36F6F9538B6D}"/>
          </ac:cxnSpMkLst>
        </pc:cxnChg>
        <pc:cxnChg chg="add mod replST">
          <ac:chgData name="Merlin Gutter" userId="2abc6f04-74af-430b-bdc8-569c3bfa1dda" providerId="ADAL" clId="{CB1EFBC3-10F5-3048-8961-5969497C0019}" dt="2022-11-23T17:28:25.166" v="94761"/>
          <ac:cxnSpMkLst>
            <pc:docMk/>
            <pc:sldMk cId="3505808948" sldId="399"/>
            <ac:cxnSpMk id="56" creationId="{D1C27F1C-13EF-0EA7-F05B-42A4C5EB03F1}"/>
          </ac:cxnSpMkLst>
        </pc:cxnChg>
        <pc:cxnChg chg="add mod replST">
          <ac:chgData name="Merlin Gutter" userId="2abc6f04-74af-430b-bdc8-569c3bfa1dda" providerId="ADAL" clId="{CB1EFBC3-10F5-3048-8961-5969497C0019}" dt="2022-11-23T17:28:25.166" v="94764"/>
          <ac:cxnSpMkLst>
            <pc:docMk/>
            <pc:sldMk cId="3505808948" sldId="399"/>
            <ac:cxnSpMk id="57" creationId="{A1096F9C-A9AA-E4DD-18E8-C423B28E2947}"/>
          </ac:cxnSpMkLst>
        </pc:cxnChg>
        <pc:cxnChg chg="add mod replST">
          <ac:chgData name="Merlin Gutter" userId="2abc6f04-74af-430b-bdc8-569c3bfa1dda" providerId="ADAL" clId="{CB1EFBC3-10F5-3048-8961-5969497C0019}" dt="2022-11-23T17:28:25.166" v="94759"/>
          <ac:cxnSpMkLst>
            <pc:docMk/>
            <pc:sldMk cId="3505808948" sldId="399"/>
            <ac:cxnSpMk id="58" creationId="{384EC530-AD4B-29D3-4ABD-E1211C24FA90}"/>
          </ac:cxnSpMkLst>
        </pc:cxnChg>
        <pc:cxnChg chg="add mod replST">
          <ac:chgData name="Merlin Gutter" userId="2abc6f04-74af-430b-bdc8-569c3bfa1dda" providerId="ADAL" clId="{CB1EFBC3-10F5-3048-8961-5969497C0019}" dt="2022-11-23T17:28:25.165" v="94758"/>
          <ac:cxnSpMkLst>
            <pc:docMk/>
            <pc:sldMk cId="3505808948" sldId="399"/>
            <ac:cxnSpMk id="59" creationId="{C9D267BB-F56E-6C97-F32C-838DD7CB627B}"/>
          </ac:cxnSpMkLst>
        </pc:cxnChg>
        <pc:cxnChg chg="add mod replST">
          <ac:chgData name="Merlin Gutter" userId="2abc6f04-74af-430b-bdc8-569c3bfa1dda" providerId="ADAL" clId="{CB1EFBC3-10F5-3048-8961-5969497C0019}" dt="2022-11-23T17:28:25.166" v="94762"/>
          <ac:cxnSpMkLst>
            <pc:docMk/>
            <pc:sldMk cId="3505808948" sldId="399"/>
            <ac:cxnSpMk id="60" creationId="{F4F63EC1-0C9D-73AE-44F0-00BF88D7F4F5}"/>
          </ac:cxnSpMkLst>
        </pc:cxnChg>
        <pc:cxnChg chg="add mod replST">
          <ac:chgData name="Merlin Gutter" userId="2abc6f04-74af-430b-bdc8-569c3bfa1dda" providerId="ADAL" clId="{CB1EFBC3-10F5-3048-8961-5969497C0019}" dt="2022-11-23T17:28:25.166" v="94760"/>
          <ac:cxnSpMkLst>
            <pc:docMk/>
            <pc:sldMk cId="3505808948" sldId="399"/>
            <ac:cxnSpMk id="61" creationId="{4267DC05-9A1B-8ED3-07CB-271C580B15DA}"/>
          </ac:cxnSpMkLst>
        </pc:cxnChg>
        <pc:cxnChg chg="add mod replST">
          <ac:chgData name="Merlin Gutter" userId="2abc6f04-74af-430b-bdc8-569c3bfa1dda" providerId="ADAL" clId="{CB1EFBC3-10F5-3048-8961-5969497C0019}" dt="2022-11-23T17:28:25.170" v="94783"/>
          <ac:cxnSpMkLst>
            <pc:docMk/>
            <pc:sldMk cId="3505808948" sldId="399"/>
            <ac:cxnSpMk id="74" creationId="{63561936-A70D-8548-EF6E-5402A0231A50}"/>
          </ac:cxnSpMkLst>
        </pc:cxnChg>
        <pc:cxnChg chg="add mod replST">
          <ac:chgData name="Merlin Gutter" userId="2abc6f04-74af-430b-bdc8-569c3bfa1dda" providerId="ADAL" clId="{CB1EFBC3-10F5-3048-8961-5969497C0019}" dt="2022-11-23T17:28:25.170" v="94781"/>
          <ac:cxnSpMkLst>
            <pc:docMk/>
            <pc:sldMk cId="3505808948" sldId="399"/>
            <ac:cxnSpMk id="196" creationId="{A0D58CE4-B9FA-8281-EA94-0BA71AAE7002}"/>
          </ac:cxnSpMkLst>
        </pc:cxnChg>
        <pc:cxnChg chg="add del mod replST">
          <ac:chgData name="Merlin Gutter" userId="2abc6f04-74af-430b-bdc8-569c3bfa1dda" providerId="ADAL" clId="{CB1EFBC3-10F5-3048-8961-5969497C0019}" dt="2022-11-23T17:28:16.203" v="93989"/>
          <ac:cxnSpMkLst>
            <pc:docMk/>
            <pc:sldMk cId="3505808948" sldId="399"/>
            <ac:cxnSpMk id="197" creationId="{D4EBB6DB-1696-F92A-2677-718D6977A508}"/>
          </ac:cxnSpMkLst>
        </pc:cxnChg>
        <pc:cxnChg chg="add mod replST">
          <ac:chgData name="Merlin Gutter" userId="2abc6f04-74af-430b-bdc8-569c3bfa1dda" providerId="ADAL" clId="{CB1EFBC3-10F5-3048-8961-5969497C0019}" dt="2022-11-23T17:28:25.170" v="94780"/>
          <ac:cxnSpMkLst>
            <pc:docMk/>
            <pc:sldMk cId="3505808948" sldId="399"/>
            <ac:cxnSpMk id="198" creationId="{050740B6-B70B-2C4B-1CDD-DFD5FD139F4F}"/>
          </ac:cxnSpMkLst>
        </pc:cxnChg>
        <pc:cxnChg chg="add mod replST">
          <ac:chgData name="Merlin Gutter" userId="2abc6f04-74af-430b-bdc8-569c3bfa1dda" providerId="ADAL" clId="{CB1EFBC3-10F5-3048-8961-5969497C0019}" dt="2022-11-23T17:28:25.169" v="94777"/>
          <ac:cxnSpMkLst>
            <pc:docMk/>
            <pc:sldMk cId="3505808948" sldId="399"/>
            <ac:cxnSpMk id="206" creationId="{D5DF722D-91CA-D004-2600-CAA338CB9D83}"/>
          </ac:cxnSpMkLst>
        </pc:cxnChg>
        <pc:cxnChg chg="add mod replST">
          <ac:chgData name="Merlin Gutter" userId="2abc6f04-74af-430b-bdc8-569c3bfa1dda" providerId="ADAL" clId="{CB1EFBC3-10F5-3048-8961-5969497C0019}" dt="2022-11-23T17:28:25.170" v="94779"/>
          <ac:cxnSpMkLst>
            <pc:docMk/>
            <pc:sldMk cId="3505808948" sldId="399"/>
            <ac:cxnSpMk id="207" creationId="{F845B29D-60DE-BBE6-7212-49B59A6B6FF0}"/>
          </ac:cxnSpMkLst>
        </pc:cxnChg>
        <pc:cxnChg chg="add mod replST">
          <ac:chgData name="Merlin Gutter" userId="2abc6f04-74af-430b-bdc8-569c3bfa1dda" providerId="ADAL" clId="{CB1EFBC3-10F5-3048-8961-5969497C0019}" dt="2022-11-23T17:28:25.169" v="94778"/>
          <ac:cxnSpMkLst>
            <pc:docMk/>
            <pc:sldMk cId="3505808948" sldId="399"/>
            <ac:cxnSpMk id="208" creationId="{0FA83951-83FF-99A0-6B86-A596BF41D78A}"/>
          </ac:cxnSpMkLst>
        </pc:cxnChg>
        <pc:cxnChg chg="add mod replST">
          <ac:chgData name="Merlin Gutter" userId="2abc6f04-74af-430b-bdc8-569c3bfa1dda" providerId="ADAL" clId="{CB1EFBC3-10F5-3048-8961-5969497C0019}" dt="2022-11-23T17:28:25.170" v="94782"/>
          <ac:cxnSpMkLst>
            <pc:docMk/>
            <pc:sldMk cId="3505808948" sldId="399"/>
            <ac:cxnSpMk id="213" creationId="{525250AE-1114-9589-1E98-2BD765462001}"/>
          </ac:cxnSpMkLst>
        </pc:cxnChg>
        <pc:cxnChg chg="del mod">
          <ac:chgData name="Merlin Gutter" userId="2abc6f04-74af-430b-bdc8-569c3bfa1dda" providerId="ADAL" clId="{CB1EFBC3-10F5-3048-8961-5969497C0019}" dt="2022-11-23T17:24:26.693" v="84210"/>
          <ac:cxnSpMkLst>
            <pc:docMk/>
            <pc:sldMk cId="3505808948" sldId="399"/>
            <ac:cxnSpMk id="228" creationId="{BE191C59-1A3A-0A58-5312-8200EF43A74D}"/>
          </ac:cxnSpMkLst>
        </pc:cxnChg>
        <pc:cxnChg chg="del mod">
          <ac:chgData name="Merlin Gutter" userId="2abc6f04-74af-430b-bdc8-569c3bfa1dda" providerId="ADAL" clId="{CB1EFBC3-10F5-3048-8961-5969497C0019}" dt="2022-11-23T17:24:26.691" v="84197"/>
          <ac:cxnSpMkLst>
            <pc:docMk/>
            <pc:sldMk cId="3505808948" sldId="399"/>
            <ac:cxnSpMk id="231" creationId="{B2D4622C-A6B1-E5A0-BB01-86CC8FAF7C92}"/>
          </ac:cxnSpMkLst>
        </pc:cxnChg>
        <pc:cxnChg chg="del mod">
          <ac:chgData name="Merlin Gutter" userId="2abc6f04-74af-430b-bdc8-569c3bfa1dda" providerId="ADAL" clId="{CB1EFBC3-10F5-3048-8961-5969497C0019}" dt="2022-11-23T17:24:26.689" v="84187"/>
          <ac:cxnSpMkLst>
            <pc:docMk/>
            <pc:sldMk cId="3505808948" sldId="399"/>
            <ac:cxnSpMk id="233" creationId="{153CE8EC-2C42-5472-4595-FE206DE57468}"/>
          </ac:cxnSpMkLst>
        </pc:cxnChg>
        <pc:cxnChg chg="del mod">
          <ac:chgData name="Merlin Gutter" userId="2abc6f04-74af-430b-bdc8-569c3bfa1dda" providerId="ADAL" clId="{CB1EFBC3-10F5-3048-8961-5969497C0019}" dt="2022-11-23T17:24:26.687" v="84177"/>
          <ac:cxnSpMkLst>
            <pc:docMk/>
            <pc:sldMk cId="3505808948" sldId="399"/>
            <ac:cxnSpMk id="235" creationId="{9C8BA09B-4925-0289-7A24-3D94A2FFC472}"/>
          </ac:cxnSpMkLst>
        </pc:cxnChg>
        <pc:cxnChg chg="del mod">
          <ac:chgData name="Merlin Gutter" userId="2abc6f04-74af-430b-bdc8-569c3bfa1dda" providerId="ADAL" clId="{CB1EFBC3-10F5-3048-8961-5969497C0019}" dt="2022-11-23T17:24:26.675" v="84114"/>
          <ac:cxnSpMkLst>
            <pc:docMk/>
            <pc:sldMk cId="3505808948" sldId="399"/>
            <ac:cxnSpMk id="381" creationId="{457CE312-C0DC-0F5C-5B8B-912B30EA7C3D}"/>
          </ac:cxnSpMkLst>
        </pc:cxnChg>
        <pc:cxnChg chg="del mod">
          <ac:chgData name="Merlin Gutter" userId="2abc6f04-74af-430b-bdc8-569c3bfa1dda" providerId="ADAL" clId="{CB1EFBC3-10F5-3048-8961-5969497C0019}" dt="2022-11-23T17:24:26.674" v="84112"/>
          <ac:cxnSpMkLst>
            <pc:docMk/>
            <pc:sldMk cId="3505808948" sldId="399"/>
            <ac:cxnSpMk id="382" creationId="{7ED92058-A3E8-5E51-EB96-CC97C9437BD7}"/>
          </ac:cxnSpMkLst>
        </pc:cxnChg>
        <pc:cxnChg chg="del mod">
          <ac:chgData name="Merlin Gutter" userId="2abc6f04-74af-430b-bdc8-569c3bfa1dda" providerId="ADAL" clId="{CB1EFBC3-10F5-3048-8961-5969497C0019}" dt="2022-11-23T17:24:26.674" v="84110"/>
          <ac:cxnSpMkLst>
            <pc:docMk/>
            <pc:sldMk cId="3505808948" sldId="399"/>
            <ac:cxnSpMk id="383" creationId="{33534F8B-417F-CDE3-430C-CA3F942F4F06}"/>
          </ac:cxnSpMkLst>
        </pc:cxnChg>
        <pc:cxnChg chg="del mod">
          <ac:chgData name="Merlin Gutter" userId="2abc6f04-74af-430b-bdc8-569c3bfa1dda" providerId="ADAL" clId="{CB1EFBC3-10F5-3048-8961-5969497C0019}" dt="2022-11-23T17:24:26.673" v="84106"/>
          <ac:cxnSpMkLst>
            <pc:docMk/>
            <pc:sldMk cId="3505808948" sldId="399"/>
            <ac:cxnSpMk id="387" creationId="{17040920-7574-9678-5E32-4247AF87C4DA}"/>
          </ac:cxnSpMkLst>
        </pc:cxnChg>
        <pc:cxnChg chg="del mod">
          <ac:chgData name="Merlin Gutter" userId="2abc6f04-74af-430b-bdc8-569c3bfa1dda" providerId="ADAL" clId="{CB1EFBC3-10F5-3048-8961-5969497C0019}" dt="2022-11-23T17:24:26.673" v="84104"/>
          <ac:cxnSpMkLst>
            <pc:docMk/>
            <pc:sldMk cId="3505808948" sldId="399"/>
            <ac:cxnSpMk id="388" creationId="{AE187C29-CD3F-549B-6670-9106D8B9A8E5}"/>
          </ac:cxnSpMkLst>
        </pc:cxnChg>
        <pc:cxnChg chg="del mod">
          <ac:chgData name="Merlin Gutter" userId="2abc6f04-74af-430b-bdc8-569c3bfa1dda" providerId="ADAL" clId="{CB1EFBC3-10F5-3048-8961-5969497C0019}" dt="2022-11-23T17:24:26.672" v="84102"/>
          <ac:cxnSpMkLst>
            <pc:docMk/>
            <pc:sldMk cId="3505808948" sldId="399"/>
            <ac:cxnSpMk id="389" creationId="{6661D47C-5D15-C012-E53E-7F898F03871B}"/>
          </ac:cxnSpMkLst>
        </pc:cxnChg>
        <pc:cxnChg chg="del mod">
          <ac:chgData name="Merlin Gutter" userId="2abc6f04-74af-430b-bdc8-569c3bfa1dda" providerId="ADAL" clId="{CB1EFBC3-10F5-3048-8961-5969497C0019}" dt="2022-11-23T17:24:26.690" v="84195"/>
          <ac:cxnSpMkLst>
            <pc:docMk/>
            <pc:sldMk cId="3505808948" sldId="399"/>
            <ac:cxnSpMk id="408" creationId="{673B08D9-145F-249E-897F-0B8F338B4322}"/>
          </ac:cxnSpMkLst>
        </pc:cxnChg>
        <pc:cxnChg chg="del mod">
          <ac:chgData name="Merlin Gutter" userId="2abc6f04-74af-430b-bdc8-569c3bfa1dda" providerId="ADAL" clId="{CB1EFBC3-10F5-3048-8961-5969497C0019}" dt="2022-11-23T17:24:26.689" v="84185"/>
          <ac:cxnSpMkLst>
            <pc:docMk/>
            <pc:sldMk cId="3505808948" sldId="399"/>
            <ac:cxnSpMk id="410" creationId="{5A35DF61-481A-ADBE-456F-E2CE1F56C9D0}"/>
          </ac:cxnSpMkLst>
        </pc:cxnChg>
        <pc:cxnChg chg="del mod">
          <ac:chgData name="Merlin Gutter" userId="2abc6f04-74af-430b-bdc8-569c3bfa1dda" providerId="ADAL" clId="{CB1EFBC3-10F5-3048-8961-5969497C0019}" dt="2022-11-23T17:24:26.687" v="84175"/>
          <ac:cxnSpMkLst>
            <pc:docMk/>
            <pc:sldMk cId="3505808948" sldId="399"/>
            <ac:cxnSpMk id="412" creationId="{1B89F2C6-D2C5-481B-287F-FF68CD9A5949}"/>
          </ac:cxnSpMkLst>
        </pc:cxnChg>
        <pc:cxnChg chg="del mod">
          <ac:chgData name="Merlin Gutter" userId="2abc6f04-74af-430b-bdc8-569c3bfa1dda" providerId="ADAL" clId="{CB1EFBC3-10F5-3048-8961-5969497C0019}" dt="2022-11-23T17:24:26.692" v="84207"/>
          <ac:cxnSpMkLst>
            <pc:docMk/>
            <pc:sldMk cId="3505808948" sldId="399"/>
            <ac:cxnSpMk id="431" creationId="{CEE8284B-99A5-8437-10DA-69E6C8F09ACD}"/>
          </ac:cxnSpMkLst>
        </pc:cxnChg>
        <pc:cxnChg chg="del mod">
          <ac:chgData name="Merlin Gutter" userId="2abc6f04-74af-430b-bdc8-569c3bfa1dda" providerId="ADAL" clId="{CB1EFBC3-10F5-3048-8961-5969497C0019}" dt="2022-11-23T17:24:26.692" v="84205"/>
          <ac:cxnSpMkLst>
            <pc:docMk/>
            <pc:sldMk cId="3505808948" sldId="399"/>
            <ac:cxnSpMk id="432" creationId="{36A99B78-9B88-D1EC-3D0C-10FB4B33E911}"/>
          </ac:cxnSpMkLst>
        </pc:cxnChg>
        <pc:cxnChg chg="del mod">
          <ac:chgData name="Merlin Gutter" userId="2abc6f04-74af-430b-bdc8-569c3bfa1dda" providerId="ADAL" clId="{CB1EFBC3-10F5-3048-8961-5969497C0019}" dt="2022-11-23T17:24:26.692" v="84202"/>
          <ac:cxnSpMkLst>
            <pc:docMk/>
            <pc:sldMk cId="3505808948" sldId="399"/>
            <ac:cxnSpMk id="433" creationId="{9F2075F1-1CCA-86C6-DBB9-731191CD5BF2}"/>
          </ac:cxnSpMkLst>
        </pc:cxnChg>
        <pc:cxnChg chg="del mod">
          <ac:chgData name="Merlin Gutter" userId="2abc6f04-74af-430b-bdc8-569c3bfa1dda" providerId="ADAL" clId="{CB1EFBC3-10F5-3048-8961-5969497C0019}" dt="2022-11-23T17:24:26.691" v="84200"/>
          <ac:cxnSpMkLst>
            <pc:docMk/>
            <pc:sldMk cId="3505808948" sldId="399"/>
            <ac:cxnSpMk id="434" creationId="{49458954-C9F1-A38A-8864-B1384C131185}"/>
          </ac:cxnSpMkLst>
        </pc:cxnChg>
        <pc:cxnChg chg="del mod">
          <ac:chgData name="Merlin Gutter" userId="2abc6f04-74af-430b-bdc8-569c3bfa1dda" providerId="ADAL" clId="{CB1EFBC3-10F5-3048-8961-5969497C0019}" dt="2022-11-23T17:24:26.690" v="84192"/>
          <ac:cxnSpMkLst>
            <pc:docMk/>
            <pc:sldMk cId="3505808948" sldId="399"/>
            <ac:cxnSpMk id="435" creationId="{85DD01DE-21FB-C7C2-2DBE-416879CFF66D}"/>
          </ac:cxnSpMkLst>
        </pc:cxnChg>
        <pc:cxnChg chg="del mod">
          <ac:chgData name="Merlin Gutter" userId="2abc6f04-74af-430b-bdc8-569c3bfa1dda" providerId="ADAL" clId="{CB1EFBC3-10F5-3048-8961-5969497C0019}" dt="2022-11-23T17:24:26.689" v="84190"/>
          <ac:cxnSpMkLst>
            <pc:docMk/>
            <pc:sldMk cId="3505808948" sldId="399"/>
            <ac:cxnSpMk id="436" creationId="{28819932-92DC-ED91-FF9C-8E3F400B42F5}"/>
          </ac:cxnSpMkLst>
        </pc:cxnChg>
        <pc:cxnChg chg="del mod">
          <ac:chgData name="Merlin Gutter" userId="2abc6f04-74af-430b-bdc8-569c3bfa1dda" providerId="ADAL" clId="{CB1EFBC3-10F5-3048-8961-5969497C0019}" dt="2022-11-23T17:24:26.688" v="84182"/>
          <ac:cxnSpMkLst>
            <pc:docMk/>
            <pc:sldMk cId="3505808948" sldId="399"/>
            <ac:cxnSpMk id="437" creationId="{E51121C7-83F9-B3A6-FF04-F8517BCD2705}"/>
          </ac:cxnSpMkLst>
        </pc:cxnChg>
        <pc:cxnChg chg="del mod">
          <ac:chgData name="Merlin Gutter" userId="2abc6f04-74af-430b-bdc8-569c3bfa1dda" providerId="ADAL" clId="{CB1EFBC3-10F5-3048-8961-5969497C0019}" dt="2022-11-23T17:24:26.688" v="84180"/>
          <ac:cxnSpMkLst>
            <pc:docMk/>
            <pc:sldMk cId="3505808948" sldId="399"/>
            <ac:cxnSpMk id="438" creationId="{25EAF4F5-E92F-E119-0DE8-99DC38A1B848}"/>
          </ac:cxnSpMkLst>
        </pc:cxnChg>
      </pc:sldChg>
      <pc:sldChg chg="addSp delSp modSp add mod ord chgLayout">
        <pc:chgData name="Merlin Gutter" userId="2abc6f04-74af-430b-bdc8-569c3bfa1dda" providerId="ADAL" clId="{CB1EFBC3-10F5-3048-8961-5969497C0019}" dt="2022-11-24T19:24:30.413" v="130651"/>
        <pc:sldMkLst>
          <pc:docMk/>
          <pc:sldMk cId="2323941003" sldId="400"/>
        </pc:sldMkLst>
        <pc:spChg chg="add mod topLvl">
          <ac:chgData name="Merlin Gutter" userId="2abc6f04-74af-430b-bdc8-569c3bfa1dda" providerId="ADAL" clId="{CB1EFBC3-10F5-3048-8961-5969497C0019}" dt="2022-11-23T18:51:28.250" v="117940" actId="164"/>
          <ac:spMkLst>
            <pc:docMk/>
            <pc:sldMk cId="2323941003" sldId="400"/>
            <ac:spMk id="4" creationId="{7C1928D4-1E9A-9423-1877-D187D33FC819}"/>
          </ac:spMkLst>
        </pc:spChg>
        <pc:spChg chg="add del mod">
          <ac:chgData name="Merlin Gutter" userId="2abc6f04-74af-430b-bdc8-569c3bfa1dda" providerId="ADAL" clId="{CB1EFBC3-10F5-3048-8961-5969497C0019}" dt="2022-11-23T18:46:57.234" v="117830" actId="478"/>
          <ac:spMkLst>
            <pc:docMk/>
            <pc:sldMk cId="2323941003" sldId="400"/>
            <ac:spMk id="5" creationId="{C4B1DF4D-EE52-487A-7F72-5F1DDB22DE6A}"/>
          </ac:spMkLst>
        </pc:spChg>
        <pc:spChg chg="add del mod ord">
          <ac:chgData name="Merlin Gutter" userId="2abc6f04-74af-430b-bdc8-569c3bfa1dda" providerId="ADAL" clId="{CB1EFBC3-10F5-3048-8961-5969497C0019}" dt="2022-11-24T19:24:28.179" v="130650"/>
          <ac:spMkLst>
            <pc:docMk/>
            <pc:sldMk cId="2323941003" sldId="400"/>
            <ac:spMk id="6" creationId="{FE8B2556-127D-9404-D7EC-8D05EED15275}"/>
          </ac:spMkLst>
        </pc:spChg>
        <pc:spChg chg="del">
          <ac:chgData name="Merlin Gutter" userId="2abc6f04-74af-430b-bdc8-569c3bfa1dda" providerId="ADAL" clId="{CB1EFBC3-10F5-3048-8961-5969497C0019}" dt="2022-11-23T17:49:42.766" v="108489" actId="478"/>
          <ac:spMkLst>
            <pc:docMk/>
            <pc:sldMk cId="2323941003" sldId="400"/>
            <ac:spMk id="7" creationId="{0D46092F-261C-82DE-BB48-90C5AC557816}"/>
          </ac:spMkLst>
        </pc:spChg>
        <pc:spChg chg="del">
          <ac:chgData name="Merlin Gutter" userId="2abc6f04-74af-430b-bdc8-569c3bfa1dda" providerId="ADAL" clId="{CB1EFBC3-10F5-3048-8961-5969497C0019}" dt="2022-11-23T17:48:59.871" v="108479" actId="478"/>
          <ac:spMkLst>
            <pc:docMk/>
            <pc:sldMk cId="2323941003" sldId="400"/>
            <ac:spMk id="8" creationId="{33BFFE52-8B5C-F2EE-34FF-3E0959547816}"/>
          </ac:spMkLst>
        </pc:spChg>
        <pc:spChg chg="del">
          <ac:chgData name="Merlin Gutter" userId="2abc6f04-74af-430b-bdc8-569c3bfa1dda" providerId="ADAL" clId="{CB1EFBC3-10F5-3048-8961-5969497C0019}" dt="2022-11-23T17:57:18.968" v="108728" actId="478"/>
          <ac:spMkLst>
            <pc:docMk/>
            <pc:sldMk cId="2323941003" sldId="400"/>
            <ac:spMk id="9" creationId="{4A629F21-EB27-DA31-BD8F-B2AA58E24917}"/>
          </ac:spMkLst>
        </pc:spChg>
        <pc:spChg chg="del">
          <ac:chgData name="Merlin Gutter" userId="2abc6f04-74af-430b-bdc8-569c3bfa1dda" providerId="ADAL" clId="{CB1EFBC3-10F5-3048-8961-5969497C0019}" dt="2022-11-23T17:49:39.169" v="108487" actId="478"/>
          <ac:spMkLst>
            <pc:docMk/>
            <pc:sldMk cId="2323941003" sldId="400"/>
            <ac:spMk id="10" creationId="{96C9B39E-B6F0-A628-8016-27F08C476907}"/>
          </ac:spMkLst>
        </pc:spChg>
        <pc:spChg chg="del">
          <ac:chgData name="Merlin Gutter" userId="2abc6f04-74af-430b-bdc8-569c3bfa1dda" providerId="ADAL" clId="{CB1EFBC3-10F5-3048-8961-5969497C0019}" dt="2022-11-23T17:53:31.920" v="108606" actId="478"/>
          <ac:spMkLst>
            <pc:docMk/>
            <pc:sldMk cId="2323941003" sldId="400"/>
            <ac:spMk id="11" creationId="{6CAF6D89-351F-B467-BF0E-7EEEE63702ED}"/>
          </ac:spMkLst>
        </pc:spChg>
        <pc:spChg chg="del">
          <ac:chgData name="Merlin Gutter" userId="2abc6f04-74af-430b-bdc8-569c3bfa1dda" providerId="ADAL" clId="{CB1EFBC3-10F5-3048-8961-5969497C0019}" dt="2022-11-23T17:54:07.140" v="108644" actId="478"/>
          <ac:spMkLst>
            <pc:docMk/>
            <pc:sldMk cId="2323941003" sldId="400"/>
            <ac:spMk id="12" creationId="{DBDA0B70-276B-ED42-D296-F9DFA2503A40}"/>
          </ac:spMkLst>
        </pc:spChg>
        <pc:spChg chg="del mod">
          <ac:chgData name="Merlin Gutter" userId="2abc6f04-74af-430b-bdc8-569c3bfa1dda" providerId="ADAL" clId="{CB1EFBC3-10F5-3048-8961-5969497C0019}" dt="2022-11-23T17:54:09.379" v="108646" actId="478"/>
          <ac:spMkLst>
            <pc:docMk/>
            <pc:sldMk cId="2323941003" sldId="400"/>
            <ac:spMk id="13" creationId="{6B1F1038-7DDB-13C3-9E87-9617DCDB3417}"/>
          </ac:spMkLst>
        </pc:spChg>
        <pc:spChg chg="del">
          <ac:chgData name="Merlin Gutter" userId="2abc6f04-74af-430b-bdc8-569c3bfa1dda" providerId="ADAL" clId="{CB1EFBC3-10F5-3048-8961-5969497C0019}" dt="2022-11-23T17:54:18.557" v="108650" actId="478"/>
          <ac:spMkLst>
            <pc:docMk/>
            <pc:sldMk cId="2323941003" sldId="400"/>
            <ac:spMk id="14" creationId="{97CF11B0-7D52-E607-D1D2-C5F08C74EBF5}"/>
          </ac:spMkLst>
        </pc:spChg>
        <pc:spChg chg="del">
          <ac:chgData name="Merlin Gutter" userId="2abc6f04-74af-430b-bdc8-569c3bfa1dda" providerId="ADAL" clId="{CB1EFBC3-10F5-3048-8961-5969497C0019}" dt="2022-11-24T19:13:41.971" v="130452" actId="478"/>
          <ac:spMkLst>
            <pc:docMk/>
            <pc:sldMk cId="2323941003" sldId="400"/>
            <ac:spMk id="14" creationId="{E0F71625-5368-E641-106B-D51100EF8F78}"/>
          </ac:spMkLst>
        </pc:spChg>
        <pc:spChg chg="del">
          <ac:chgData name="Merlin Gutter" userId="2abc6f04-74af-430b-bdc8-569c3bfa1dda" providerId="ADAL" clId="{CB1EFBC3-10F5-3048-8961-5969497C0019}" dt="2022-11-24T19:13:53.513" v="130453" actId="478"/>
          <ac:spMkLst>
            <pc:docMk/>
            <pc:sldMk cId="2323941003" sldId="400"/>
            <ac:spMk id="15" creationId="{89AC0A7F-093E-0B41-3D8E-895F6CA7D232}"/>
          </ac:spMkLst>
        </pc:spChg>
        <pc:spChg chg="del">
          <ac:chgData name="Merlin Gutter" userId="2abc6f04-74af-430b-bdc8-569c3bfa1dda" providerId="ADAL" clId="{CB1EFBC3-10F5-3048-8961-5969497C0019}" dt="2022-11-23T17:54:19.172" v="108651" actId="478"/>
          <ac:spMkLst>
            <pc:docMk/>
            <pc:sldMk cId="2323941003" sldId="400"/>
            <ac:spMk id="15" creationId="{FB38A7D5-EFA4-4B18-846F-C30F7492B0DF}"/>
          </ac:spMkLst>
        </pc:spChg>
        <pc:spChg chg="del">
          <ac:chgData name="Merlin Gutter" userId="2abc6f04-74af-430b-bdc8-569c3bfa1dda" providerId="ADAL" clId="{CB1EFBC3-10F5-3048-8961-5969497C0019}" dt="2022-11-23T17:51:20.457" v="108554" actId="478"/>
          <ac:spMkLst>
            <pc:docMk/>
            <pc:sldMk cId="2323941003" sldId="400"/>
            <ac:spMk id="16" creationId="{476CEE4A-23C8-8952-D41D-D5D17B0B7790}"/>
          </ac:spMkLst>
        </pc:spChg>
        <pc:spChg chg="mod ord">
          <ac:chgData name="Merlin Gutter" userId="2abc6f04-74af-430b-bdc8-569c3bfa1dda" providerId="ADAL" clId="{CB1EFBC3-10F5-3048-8961-5969497C0019}" dt="2022-11-24T19:24:28.179" v="130650"/>
          <ac:spMkLst>
            <pc:docMk/>
            <pc:sldMk cId="2323941003" sldId="400"/>
            <ac:spMk id="17" creationId="{631624C4-0C6C-628C-34B9-9884F7AEC742}"/>
          </ac:spMkLst>
        </pc:spChg>
        <pc:spChg chg="add mod topLvl">
          <ac:chgData name="Merlin Gutter" userId="2abc6f04-74af-430b-bdc8-569c3bfa1dda" providerId="ADAL" clId="{CB1EFBC3-10F5-3048-8961-5969497C0019}" dt="2022-11-23T18:51:28.250" v="117940" actId="164"/>
          <ac:spMkLst>
            <pc:docMk/>
            <pc:sldMk cId="2323941003" sldId="400"/>
            <ac:spMk id="18" creationId="{B8A1A7CD-C78D-3E41-F8EC-35CF9C63961A}"/>
          </ac:spMkLst>
        </pc:spChg>
        <pc:spChg chg="add mod topLvl">
          <ac:chgData name="Merlin Gutter" userId="2abc6f04-74af-430b-bdc8-569c3bfa1dda" providerId="ADAL" clId="{CB1EFBC3-10F5-3048-8961-5969497C0019}" dt="2022-11-23T18:51:28.250" v="117940" actId="164"/>
          <ac:spMkLst>
            <pc:docMk/>
            <pc:sldMk cId="2323941003" sldId="400"/>
            <ac:spMk id="19" creationId="{EA02BDB5-3DEF-E4EB-F30A-FF6A6B3252D3}"/>
          </ac:spMkLst>
        </pc:spChg>
        <pc:spChg chg="add mod topLvl">
          <ac:chgData name="Merlin Gutter" userId="2abc6f04-74af-430b-bdc8-569c3bfa1dda" providerId="ADAL" clId="{CB1EFBC3-10F5-3048-8961-5969497C0019}" dt="2022-11-23T18:51:28.250" v="117940" actId="164"/>
          <ac:spMkLst>
            <pc:docMk/>
            <pc:sldMk cId="2323941003" sldId="400"/>
            <ac:spMk id="20" creationId="{4F8EA1BC-EF82-F23C-E19B-EE76500E9634}"/>
          </ac:spMkLst>
        </pc:spChg>
        <pc:spChg chg="del">
          <ac:chgData name="Merlin Gutter" userId="2abc6f04-74af-430b-bdc8-569c3bfa1dda" providerId="ADAL" clId="{CB1EFBC3-10F5-3048-8961-5969497C0019}" dt="2022-11-23T17:56:08.481" v="108693" actId="478"/>
          <ac:spMkLst>
            <pc:docMk/>
            <pc:sldMk cId="2323941003" sldId="400"/>
            <ac:spMk id="21" creationId="{02A52CD0-20C0-2614-6FC8-860CE810969A}"/>
          </ac:spMkLst>
        </pc:spChg>
        <pc:spChg chg="del">
          <ac:chgData name="Merlin Gutter" userId="2abc6f04-74af-430b-bdc8-569c3bfa1dda" providerId="ADAL" clId="{CB1EFBC3-10F5-3048-8961-5969497C0019}" dt="2022-11-23T17:56:07.595" v="108692" actId="478"/>
          <ac:spMkLst>
            <pc:docMk/>
            <pc:sldMk cId="2323941003" sldId="400"/>
            <ac:spMk id="22" creationId="{1EF6FF72-9086-CC9B-1BD5-8C90D43D5273}"/>
          </ac:spMkLst>
        </pc:spChg>
        <pc:spChg chg="del">
          <ac:chgData name="Merlin Gutter" userId="2abc6f04-74af-430b-bdc8-569c3bfa1dda" providerId="ADAL" clId="{CB1EFBC3-10F5-3048-8961-5969497C0019}" dt="2022-11-23T17:56:06.737" v="108691" actId="478"/>
          <ac:spMkLst>
            <pc:docMk/>
            <pc:sldMk cId="2323941003" sldId="400"/>
            <ac:spMk id="23" creationId="{3E17BE7A-950E-CCB4-58CF-F5FA9A50DBBD}"/>
          </ac:spMkLst>
        </pc:spChg>
        <pc:spChg chg="del">
          <ac:chgData name="Merlin Gutter" userId="2abc6f04-74af-430b-bdc8-569c3bfa1dda" providerId="ADAL" clId="{CB1EFBC3-10F5-3048-8961-5969497C0019}" dt="2022-11-23T17:56:05.894" v="108690" actId="478"/>
          <ac:spMkLst>
            <pc:docMk/>
            <pc:sldMk cId="2323941003" sldId="400"/>
            <ac:spMk id="24" creationId="{9722BF3B-33BF-CA13-2D72-9D7BE43A0B7D}"/>
          </ac:spMkLst>
        </pc:spChg>
        <pc:spChg chg="del">
          <ac:chgData name="Merlin Gutter" userId="2abc6f04-74af-430b-bdc8-569c3bfa1dda" providerId="ADAL" clId="{CB1EFBC3-10F5-3048-8961-5969497C0019}" dt="2022-11-23T17:56:04.855" v="108689" actId="478"/>
          <ac:spMkLst>
            <pc:docMk/>
            <pc:sldMk cId="2323941003" sldId="400"/>
            <ac:spMk id="25" creationId="{67689547-6DE0-0343-9EF4-BE7B8ECC24CA}"/>
          </ac:spMkLst>
        </pc:spChg>
        <pc:spChg chg="del">
          <ac:chgData name="Merlin Gutter" userId="2abc6f04-74af-430b-bdc8-569c3bfa1dda" providerId="ADAL" clId="{CB1EFBC3-10F5-3048-8961-5969497C0019}" dt="2022-11-23T17:57:36.590" v="108736" actId="478"/>
          <ac:spMkLst>
            <pc:docMk/>
            <pc:sldMk cId="2323941003" sldId="400"/>
            <ac:spMk id="26" creationId="{4D75400F-00A2-247C-0757-CC30AEB2575B}"/>
          </ac:spMkLst>
        </pc:spChg>
        <pc:spChg chg="add mod topLvl">
          <ac:chgData name="Merlin Gutter" userId="2abc6f04-74af-430b-bdc8-569c3bfa1dda" providerId="ADAL" clId="{CB1EFBC3-10F5-3048-8961-5969497C0019}" dt="2022-11-23T18:51:28.250" v="117940" actId="164"/>
          <ac:spMkLst>
            <pc:docMk/>
            <pc:sldMk cId="2323941003" sldId="400"/>
            <ac:spMk id="27" creationId="{8E8666EC-1061-5736-39EF-E3AE6AF60F25}"/>
          </ac:spMkLst>
        </pc:spChg>
        <pc:spChg chg="del">
          <ac:chgData name="Merlin Gutter" userId="2abc6f04-74af-430b-bdc8-569c3bfa1dda" providerId="ADAL" clId="{CB1EFBC3-10F5-3048-8961-5969497C0019}" dt="2022-11-23T17:51:38.659" v="108562" actId="478"/>
          <ac:spMkLst>
            <pc:docMk/>
            <pc:sldMk cId="2323941003" sldId="400"/>
            <ac:spMk id="28" creationId="{61AEEE6D-2CAA-EC85-ECEA-536CAC79D17F}"/>
          </ac:spMkLst>
        </pc:spChg>
        <pc:spChg chg="del">
          <ac:chgData name="Merlin Gutter" userId="2abc6f04-74af-430b-bdc8-569c3bfa1dda" providerId="ADAL" clId="{CB1EFBC3-10F5-3048-8961-5969497C0019}" dt="2022-11-24T19:13:55.713" v="130454" actId="478"/>
          <ac:spMkLst>
            <pc:docMk/>
            <pc:sldMk cId="2323941003" sldId="400"/>
            <ac:spMk id="28" creationId="{FD6B680D-EA08-6BF5-60B2-63FD86FBAD74}"/>
          </ac:spMkLst>
        </pc:spChg>
        <pc:spChg chg="del">
          <ac:chgData name="Merlin Gutter" userId="2abc6f04-74af-430b-bdc8-569c3bfa1dda" providerId="ADAL" clId="{CB1EFBC3-10F5-3048-8961-5969497C0019}" dt="2022-11-23T17:52:01.872" v="108573" actId="478"/>
          <ac:spMkLst>
            <pc:docMk/>
            <pc:sldMk cId="2323941003" sldId="400"/>
            <ac:spMk id="29" creationId="{8B27CF69-4126-7FC1-E4BE-A85DF69F03D5}"/>
          </ac:spMkLst>
        </pc:spChg>
        <pc:spChg chg="del">
          <ac:chgData name="Merlin Gutter" userId="2abc6f04-74af-430b-bdc8-569c3bfa1dda" providerId="ADAL" clId="{CB1EFBC3-10F5-3048-8961-5969497C0019}" dt="2022-11-23T17:52:26.898" v="108582" actId="478"/>
          <ac:spMkLst>
            <pc:docMk/>
            <pc:sldMk cId="2323941003" sldId="400"/>
            <ac:spMk id="30" creationId="{97CDD3D3-061E-82DF-CA07-1BCE0D411449}"/>
          </ac:spMkLst>
        </pc:spChg>
        <pc:spChg chg="del">
          <ac:chgData name="Merlin Gutter" userId="2abc6f04-74af-430b-bdc8-569c3bfa1dda" providerId="ADAL" clId="{CB1EFBC3-10F5-3048-8961-5969497C0019}" dt="2022-11-23T17:53:15.574" v="108603" actId="478"/>
          <ac:spMkLst>
            <pc:docMk/>
            <pc:sldMk cId="2323941003" sldId="400"/>
            <ac:spMk id="31" creationId="{64C18FAF-969B-E746-AC24-3E7D47B7FCE9}"/>
          </ac:spMkLst>
        </pc:spChg>
        <pc:spChg chg="add mod topLvl">
          <ac:chgData name="Merlin Gutter" userId="2abc6f04-74af-430b-bdc8-569c3bfa1dda" providerId="ADAL" clId="{CB1EFBC3-10F5-3048-8961-5969497C0019}" dt="2022-11-23T18:51:28.250" v="117940" actId="164"/>
          <ac:spMkLst>
            <pc:docMk/>
            <pc:sldMk cId="2323941003" sldId="400"/>
            <ac:spMk id="32" creationId="{8FA9FC4A-00A0-B3BA-84E2-14F24621F933}"/>
          </ac:spMkLst>
        </pc:spChg>
        <pc:spChg chg="add mod topLvl">
          <ac:chgData name="Merlin Gutter" userId="2abc6f04-74af-430b-bdc8-569c3bfa1dda" providerId="ADAL" clId="{CB1EFBC3-10F5-3048-8961-5969497C0019}" dt="2022-11-23T18:51:28.250" v="117940" actId="164"/>
          <ac:spMkLst>
            <pc:docMk/>
            <pc:sldMk cId="2323941003" sldId="400"/>
            <ac:spMk id="33" creationId="{B0F71808-06A3-463E-B968-0342E2B6CBBD}"/>
          </ac:spMkLst>
        </pc:spChg>
        <pc:spChg chg="add mod topLvl">
          <ac:chgData name="Merlin Gutter" userId="2abc6f04-74af-430b-bdc8-569c3bfa1dda" providerId="ADAL" clId="{CB1EFBC3-10F5-3048-8961-5969497C0019}" dt="2022-11-23T18:49:15.131" v="117899" actId="165"/>
          <ac:spMkLst>
            <pc:docMk/>
            <pc:sldMk cId="2323941003" sldId="400"/>
            <ac:spMk id="34" creationId="{D60EAC67-7BE9-6B6D-333F-AF12E582A7C1}"/>
          </ac:spMkLst>
        </pc:spChg>
        <pc:spChg chg="add mod topLvl">
          <ac:chgData name="Merlin Gutter" userId="2abc6f04-74af-430b-bdc8-569c3bfa1dda" providerId="ADAL" clId="{CB1EFBC3-10F5-3048-8961-5969497C0019}" dt="2022-11-23T18:49:15.131" v="117899" actId="165"/>
          <ac:spMkLst>
            <pc:docMk/>
            <pc:sldMk cId="2323941003" sldId="400"/>
            <ac:spMk id="35" creationId="{E909E9D8-F6ED-B074-489D-9FCE5A2DDB9E}"/>
          </ac:spMkLst>
        </pc:spChg>
        <pc:spChg chg="add mod topLvl">
          <ac:chgData name="Merlin Gutter" userId="2abc6f04-74af-430b-bdc8-569c3bfa1dda" providerId="ADAL" clId="{CB1EFBC3-10F5-3048-8961-5969497C0019}" dt="2022-11-23T18:49:15.131" v="117899" actId="165"/>
          <ac:spMkLst>
            <pc:docMk/>
            <pc:sldMk cId="2323941003" sldId="400"/>
            <ac:spMk id="36" creationId="{7308B875-5250-49F5-831F-E7A5D1A315B0}"/>
          </ac:spMkLst>
        </pc:spChg>
        <pc:spChg chg="add mod topLvl">
          <ac:chgData name="Merlin Gutter" userId="2abc6f04-74af-430b-bdc8-569c3bfa1dda" providerId="ADAL" clId="{CB1EFBC3-10F5-3048-8961-5969497C0019}" dt="2022-11-23T18:49:15.131" v="117899" actId="165"/>
          <ac:spMkLst>
            <pc:docMk/>
            <pc:sldMk cId="2323941003" sldId="400"/>
            <ac:spMk id="37" creationId="{953664E3-7406-35BA-3AD7-48908AF6C8F6}"/>
          </ac:spMkLst>
        </pc:spChg>
        <pc:spChg chg="add mod topLvl">
          <ac:chgData name="Merlin Gutter" userId="2abc6f04-74af-430b-bdc8-569c3bfa1dda" providerId="ADAL" clId="{CB1EFBC3-10F5-3048-8961-5969497C0019}" dt="2022-11-23T18:49:28.547" v="117902" actId="408"/>
          <ac:spMkLst>
            <pc:docMk/>
            <pc:sldMk cId="2323941003" sldId="400"/>
            <ac:spMk id="38" creationId="{74DF1646-086D-41BF-8C94-F3B8E33DB97A}"/>
          </ac:spMkLst>
        </pc:spChg>
        <pc:spChg chg="add mod topLvl">
          <ac:chgData name="Merlin Gutter" userId="2abc6f04-74af-430b-bdc8-569c3bfa1dda" providerId="ADAL" clId="{CB1EFBC3-10F5-3048-8961-5969497C0019}" dt="2022-11-23T18:51:21.484" v="117939" actId="164"/>
          <ac:spMkLst>
            <pc:docMk/>
            <pc:sldMk cId="2323941003" sldId="400"/>
            <ac:spMk id="39" creationId="{68440B51-9FFC-7649-D3A1-08A363BDF304}"/>
          </ac:spMkLst>
        </pc:spChg>
        <pc:spChg chg="add mod topLvl">
          <ac:chgData name="Merlin Gutter" userId="2abc6f04-74af-430b-bdc8-569c3bfa1dda" providerId="ADAL" clId="{CB1EFBC3-10F5-3048-8961-5969497C0019}" dt="2022-11-23T18:51:21.484" v="117939" actId="164"/>
          <ac:spMkLst>
            <pc:docMk/>
            <pc:sldMk cId="2323941003" sldId="400"/>
            <ac:spMk id="40" creationId="{513778CF-3718-AC48-9E0F-551865BBB8F7}"/>
          </ac:spMkLst>
        </pc:spChg>
        <pc:spChg chg="add mod topLvl">
          <ac:chgData name="Merlin Gutter" userId="2abc6f04-74af-430b-bdc8-569c3bfa1dda" providerId="ADAL" clId="{CB1EFBC3-10F5-3048-8961-5969497C0019}" dt="2022-11-23T18:51:21.484" v="117939" actId="164"/>
          <ac:spMkLst>
            <pc:docMk/>
            <pc:sldMk cId="2323941003" sldId="400"/>
            <ac:spMk id="41" creationId="{596AFB13-AC4A-A459-8A61-B352F7458970}"/>
          </ac:spMkLst>
        </pc:spChg>
        <pc:spChg chg="add mod topLvl">
          <ac:chgData name="Merlin Gutter" userId="2abc6f04-74af-430b-bdc8-569c3bfa1dda" providerId="ADAL" clId="{CB1EFBC3-10F5-3048-8961-5969497C0019}" dt="2022-11-23T18:51:21.484" v="117939" actId="164"/>
          <ac:spMkLst>
            <pc:docMk/>
            <pc:sldMk cId="2323941003" sldId="400"/>
            <ac:spMk id="42" creationId="{97F4F787-AC23-DD81-197E-A3D143D6121D}"/>
          </ac:spMkLst>
        </pc:spChg>
        <pc:spChg chg="add mod topLvl">
          <ac:chgData name="Merlin Gutter" userId="2abc6f04-74af-430b-bdc8-569c3bfa1dda" providerId="ADAL" clId="{CB1EFBC3-10F5-3048-8961-5969497C0019}" dt="2022-11-23T18:51:21.484" v="117939" actId="164"/>
          <ac:spMkLst>
            <pc:docMk/>
            <pc:sldMk cId="2323941003" sldId="400"/>
            <ac:spMk id="43" creationId="{FD65BE6F-AFAB-34FF-2618-25E60839ABC4}"/>
          </ac:spMkLst>
        </pc:spChg>
        <pc:spChg chg="add mod topLvl">
          <ac:chgData name="Merlin Gutter" userId="2abc6f04-74af-430b-bdc8-569c3bfa1dda" providerId="ADAL" clId="{CB1EFBC3-10F5-3048-8961-5969497C0019}" dt="2022-11-23T18:51:21.484" v="117939" actId="164"/>
          <ac:spMkLst>
            <pc:docMk/>
            <pc:sldMk cId="2323941003" sldId="400"/>
            <ac:spMk id="44" creationId="{16829D75-5331-84ED-13CA-0B67AC2B6019}"/>
          </ac:spMkLst>
        </pc:spChg>
        <pc:spChg chg="add mod topLvl">
          <ac:chgData name="Merlin Gutter" userId="2abc6f04-74af-430b-bdc8-569c3bfa1dda" providerId="ADAL" clId="{CB1EFBC3-10F5-3048-8961-5969497C0019}" dt="2022-11-23T18:51:21.484" v="117939" actId="164"/>
          <ac:spMkLst>
            <pc:docMk/>
            <pc:sldMk cId="2323941003" sldId="400"/>
            <ac:spMk id="45" creationId="{B9E2ACCB-8C91-B3C8-E1D3-642B719C7CB5}"/>
          </ac:spMkLst>
        </pc:spChg>
        <pc:spChg chg="add del mod">
          <ac:chgData name="Merlin Gutter" userId="2abc6f04-74af-430b-bdc8-569c3bfa1dda" providerId="ADAL" clId="{CB1EFBC3-10F5-3048-8961-5969497C0019}" dt="2022-11-23T18:46:54.102" v="117828" actId="478"/>
          <ac:spMkLst>
            <pc:docMk/>
            <pc:sldMk cId="2323941003" sldId="400"/>
            <ac:spMk id="46" creationId="{370984F7-A362-6998-2E74-C921BAEAD4D4}"/>
          </ac:spMkLst>
        </pc:spChg>
        <pc:spChg chg="add mod">
          <ac:chgData name="Merlin Gutter" userId="2abc6f04-74af-430b-bdc8-569c3bfa1dda" providerId="ADAL" clId="{CB1EFBC3-10F5-3048-8961-5969497C0019}" dt="2022-11-23T18:48:14.305" v="117889" actId="164"/>
          <ac:spMkLst>
            <pc:docMk/>
            <pc:sldMk cId="2323941003" sldId="400"/>
            <ac:spMk id="47" creationId="{1516E8C6-5875-D4FC-25F7-DCA6F095B3E6}"/>
          </ac:spMkLst>
        </pc:spChg>
        <pc:spChg chg="add mod">
          <ac:chgData name="Merlin Gutter" userId="2abc6f04-74af-430b-bdc8-569c3bfa1dda" providerId="ADAL" clId="{CB1EFBC3-10F5-3048-8961-5969497C0019}" dt="2022-11-23T18:02:20.045" v="108820" actId="14100"/>
          <ac:spMkLst>
            <pc:docMk/>
            <pc:sldMk cId="2323941003" sldId="400"/>
            <ac:spMk id="48" creationId="{F146EDC1-A29E-CCDB-8488-A7B5A61045A7}"/>
          </ac:spMkLst>
        </pc:spChg>
        <pc:spChg chg="add mod">
          <ac:chgData name="Merlin Gutter" userId="2abc6f04-74af-430b-bdc8-569c3bfa1dda" providerId="ADAL" clId="{CB1EFBC3-10F5-3048-8961-5969497C0019}" dt="2022-11-23T18:48:14.305" v="117889" actId="164"/>
          <ac:spMkLst>
            <pc:docMk/>
            <pc:sldMk cId="2323941003" sldId="400"/>
            <ac:spMk id="49" creationId="{580F1F33-92D9-5B32-7D9E-3CB3B80EDA7E}"/>
          </ac:spMkLst>
        </pc:spChg>
        <pc:spChg chg="add del mod">
          <ac:chgData name="Merlin Gutter" userId="2abc6f04-74af-430b-bdc8-569c3bfa1dda" providerId="ADAL" clId="{CB1EFBC3-10F5-3048-8961-5969497C0019}" dt="2022-11-23T18:31:26.903" v="116764" actId="478"/>
          <ac:spMkLst>
            <pc:docMk/>
            <pc:sldMk cId="2323941003" sldId="400"/>
            <ac:spMk id="51" creationId="{30C2542A-6FE2-2278-F02A-F30BBD17A837}"/>
          </ac:spMkLst>
        </pc:spChg>
        <pc:spChg chg="add del mod">
          <ac:chgData name="Merlin Gutter" userId="2abc6f04-74af-430b-bdc8-569c3bfa1dda" providerId="ADAL" clId="{CB1EFBC3-10F5-3048-8961-5969497C0019}" dt="2022-11-23T18:46:55.685" v="117829" actId="478"/>
          <ac:spMkLst>
            <pc:docMk/>
            <pc:sldMk cId="2323941003" sldId="400"/>
            <ac:spMk id="54" creationId="{D0528DF9-D123-5B23-C87E-F09049D94E00}"/>
          </ac:spMkLst>
        </pc:spChg>
        <pc:spChg chg="mod topLvl">
          <ac:chgData name="Merlin Gutter" userId="2abc6f04-74af-430b-bdc8-569c3bfa1dda" providerId="ADAL" clId="{CB1EFBC3-10F5-3048-8961-5969497C0019}" dt="2022-11-23T18:52:07.127" v="117957" actId="14100"/>
          <ac:spMkLst>
            <pc:docMk/>
            <pc:sldMk cId="2323941003" sldId="400"/>
            <ac:spMk id="61" creationId="{EBFDBDBE-0F46-119B-54BD-2B1ECF803F01}"/>
          </ac:spMkLst>
        </pc:spChg>
        <pc:spChg chg="mod topLvl">
          <ac:chgData name="Merlin Gutter" userId="2abc6f04-74af-430b-bdc8-569c3bfa1dda" providerId="ADAL" clId="{CB1EFBC3-10F5-3048-8961-5969497C0019}" dt="2022-11-23T18:51:46.615" v="117952" actId="165"/>
          <ac:spMkLst>
            <pc:docMk/>
            <pc:sldMk cId="2323941003" sldId="400"/>
            <ac:spMk id="63" creationId="{6D37260F-0A1F-B81C-AE75-933B8B8749A1}"/>
          </ac:spMkLst>
        </pc:spChg>
        <pc:spChg chg="mod topLvl">
          <ac:chgData name="Merlin Gutter" userId="2abc6f04-74af-430b-bdc8-569c3bfa1dda" providerId="ADAL" clId="{CB1EFBC3-10F5-3048-8961-5969497C0019}" dt="2022-11-23T18:52:18.037" v="117969"/>
          <ac:spMkLst>
            <pc:docMk/>
            <pc:sldMk cId="2323941003" sldId="400"/>
            <ac:spMk id="64" creationId="{EEBEBB10-9C27-E90D-4268-6AFBD061FDD7}"/>
          </ac:spMkLst>
        </pc:spChg>
        <pc:spChg chg="add mod ord">
          <ac:chgData name="Merlin Gutter" userId="2abc6f04-74af-430b-bdc8-569c3bfa1dda" providerId="ADAL" clId="{CB1EFBC3-10F5-3048-8961-5969497C0019}" dt="2022-11-24T19:24:28.179" v="130650"/>
          <ac:spMkLst>
            <pc:docMk/>
            <pc:sldMk cId="2323941003" sldId="400"/>
            <ac:spMk id="71" creationId="{D7C9CB6C-5BC1-CEC1-BCFE-A71B04E29F24}"/>
          </ac:spMkLst>
        </pc:spChg>
        <pc:spChg chg="add mod ord">
          <ac:chgData name="Merlin Gutter" userId="2abc6f04-74af-430b-bdc8-569c3bfa1dda" providerId="ADAL" clId="{CB1EFBC3-10F5-3048-8961-5969497C0019}" dt="2022-11-24T19:24:30.413" v="130651"/>
          <ac:spMkLst>
            <pc:docMk/>
            <pc:sldMk cId="2323941003" sldId="400"/>
            <ac:spMk id="72" creationId="{2EFF75C4-A32E-B396-09C4-3C9A848BC895}"/>
          </ac:spMkLst>
        </pc:spChg>
        <pc:grpChg chg="add del mod topLvl">
          <ac:chgData name="Merlin Gutter" userId="2abc6f04-74af-430b-bdc8-569c3bfa1dda" providerId="ADAL" clId="{CB1EFBC3-10F5-3048-8961-5969497C0019}" dt="2022-11-23T18:50:09.672" v="117910" actId="165"/>
          <ac:grpSpMkLst>
            <pc:docMk/>
            <pc:sldMk cId="2323941003" sldId="400"/>
            <ac:grpSpMk id="55" creationId="{18DC0D41-3F2A-321C-CC68-AC3584CD5949}"/>
          </ac:grpSpMkLst>
        </pc:grpChg>
        <pc:grpChg chg="add del mod topLvl">
          <ac:chgData name="Merlin Gutter" userId="2abc6f04-74af-430b-bdc8-569c3bfa1dda" providerId="ADAL" clId="{CB1EFBC3-10F5-3048-8961-5969497C0019}" dt="2022-11-23T18:50:09.672" v="117910" actId="165"/>
          <ac:grpSpMkLst>
            <pc:docMk/>
            <pc:sldMk cId="2323941003" sldId="400"/>
            <ac:grpSpMk id="56" creationId="{76B1F8F3-11FD-6A91-4603-BB1008C79504}"/>
          </ac:grpSpMkLst>
        </pc:grpChg>
        <pc:grpChg chg="add mod">
          <ac:chgData name="Merlin Gutter" userId="2abc6f04-74af-430b-bdc8-569c3bfa1dda" providerId="ADAL" clId="{CB1EFBC3-10F5-3048-8961-5969497C0019}" dt="2022-11-23T18:48:00.359" v="117883" actId="164"/>
          <ac:grpSpMkLst>
            <pc:docMk/>
            <pc:sldMk cId="2323941003" sldId="400"/>
            <ac:grpSpMk id="57" creationId="{2013EB55-6006-B11A-5B6E-3DB4CACCA5FA}"/>
          </ac:grpSpMkLst>
        </pc:grpChg>
        <pc:grpChg chg="add del mod">
          <ac:chgData name="Merlin Gutter" userId="2abc6f04-74af-430b-bdc8-569c3bfa1dda" providerId="ADAL" clId="{CB1EFBC3-10F5-3048-8961-5969497C0019}" dt="2022-11-23T18:49:15.131" v="117899" actId="165"/>
          <ac:grpSpMkLst>
            <pc:docMk/>
            <pc:sldMk cId="2323941003" sldId="400"/>
            <ac:grpSpMk id="58" creationId="{883E6837-B2F0-9963-0E19-0E85901C6BE7}"/>
          </ac:grpSpMkLst>
        </pc:grpChg>
        <pc:grpChg chg="add mod">
          <ac:chgData name="Merlin Gutter" userId="2abc6f04-74af-430b-bdc8-569c3bfa1dda" providerId="ADAL" clId="{CB1EFBC3-10F5-3048-8961-5969497C0019}" dt="2022-11-23T18:48:14.305" v="117889" actId="164"/>
          <ac:grpSpMkLst>
            <pc:docMk/>
            <pc:sldMk cId="2323941003" sldId="400"/>
            <ac:grpSpMk id="59" creationId="{3EC6BBA0-382E-C5E9-57F4-9F45D891123A}"/>
          </ac:grpSpMkLst>
        </pc:grpChg>
        <pc:grpChg chg="add del mod">
          <ac:chgData name="Merlin Gutter" userId="2abc6f04-74af-430b-bdc8-569c3bfa1dda" providerId="ADAL" clId="{CB1EFBC3-10F5-3048-8961-5969497C0019}" dt="2022-11-23T18:49:18.477" v="117900" actId="165"/>
          <ac:grpSpMkLst>
            <pc:docMk/>
            <pc:sldMk cId="2323941003" sldId="400"/>
            <ac:grpSpMk id="60" creationId="{810E13D8-59C8-0411-F248-23308A2D4998}"/>
          </ac:grpSpMkLst>
        </pc:grpChg>
        <pc:grpChg chg="add del mod">
          <ac:chgData name="Merlin Gutter" userId="2abc6f04-74af-430b-bdc8-569c3bfa1dda" providerId="ADAL" clId="{CB1EFBC3-10F5-3048-8961-5969497C0019}" dt="2022-11-23T18:50:09.672" v="117910" actId="165"/>
          <ac:grpSpMkLst>
            <pc:docMk/>
            <pc:sldMk cId="2323941003" sldId="400"/>
            <ac:grpSpMk id="65" creationId="{F3232E53-AD4A-EC66-54FB-7B1860B13D20}"/>
          </ac:grpSpMkLst>
        </pc:grpChg>
        <pc:grpChg chg="add mod">
          <ac:chgData name="Merlin Gutter" userId="2abc6f04-74af-430b-bdc8-569c3bfa1dda" providerId="ADAL" clId="{CB1EFBC3-10F5-3048-8961-5969497C0019}" dt="2022-11-23T18:50:08.565" v="117909" actId="164"/>
          <ac:grpSpMkLst>
            <pc:docMk/>
            <pc:sldMk cId="2323941003" sldId="400"/>
            <ac:grpSpMk id="66" creationId="{5277A432-540D-8B68-8E65-C420543D77FE}"/>
          </ac:grpSpMkLst>
        </pc:grpChg>
        <pc:grpChg chg="add mod">
          <ac:chgData name="Merlin Gutter" userId="2abc6f04-74af-430b-bdc8-569c3bfa1dda" providerId="ADAL" clId="{CB1EFBC3-10F5-3048-8961-5969497C0019}" dt="2022-11-23T18:51:39.416" v="117951" actId="408"/>
          <ac:grpSpMkLst>
            <pc:docMk/>
            <pc:sldMk cId="2323941003" sldId="400"/>
            <ac:grpSpMk id="67" creationId="{0672917E-0953-2C68-EFF3-5D14F2AE5078}"/>
          </ac:grpSpMkLst>
        </pc:grpChg>
        <pc:grpChg chg="add mod">
          <ac:chgData name="Merlin Gutter" userId="2abc6f04-74af-430b-bdc8-569c3bfa1dda" providerId="ADAL" clId="{CB1EFBC3-10F5-3048-8961-5969497C0019}" dt="2022-11-23T18:51:28.250" v="117940" actId="164"/>
          <ac:grpSpMkLst>
            <pc:docMk/>
            <pc:sldMk cId="2323941003" sldId="400"/>
            <ac:grpSpMk id="68" creationId="{2A722A83-BAB8-79AA-6A53-531E99760C1C}"/>
          </ac:grpSpMkLst>
        </pc:grpChg>
        <pc:grpChg chg="add del mod">
          <ac:chgData name="Merlin Gutter" userId="2abc6f04-74af-430b-bdc8-569c3bfa1dda" providerId="ADAL" clId="{CB1EFBC3-10F5-3048-8961-5969497C0019}" dt="2022-11-23T18:51:46.615" v="117952" actId="165"/>
          <ac:grpSpMkLst>
            <pc:docMk/>
            <pc:sldMk cId="2323941003" sldId="400"/>
            <ac:grpSpMk id="69" creationId="{B3EAFC0E-AC67-D01E-EA58-0EB0566A085A}"/>
          </ac:grpSpMkLst>
        </pc:grpChg>
        <pc:graphicFrameChg chg="add mod modVis replST">
          <ac:chgData name="Merlin Gutter" userId="2abc6f04-74af-430b-bdc8-569c3bfa1dda" providerId="ADAL" clId="{CB1EFBC3-10F5-3048-8961-5969497C0019}" dt="2022-11-23T17:59:09.471" v="108798"/>
          <ac:graphicFrameMkLst>
            <pc:docMk/>
            <pc:sldMk cId="2323941003" sldId="400"/>
            <ac:graphicFrameMk id="50" creationId="{7355A948-BF64-1711-8D47-866E3B56005E}"/>
          </ac:graphicFrameMkLst>
        </pc:graphicFrameChg>
        <pc:picChg chg="add del mod">
          <ac:chgData name="Merlin Gutter" userId="2abc6f04-74af-430b-bdc8-569c3bfa1dda" providerId="ADAL" clId="{CB1EFBC3-10F5-3048-8961-5969497C0019}" dt="2022-11-23T18:46:58.462" v="117831" actId="478"/>
          <ac:picMkLst>
            <pc:docMk/>
            <pc:sldMk cId="2323941003" sldId="400"/>
            <ac:picMk id="53" creationId="{E4297E27-06F7-BE38-D9DC-4197D4F9C21C}"/>
          </ac:picMkLst>
        </pc:picChg>
        <pc:picChg chg="mod topLvl">
          <ac:chgData name="Merlin Gutter" userId="2abc6f04-74af-430b-bdc8-569c3bfa1dda" providerId="ADAL" clId="{CB1EFBC3-10F5-3048-8961-5969497C0019}" dt="2022-11-23T18:51:39.416" v="117951" actId="408"/>
          <ac:picMkLst>
            <pc:docMk/>
            <pc:sldMk cId="2323941003" sldId="400"/>
            <ac:picMk id="62" creationId="{B48C9A3D-40F3-6796-474A-CC1E69574BA7}"/>
          </ac:picMkLst>
        </pc:picChg>
        <pc:cxnChg chg="mod">
          <ac:chgData name="Merlin Gutter" userId="2abc6f04-74af-430b-bdc8-569c3bfa1dda" providerId="ADAL" clId="{CB1EFBC3-10F5-3048-8961-5969497C0019}" dt="2022-11-23T17:59:09.432" v="108757"/>
          <ac:cxnSpMkLst>
            <pc:docMk/>
            <pc:sldMk cId="2323941003" sldId="400"/>
            <ac:cxnSpMk id="2" creationId="{DFC9ED8F-F1D0-12F7-58F1-4DED43D01032}"/>
          </ac:cxnSpMkLst>
        </pc:cxnChg>
        <pc:cxnChg chg="mod">
          <ac:chgData name="Merlin Gutter" userId="2abc6f04-74af-430b-bdc8-569c3bfa1dda" providerId="ADAL" clId="{CB1EFBC3-10F5-3048-8961-5969497C0019}" dt="2022-11-23T18:52:02.067" v="117956" actId="14100"/>
          <ac:cxnSpMkLst>
            <pc:docMk/>
            <pc:sldMk cId="2323941003" sldId="400"/>
            <ac:cxnSpMk id="3" creationId="{23C92E61-D92F-6D6E-7CA5-F3307CA5D32A}"/>
          </ac:cxnSpMkLst>
        </pc:cxnChg>
        <pc:cxnChg chg="add mod">
          <ac:chgData name="Merlin Gutter" userId="2abc6f04-74af-430b-bdc8-569c3bfa1dda" providerId="ADAL" clId="{CB1EFBC3-10F5-3048-8961-5969497C0019}" dt="2022-11-23T18:48:00.359" v="117883" actId="164"/>
          <ac:cxnSpMkLst>
            <pc:docMk/>
            <pc:sldMk cId="2323941003" sldId="400"/>
            <ac:cxnSpMk id="52" creationId="{199CD834-884A-EF90-263B-84BA46AA9C2C}"/>
          </ac:cxnSpMkLst>
        </pc:cxnChg>
      </pc:sldChg>
      <pc:sldChg chg="addSp delSp modSp new add mod">
        <pc:chgData name="Merlin Gutter" userId="2abc6f04-74af-430b-bdc8-569c3bfa1dda" providerId="ADAL" clId="{CB1EFBC3-10F5-3048-8961-5969497C0019}" dt="2022-11-24T19:25:55.957" v="130669" actId="478"/>
        <pc:sldMkLst>
          <pc:docMk/>
          <pc:sldMk cId="3057146996" sldId="401"/>
        </pc:sldMkLst>
        <pc:spChg chg="mod">
          <ac:chgData name="Merlin Gutter" userId="2abc6f04-74af-430b-bdc8-569c3bfa1dda" providerId="ADAL" clId="{CB1EFBC3-10F5-3048-8961-5969497C0019}" dt="2022-11-24T19:25:49.730" v="130668" actId="20577"/>
          <ac:spMkLst>
            <pc:docMk/>
            <pc:sldMk cId="3057146996" sldId="401"/>
            <ac:spMk id="2" creationId="{9079868E-5B54-A497-F8C3-A0FE2A3A13F1}"/>
          </ac:spMkLst>
        </pc:spChg>
        <pc:spChg chg="mod">
          <ac:chgData name="Merlin Gutter" userId="2abc6f04-74af-430b-bdc8-569c3bfa1dda" providerId="ADAL" clId="{CB1EFBC3-10F5-3048-8961-5969497C0019}" dt="2022-11-23T22:24:42.038" v="119775"/>
          <ac:spMkLst>
            <pc:docMk/>
            <pc:sldMk cId="3057146996" sldId="401"/>
            <ac:spMk id="3" creationId="{7C0CDB46-7FEE-F75F-662F-68CD95D9A461}"/>
          </ac:spMkLst>
        </pc:spChg>
        <pc:spChg chg="mod">
          <ac:chgData name="Merlin Gutter" userId="2abc6f04-74af-430b-bdc8-569c3bfa1dda" providerId="ADAL" clId="{CB1EFBC3-10F5-3048-8961-5969497C0019}" dt="2022-11-23T22:24:42.038" v="119776"/>
          <ac:spMkLst>
            <pc:docMk/>
            <pc:sldMk cId="3057146996" sldId="401"/>
            <ac:spMk id="4" creationId="{8422C399-09F8-0443-A485-E715C227FF9D}"/>
          </ac:spMkLst>
        </pc:spChg>
        <pc:spChg chg="mod">
          <ac:chgData name="Merlin Gutter" userId="2abc6f04-74af-430b-bdc8-569c3bfa1dda" providerId="ADAL" clId="{CB1EFBC3-10F5-3048-8961-5969497C0019}" dt="2022-11-23T22:24:42.038" v="119777"/>
          <ac:spMkLst>
            <pc:docMk/>
            <pc:sldMk cId="3057146996" sldId="401"/>
            <ac:spMk id="5" creationId="{0C8A4B64-44BA-D8EB-07ED-A00A36CD9D95}"/>
          </ac:spMkLst>
        </pc:spChg>
        <pc:spChg chg="mod">
          <ac:chgData name="Merlin Gutter" userId="2abc6f04-74af-430b-bdc8-569c3bfa1dda" providerId="ADAL" clId="{CB1EFBC3-10F5-3048-8961-5969497C0019}" dt="2022-11-23T22:24:42.038" v="119778"/>
          <ac:spMkLst>
            <pc:docMk/>
            <pc:sldMk cId="3057146996" sldId="401"/>
            <ac:spMk id="6" creationId="{481EF5EF-CB1C-8FC4-CD5F-F37D449FBE71}"/>
          </ac:spMkLst>
        </pc:spChg>
        <pc:spChg chg="add del mod modVis">
          <ac:chgData name="Merlin Gutter" userId="2abc6f04-74af-430b-bdc8-569c3bfa1dda" providerId="ADAL" clId="{CB1EFBC3-10F5-3048-8961-5969497C0019}" dt="2022-11-23T18:06:08.149" v="109073"/>
          <ac:spMkLst>
            <pc:docMk/>
            <pc:sldMk cId="3057146996" sldId="401"/>
            <ac:spMk id="7" creationId="{4961D790-990E-8DE0-F51F-62175D61A6B2}"/>
          </ac:spMkLst>
        </pc:spChg>
        <pc:spChg chg="add del mod replST">
          <ac:chgData name="Merlin Gutter" userId="2abc6f04-74af-430b-bdc8-569c3bfa1dda" providerId="ADAL" clId="{CB1EFBC3-10F5-3048-8961-5969497C0019}" dt="2022-11-23T18:08:40.526" v="110481"/>
          <ac:spMkLst>
            <pc:docMk/>
            <pc:sldMk cId="3057146996" sldId="401"/>
            <ac:spMk id="8" creationId="{54EFE337-83A7-5077-42C4-CC53C2D925B9}"/>
          </ac:spMkLst>
        </pc:spChg>
        <pc:spChg chg="add del mod replST">
          <ac:chgData name="Merlin Gutter" userId="2abc6f04-74af-430b-bdc8-569c3bfa1dda" providerId="ADAL" clId="{CB1EFBC3-10F5-3048-8961-5969497C0019}" dt="2022-11-23T18:08:40.527" v="110484"/>
          <ac:spMkLst>
            <pc:docMk/>
            <pc:sldMk cId="3057146996" sldId="401"/>
            <ac:spMk id="9" creationId="{6E6040CD-5BD8-4D3A-8619-AB866D69A767}"/>
          </ac:spMkLst>
        </pc:spChg>
        <pc:spChg chg="add del mod replST">
          <ac:chgData name="Merlin Gutter" userId="2abc6f04-74af-430b-bdc8-569c3bfa1dda" providerId="ADAL" clId="{CB1EFBC3-10F5-3048-8961-5969497C0019}" dt="2022-11-23T18:08:40.527" v="110487"/>
          <ac:spMkLst>
            <pc:docMk/>
            <pc:sldMk cId="3057146996" sldId="401"/>
            <ac:spMk id="12" creationId="{BD0ABA50-CD6E-3A3A-72FD-0CC473A7B64A}"/>
          </ac:spMkLst>
        </pc:spChg>
        <pc:spChg chg="add del mod replST">
          <ac:chgData name="Merlin Gutter" userId="2abc6f04-74af-430b-bdc8-569c3bfa1dda" providerId="ADAL" clId="{CB1EFBC3-10F5-3048-8961-5969497C0019}" dt="2022-11-23T18:08:40.528" v="110490"/>
          <ac:spMkLst>
            <pc:docMk/>
            <pc:sldMk cId="3057146996" sldId="401"/>
            <ac:spMk id="13" creationId="{5DCEC646-69B9-9D4A-E6D3-BF706E840F11}"/>
          </ac:spMkLst>
        </pc:spChg>
        <pc:spChg chg="add del mod replST">
          <ac:chgData name="Merlin Gutter" userId="2abc6f04-74af-430b-bdc8-569c3bfa1dda" providerId="ADAL" clId="{CB1EFBC3-10F5-3048-8961-5969497C0019}" dt="2022-11-23T18:08:40.529" v="110493"/>
          <ac:spMkLst>
            <pc:docMk/>
            <pc:sldMk cId="3057146996" sldId="401"/>
            <ac:spMk id="14" creationId="{FE8B2749-460B-BFB2-B0A5-65E404500F49}"/>
          </ac:spMkLst>
        </pc:spChg>
        <pc:spChg chg="add del mod replST">
          <ac:chgData name="Merlin Gutter" userId="2abc6f04-74af-430b-bdc8-569c3bfa1dda" providerId="ADAL" clId="{CB1EFBC3-10F5-3048-8961-5969497C0019}" dt="2022-11-23T18:06:17.014" v="109679"/>
          <ac:spMkLst>
            <pc:docMk/>
            <pc:sldMk cId="3057146996" sldId="401"/>
            <ac:spMk id="15" creationId="{32A8B13D-7354-45A4-6C25-59D35837B025}"/>
          </ac:spMkLst>
        </pc:spChg>
        <pc:spChg chg="add del mod replST">
          <ac:chgData name="Merlin Gutter" userId="2abc6f04-74af-430b-bdc8-569c3bfa1dda" providerId="ADAL" clId="{CB1EFBC3-10F5-3048-8961-5969497C0019}" dt="2022-11-23T18:06:17.015" v="109682"/>
          <ac:spMkLst>
            <pc:docMk/>
            <pc:sldMk cId="3057146996" sldId="401"/>
            <ac:spMk id="16" creationId="{48BA5D25-7A44-6ACE-FA00-A70EC15B21AA}"/>
          </ac:spMkLst>
        </pc:spChg>
        <pc:spChg chg="add del mod replST">
          <ac:chgData name="Merlin Gutter" userId="2abc6f04-74af-430b-bdc8-569c3bfa1dda" providerId="ADAL" clId="{CB1EFBC3-10F5-3048-8961-5969497C0019}" dt="2022-11-23T18:06:17.015" v="109685"/>
          <ac:spMkLst>
            <pc:docMk/>
            <pc:sldMk cId="3057146996" sldId="401"/>
            <ac:spMk id="17" creationId="{C2D574FA-D0F9-252F-BF39-F266D08DA981}"/>
          </ac:spMkLst>
        </pc:spChg>
        <pc:spChg chg="add del mod replST">
          <ac:chgData name="Merlin Gutter" userId="2abc6f04-74af-430b-bdc8-569c3bfa1dda" providerId="ADAL" clId="{CB1EFBC3-10F5-3048-8961-5969497C0019}" dt="2022-11-23T18:06:17.016" v="109688"/>
          <ac:spMkLst>
            <pc:docMk/>
            <pc:sldMk cId="3057146996" sldId="401"/>
            <ac:spMk id="18" creationId="{DB3558FC-6ACA-7334-A937-991B74955B72}"/>
          </ac:spMkLst>
        </pc:spChg>
        <pc:spChg chg="add del mod replST">
          <ac:chgData name="Merlin Gutter" userId="2abc6f04-74af-430b-bdc8-569c3bfa1dda" providerId="ADAL" clId="{CB1EFBC3-10F5-3048-8961-5969497C0019}" dt="2022-11-23T18:06:17.016" v="109691"/>
          <ac:spMkLst>
            <pc:docMk/>
            <pc:sldMk cId="3057146996" sldId="401"/>
            <ac:spMk id="19" creationId="{05B79C48-E43D-31A1-88F2-586029C43D01}"/>
          </ac:spMkLst>
        </pc:spChg>
        <pc:spChg chg="add del mod replST">
          <ac:chgData name="Merlin Gutter" userId="2abc6f04-74af-430b-bdc8-569c3bfa1dda" providerId="ADAL" clId="{CB1EFBC3-10F5-3048-8961-5969497C0019}" dt="2022-11-23T18:06:17.017" v="109694"/>
          <ac:spMkLst>
            <pc:docMk/>
            <pc:sldMk cId="3057146996" sldId="401"/>
            <ac:spMk id="20" creationId="{C2C0753C-D37B-38DE-E2A6-868D81E41F80}"/>
          </ac:spMkLst>
        </pc:spChg>
        <pc:spChg chg="add del mod replST">
          <ac:chgData name="Merlin Gutter" userId="2abc6f04-74af-430b-bdc8-569c3bfa1dda" providerId="ADAL" clId="{CB1EFBC3-10F5-3048-8961-5969497C0019}" dt="2022-11-23T18:06:17.017" v="109697"/>
          <ac:spMkLst>
            <pc:docMk/>
            <pc:sldMk cId="3057146996" sldId="401"/>
            <ac:spMk id="21" creationId="{78431EBF-B428-9040-CA84-8AC4F6B4D6D1}"/>
          </ac:spMkLst>
        </pc:spChg>
        <pc:spChg chg="add del mod replST">
          <ac:chgData name="Merlin Gutter" userId="2abc6f04-74af-430b-bdc8-569c3bfa1dda" providerId="ADAL" clId="{CB1EFBC3-10F5-3048-8961-5969497C0019}" dt="2022-11-23T18:06:17.018" v="109700"/>
          <ac:spMkLst>
            <pc:docMk/>
            <pc:sldMk cId="3057146996" sldId="401"/>
            <ac:spMk id="22" creationId="{3A6A4444-3949-A514-F5B0-166509A2A1F2}"/>
          </ac:spMkLst>
        </pc:spChg>
        <pc:spChg chg="add del mod modVis">
          <ac:chgData name="Merlin Gutter" userId="2abc6f04-74af-430b-bdc8-569c3bfa1dda" providerId="ADAL" clId="{CB1EFBC3-10F5-3048-8961-5969497C0019}" dt="2022-11-23T18:06:13.979" v="109674"/>
          <ac:spMkLst>
            <pc:docMk/>
            <pc:sldMk cId="3057146996" sldId="401"/>
            <ac:spMk id="23" creationId="{FC451737-8419-A05D-3686-7DC839E47B80}"/>
          </ac:spMkLst>
        </pc:spChg>
        <pc:spChg chg="add del mod modVis">
          <ac:chgData name="Merlin Gutter" userId="2abc6f04-74af-430b-bdc8-569c3bfa1dda" providerId="ADAL" clId="{CB1EFBC3-10F5-3048-8961-5969497C0019}" dt="2022-11-23T18:06:17.179" v="109952"/>
          <ac:spMkLst>
            <pc:docMk/>
            <pc:sldMk cId="3057146996" sldId="401"/>
            <ac:spMk id="40" creationId="{F47025E8-248A-187A-9090-577DB1F9753A}"/>
          </ac:spMkLst>
        </pc:spChg>
        <pc:spChg chg="add del mod modVis">
          <ac:chgData name="Merlin Gutter" userId="2abc6f04-74af-430b-bdc8-569c3bfa1dda" providerId="ADAL" clId="{CB1EFBC3-10F5-3048-8961-5969497C0019}" dt="2022-11-23T18:06:33.875" v="110046"/>
          <ac:spMkLst>
            <pc:docMk/>
            <pc:sldMk cId="3057146996" sldId="401"/>
            <ac:spMk id="42" creationId="{EB957234-2E7F-DBD0-8932-0D7EE29F870D}"/>
          </ac:spMkLst>
        </pc:spChg>
        <pc:spChg chg="add del mod modVis">
          <ac:chgData name="Merlin Gutter" userId="2abc6f04-74af-430b-bdc8-569c3bfa1dda" providerId="ADAL" clId="{CB1EFBC3-10F5-3048-8961-5969497C0019}" dt="2022-11-23T18:06:36.680" v="110132"/>
          <ac:spMkLst>
            <pc:docMk/>
            <pc:sldMk cId="3057146996" sldId="401"/>
            <ac:spMk id="44" creationId="{CE36F46F-4DA6-0E1E-A592-B8284B136F2E}"/>
          </ac:spMkLst>
        </pc:spChg>
        <pc:spChg chg="add del mod modVis">
          <ac:chgData name="Merlin Gutter" userId="2abc6f04-74af-430b-bdc8-569c3bfa1dda" providerId="ADAL" clId="{CB1EFBC3-10F5-3048-8961-5969497C0019}" dt="2022-11-23T18:06:43.812" v="110218"/>
          <ac:spMkLst>
            <pc:docMk/>
            <pc:sldMk cId="3057146996" sldId="401"/>
            <ac:spMk id="46" creationId="{99B2DB95-5619-9D1D-ADC6-7658C525135C}"/>
          </ac:spMkLst>
        </pc:spChg>
        <pc:spChg chg="add del mod modVis">
          <ac:chgData name="Merlin Gutter" userId="2abc6f04-74af-430b-bdc8-569c3bfa1dda" providerId="ADAL" clId="{CB1EFBC3-10F5-3048-8961-5969497C0019}" dt="2022-11-23T18:06:58.131" v="110358"/>
          <ac:spMkLst>
            <pc:docMk/>
            <pc:sldMk cId="3057146996" sldId="401"/>
            <ac:spMk id="48" creationId="{0AF98AF0-0A9F-B9F0-6EE1-0A009E79F735}"/>
          </ac:spMkLst>
        </pc:spChg>
        <pc:spChg chg="add del mod modVis">
          <ac:chgData name="Merlin Gutter" userId="2abc6f04-74af-430b-bdc8-569c3bfa1dda" providerId="ADAL" clId="{CB1EFBC3-10F5-3048-8961-5969497C0019}" dt="2022-11-23T18:07:04.455" v="110476"/>
          <ac:spMkLst>
            <pc:docMk/>
            <pc:sldMk cId="3057146996" sldId="401"/>
            <ac:spMk id="50" creationId="{FB37B8E9-E728-D8BF-4DE5-378D9F41C7CD}"/>
          </ac:spMkLst>
        </pc:spChg>
        <pc:spChg chg="add del mod modVis">
          <ac:chgData name="Merlin Gutter" userId="2abc6f04-74af-430b-bdc8-569c3bfa1dda" providerId="ADAL" clId="{CB1EFBC3-10F5-3048-8961-5969497C0019}" dt="2022-11-23T18:08:40.591" v="110590"/>
          <ac:spMkLst>
            <pc:docMk/>
            <pc:sldMk cId="3057146996" sldId="401"/>
            <ac:spMk id="52" creationId="{A49E65BD-5BBD-A827-27EC-93230CFF3221}"/>
          </ac:spMkLst>
        </pc:spChg>
        <pc:spChg chg="add del mod modVis">
          <ac:chgData name="Merlin Gutter" userId="2abc6f04-74af-430b-bdc8-569c3bfa1dda" providerId="ADAL" clId="{CB1EFBC3-10F5-3048-8961-5969497C0019}" dt="2022-11-23T18:08:51.136" v="110777"/>
          <ac:spMkLst>
            <pc:docMk/>
            <pc:sldMk cId="3057146996" sldId="401"/>
            <ac:spMk id="54" creationId="{E3C0CC4F-3436-F514-C4BE-7D9AFE2F51DA}"/>
          </ac:spMkLst>
        </pc:spChg>
        <pc:spChg chg="add del mod replST">
          <ac:chgData name="Merlin Gutter" userId="2abc6f04-74af-430b-bdc8-569c3bfa1dda" providerId="ADAL" clId="{CB1EFBC3-10F5-3048-8961-5969497C0019}" dt="2022-11-23T18:14:30.950" v="110912"/>
          <ac:spMkLst>
            <pc:docMk/>
            <pc:sldMk cId="3057146996" sldId="401"/>
            <ac:spMk id="55" creationId="{FDF30509-03DE-7CBC-4345-D4D7DB7249E5}"/>
          </ac:spMkLst>
        </pc:spChg>
        <pc:spChg chg="add del mod replST">
          <ac:chgData name="Merlin Gutter" userId="2abc6f04-74af-430b-bdc8-569c3bfa1dda" providerId="ADAL" clId="{CB1EFBC3-10F5-3048-8961-5969497C0019}" dt="2022-11-23T18:14:32.795" v="110988"/>
          <ac:spMkLst>
            <pc:docMk/>
            <pc:sldMk cId="3057146996" sldId="401"/>
            <ac:spMk id="57" creationId="{E529AD8D-CB6B-37FD-20D0-93590966569C}"/>
          </ac:spMkLst>
        </pc:spChg>
        <pc:spChg chg="add del mod modVis">
          <ac:chgData name="Merlin Gutter" userId="2abc6f04-74af-430b-bdc8-569c3bfa1dda" providerId="ADAL" clId="{CB1EFBC3-10F5-3048-8961-5969497C0019}" dt="2022-11-23T18:14:19.639" v="110909"/>
          <ac:spMkLst>
            <pc:docMk/>
            <pc:sldMk cId="3057146996" sldId="401"/>
            <ac:spMk id="58" creationId="{CD91AD9B-583A-C3F6-54CA-6D7F13D42349}"/>
          </ac:spMkLst>
        </pc:spChg>
        <pc:spChg chg="add del mod modVis">
          <ac:chgData name="Merlin Gutter" userId="2abc6f04-74af-430b-bdc8-569c3bfa1dda" providerId="ADAL" clId="{CB1EFBC3-10F5-3048-8961-5969497C0019}" dt="2022-11-23T18:14:31.014" v="110985"/>
          <ac:spMkLst>
            <pc:docMk/>
            <pc:sldMk cId="3057146996" sldId="401"/>
            <ac:spMk id="60" creationId="{99E2C47C-CF61-6A8F-BA7F-A8763F02CCB7}"/>
          </ac:spMkLst>
        </pc:spChg>
        <pc:spChg chg="add del mod modVis">
          <ac:chgData name="Merlin Gutter" userId="2abc6f04-74af-430b-bdc8-569c3bfa1dda" providerId="ADAL" clId="{CB1EFBC3-10F5-3048-8961-5969497C0019}" dt="2022-11-23T18:14:32.861" v="111059"/>
          <ac:spMkLst>
            <pc:docMk/>
            <pc:sldMk cId="3057146996" sldId="401"/>
            <ac:spMk id="62" creationId="{8C7FB4E0-0EDA-5444-564C-7FBCAC1B2088}"/>
          </ac:spMkLst>
        </pc:spChg>
        <pc:spChg chg="add del mod modVis">
          <ac:chgData name="Merlin Gutter" userId="2abc6f04-74af-430b-bdc8-569c3bfa1dda" providerId="ADAL" clId="{CB1EFBC3-10F5-3048-8961-5969497C0019}" dt="2022-11-23T18:14:34.259" v="111286"/>
          <ac:spMkLst>
            <pc:docMk/>
            <pc:sldMk cId="3057146996" sldId="401"/>
            <ac:spMk id="64" creationId="{BB49134F-A60E-5CDD-D515-8C5F1EB2BFBF}"/>
          </ac:spMkLst>
        </pc:spChg>
        <pc:spChg chg="add del mod modVis">
          <ac:chgData name="Merlin Gutter" userId="2abc6f04-74af-430b-bdc8-569c3bfa1dda" providerId="ADAL" clId="{CB1EFBC3-10F5-3048-8961-5969497C0019}" dt="2022-11-23T18:14:36.275" v="112158"/>
          <ac:spMkLst>
            <pc:docMk/>
            <pc:sldMk cId="3057146996" sldId="401"/>
            <ac:spMk id="77" creationId="{74A41225-53FC-55A0-25E6-BD351F784118}"/>
          </ac:spMkLst>
        </pc:spChg>
        <pc:spChg chg="add del mod replST">
          <ac:chgData name="Merlin Gutter" userId="2abc6f04-74af-430b-bdc8-569c3bfa1dda" providerId="ADAL" clId="{CB1EFBC3-10F5-3048-8961-5969497C0019}" dt="2022-11-23T18:14:42.368" v="112987"/>
          <ac:spMkLst>
            <pc:docMk/>
            <pc:sldMk cId="3057146996" sldId="401"/>
            <ac:spMk id="78" creationId="{C11B5306-33FE-57EB-2614-82073F0B0CFC}"/>
          </ac:spMkLst>
        </pc:spChg>
        <pc:spChg chg="add del mod replST">
          <ac:chgData name="Merlin Gutter" userId="2abc6f04-74af-430b-bdc8-569c3bfa1dda" providerId="ADAL" clId="{CB1EFBC3-10F5-3048-8961-5969497C0019}" dt="2022-11-23T18:14:42.369" v="112988"/>
          <ac:spMkLst>
            <pc:docMk/>
            <pc:sldMk cId="3057146996" sldId="401"/>
            <ac:spMk id="79" creationId="{AE5B041A-78DC-D618-9626-1C61978DEF11}"/>
          </ac:spMkLst>
        </pc:spChg>
        <pc:spChg chg="add del mod replST">
          <ac:chgData name="Merlin Gutter" userId="2abc6f04-74af-430b-bdc8-569c3bfa1dda" providerId="ADAL" clId="{CB1EFBC3-10F5-3048-8961-5969497C0019}" dt="2022-11-23T18:14:42.370" v="112989"/>
          <ac:spMkLst>
            <pc:docMk/>
            <pc:sldMk cId="3057146996" sldId="401"/>
            <ac:spMk id="80" creationId="{693E65D4-DA93-B430-BD67-327713CE08D2}"/>
          </ac:spMkLst>
        </pc:spChg>
        <pc:spChg chg="add del mod replST">
          <ac:chgData name="Merlin Gutter" userId="2abc6f04-74af-430b-bdc8-569c3bfa1dda" providerId="ADAL" clId="{CB1EFBC3-10F5-3048-8961-5969497C0019}" dt="2022-11-23T18:14:42.370" v="112990"/>
          <ac:spMkLst>
            <pc:docMk/>
            <pc:sldMk cId="3057146996" sldId="401"/>
            <ac:spMk id="81" creationId="{2B7075BD-C1C8-EDC7-1B72-DED335413B17}"/>
          </ac:spMkLst>
        </pc:spChg>
        <pc:spChg chg="add del mod replST">
          <ac:chgData name="Merlin Gutter" userId="2abc6f04-74af-430b-bdc8-569c3bfa1dda" providerId="ADAL" clId="{CB1EFBC3-10F5-3048-8961-5969497C0019}" dt="2022-11-23T18:14:42.371" v="112991"/>
          <ac:spMkLst>
            <pc:docMk/>
            <pc:sldMk cId="3057146996" sldId="401"/>
            <ac:spMk id="82" creationId="{F321309C-D539-CBE0-5EE5-59821017ED03}"/>
          </ac:spMkLst>
        </pc:spChg>
        <pc:spChg chg="add del mod replST">
          <ac:chgData name="Merlin Gutter" userId="2abc6f04-74af-430b-bdc8-569c3bfa1dda" providerId="ADAL" clId="{CB1EFBC3-10F5-3048-8961-5969497C0019}" dt="2022-11-23T18:14:42.372" v="112992"/>
          <ac:spMkLst>
            <pc:docMk/>
            <pc:sldMk cId="3057146996" sldId="401"/>
            <ac:spMk id="83" creationId="{D9D3B8A6-EF1D-4FA5-0E0D-532E1C4E9E4C}"/>
          </ac:spMkLst>
        </pc:spChg>
        <pc:spChg chg="add del mod replST">
          <ac:chgData name="Merlin Gutter" userId="2abc6f04-74af-430b-bdc8-569c3bfa1dda" providerId="ADAL" clId="{CB1EFBC3-10F5-3048-8961-5969497C0019}" dt="2022-11-23T18:14:42.373" v="112993"/>
          <ac:spMkLst>
            <pc:docMk/>
            <pc:sldMk cId="3057146996" sldId="401"/>
            <ac:spMk id="84" creationId="{4D0FB092-AA00-51F7-3DDE-754425147451}"/>
          </ac:spMkLst>
        </pc:spChg>
        <pc:spChg chg="add del mod replST">
          <ac:chgData name="Merlin Gutter" userId="2abc6f04-74af-430b-bdc8-569c3bfa1dda" providerId="ADAL" clId="{CB1EFBC3-10F5-3048-8961-5969497C0019}" dt="2022-11-23T18:14:42.374" v="112994"/>
          <ac:spMkLst>
            <pc:docMk/>
            <pc:sldMk cId="3057146996" sldId="401"/>
            <ac:spMk id="85" creationId="{E399BCDC-0E2D-43A3-4E69-757F3C247F3C}"/>
          </ac:spMkLst>
        </pc:spChg>
        <pc:spChg chg="add del mod replST">
          <ac:chgData name="Merlin Gutter" userId="2abc6f04-74af-430b-bdc8-569c3bfa1dda" providerId="ADAL" clId="{CB1EFBC3-10F5-3048-8961-5969497C0019}" dt="2022-11-23T18:14:42.374" v="112995"/>
          <ac:spMkLst>
            <pc:docMk/>
            <pc:sldMk cId="3057146996" sldId="401"/>
            <ac:spMk id="86" creationId="{AAE8989A-F110-5086-1FC8-6877B3489D49}"/>
          </ac:spMkLst>
        </pc:spChg>
        <pc:spChg chg="add del mod replST">
          <ac:chgData name="Merlin Gutter" userId="2abc6f04-74af-430b-bdc8-569c3bfa1dda" providerId="ADAL" clId="{CB1EFBC3-10F5-3048-8961-5969497C0019}" dt="2022-11-23T18:14:42.376" v="112996"/>
          <ac:spMkLst>
            <pc:docMk/>
            <pc:sldMk cId="3057146996" sldId="401"/>
            <ac:spMk id="87" creationId="{ADEEDDF7-0994-FA33-4014-DA4DF161E5EC}"/>
          </ac:spMkLst>
        </pc:spChg>
        <pc:spChg chg="add del mod replST">
          <ac:chgData name="Merlin Gutter" userId="2abc6f04-74af-430b-bdc8-569c3bfa1dda" providerId="ADAL" clId="{CB1EFBC3-10F5-3048-8961-5969497C0019}" dt="2022-11-23T18:14:42.377" v="112997"/>
          <ac:spMkLst>
            <pc:docMk/>
            <pc:sldMk cId="3057146996" sldId="401"/>
            <ac:spMk id="88" creationId="{3A024FF8-3D81-354C-E2B8-D3B462B4A0E8}"/>
          </ac:spMkLst>
        </pc:spChg>
        <pc:spChg chg="add del mod replST">
          <ac:chgData name="Merlin Gutter" userId="2abc6f04-74af-430b-bdc8-569c3bfa1dda" providerId="ADAL" clId="{CB1EFBC3-10F5-3048-8961-5969497C0019}" dt="2022-11-23T18:14:42.378" v="112998"/>
          <ac:spMkLst>
            <pc:docMk/>
            <pc:sldMk cId="3057146996" sldId="401"/>
            <ac:spMk id="89" creationId="{7A3BC0C8-E0B4-CF13-078E-6A85FFC831E7}"/>
          </ac:spMkLst>
        </pc:spChg>
        <pc:spChg chg="add del mod modVis">
          <ac:chgData name="Merlin Gutter" userId="2abc6f04-74af-430b-bdc8-569c3bfa1dda" providerId="ADAL" clId="{CB1EFBC3-10F5-3048-8961-5969497C0019}" dt="2022-11-23T18:14:36.669" v="112266"/>
          <ac:spMkLst>
            <pc:docMk/>
            <pc:sldMk cId="3057146996" sldId="401"/>
            <ac:spMk id="91" creationId="{CF231E24-CE8D-9678-4259-A00C58A669EA}"/>
          </ac:spMkLst>
        </pc:spChg>
        <pc:spChg chg="add del mod modVis">
          <ac:chgData name="Merlin Gutter" userId="2abc6f04-74af-430b-bdc8-569c3bfa1dda" providerId="ADAL" clId="{CB1EFBC3-10F5-3048-8961-5969497C0019}" dt="2022-11-23T18:14:40.188" v="112846" actId="962"/>
          <ac:spMkLst>
            <pc:docMk/>
            <pc:sldMk cId="3057146996" sldId="401"/>
            <ac:spMk id="93" creationId="{7BC1E767-442D-DD8D-D644-A36B85CA3BA7}"/>
          </ac:spMkLst>
        </pc:spChg>
        <pc:spChg chg="add del mod modVis">
          <ac:chgData name="Merlin Gutter" userId="2abc6f04-74af-430b-bdc8-569c3bfa1dda" providerId="ADAL" clId="{CB1EFBC3-10F5-3048-8961-5969497C0019}" dt="2022-11-23T18:14:40.159" v="112733" actId="962"/>
          <ac:spMkLst>
            <pc:docMk/>
            <pc:sldMk cId="3057146996" sldId="401"/>
            <ac:spMk id="95" creationId="{DF0E407A-FCB6-A827-3CBB-5762ACAA7274}"/>
          </ac:spMkLst>
        </pc:spChg>
        <pc:spChg chg="add del mod modVis">
          <ac:chgData name="Merlin Gutter" userId="2abc6f04-74af-430b-bdc8-569c3bfa1dda" providerId="ADAL" clId="{CB1EFBC3-10F5-3048-8961-5969497C0019}" dt="2022-11-23T18:14:42.505" v="113077"/>
          <ac:spMkLst>
            <pc:docMk/>
            <pc:sldMk cId="3057146996" sldId="401"/>
            <ac:spMk id="97" creationId="{546D7419-E905-F18D-6F0C-EC33E82FFDA1}"/>
          </ac:spMkLst>
        </pc:spChg>
        <pc:spChg chg="add del mod modVis">
          <ac:chgData name="Merlin Gutter" userId="2abc6f04-74af-430b-bdc8-569c3bfa1dda" providerId="ADAL" clId="{CB1EFBC3-10F5-3048-8961-5969497C0019}" dt="2022-11-23T18:14:47.971" v="113161"/>
          <ac:spMkLst>
            <pc:docMk/>
            <pc:sldMk cId="3057146996" sldId="401"/>
            <ac:spMk id="99" creationId="{5D3E177D-0B95-003A-29A2-9BC83E15FAEA}"/>
          </ac:spMkLst>
        </pc:spChg>
        <pc:spChg chg="add del mod modVis">
          <ac:chgData name="Merlin Gutter" userId="2abc6f04-74af-430b-bdc8-569c3bfa1dda" providerId="ADAL" clId="{CB1EFBC3-10F5-3048-8961-5969497C0019}" dt="2022-11-23T18:18:13.299" v="113333"/>
          <ac:spMkLst>
            <pc:docMk/>
            <pc:sldMk cId="3057146996" sldId="401"/>
            <ac:spMk id="101" creationId="{73A1A86F-EB84-95FB-FFD6-636370CE86A3}"/>
          </ac:spMkLst>
        </pc:spChg>
        <pc:spChg chg="add del mod modVis">
          <ac:chgData name="Merlin Gutter" userId="2abc6f04-74af-430b-bdc8-569c3bfa1dda" providerId="ADAL" clId="{CB1EFBC3-10F5-3048-8961-5969497C0019}" dt="2022-11-23T18:18:18.505" v="114297"/>
          <ac:spMkLst>
            <pc:docMk/>
            <pc:sldMk cId="3057146996" sldId="401"/>
            <ac:spMk id="103" creationId="{D4F2DCDC-71D1-EAD3-F4D9-FBE6C62CDD65}"/>
          </ac:spMkLst>
        </pc:spChg>
        <pc:spChg chg="add del mod replST">
          <ac:chgData name="Merlin Gutter" userId="2abc6f04-74af-430b-bdc8-569c3bfa1dda" providerId="ADAL" clId="{CB1EFBC3-10F5-3048-8961-5969497C0019}" dt="2022-11-23T18:18:24.577" v="114309"/>
          <ac:spMkLst>
            <pc:docMk/>
            <pc:sldMk cId="3057146996" sldId="401"/>
            <ac:spMk id="104" creationId="{086066AE-9B25-5B6A-456C-4BB9F48FB756}"/>
          </ac:spMkLst>
        </pc:spChg>
        <pc:spChg chg="add del mod replST">
          <ac:chgData name="Merlin Gutter" userId="2abc6f04-74af-430b-bdc8-569c3bfa1dda" providerId="ADAL" clId="{CB1EFBC3-10F5-3048-8961-5969497C0019}" dt="2022-11-23T18:18:24.576" v="114307"/>
          <ac:spMkLst>
            <pc:docMk/>
            <pc:sldMk cId="3057146996" sldId="401"/>
            <ac:spMk id="105" creationId="{71C30BDE-8551-85B6-7CC9-25C0B1A3E23B}"/>
          </ac:spMkLst>
        </pc:spChg>
        <pc:spChg chg="add del mod replST">
          <ac:chgData name="Merlin Gutter" userId="2abc6f04-74af-430b-bdc8-569c3bfa1dda" providerId="ADAL" clId="{CB1EFBC3-10F5-3048-8961-5969497C0019}" dt="2022-11-23T18:18:24.576" v="114305"/>
          <ac:spMkLst>
            <pc:docMk/>
            <pc:sldMk cId="3057146996" sldId="401"/>
            <ac:spMk id="106" creationId="{26DE44CD-492C-C17A-EEF7-0A35D1724491}"/>
          </ac:spMkLst>
        </pc:spChg>
        <pc:spChg chg="add del mod replST">
          <ac:chgData name="Merlin Gutter" userId="2abc6f04-74af-430b-bdc8-569c3bfa1dda" providerId="ADAL" clId="{CB1EFBC3-10F5-3048-8961-5969497C0019}" dt="2022-11-23T18:18:24.574" v="114303"/>
          <ac:spMkLst>
            <pc:docMk/>
            <pc:sldMk cId="3057146996" sldId="401"/>
            <ac:spMk id="107" creationId="{C35F3314-51F5-5266-BDAB-C86DFD46FD42}"/>
          </ac:spMkLst>
        </pc:spChg>
        <pc:spChg chg="add del mod replST">
          <ac:chgData name="Merlin Gutter" userId="2abc6f04-74af-430b-bdc8-569c3bfa1dda" providerId="ADAL" clId="{CB1EFBC3-10F5-3048-8961-5969497C0019}" dt="2022-11-23T18:18:24.574" v="114302"/>
          <ac:spMkLst>
            <pc:docMk/>
            <pc:sldMk cId="3057146996" sldId="401"/>
            <ac:spMk id="108" creationId="{306FDEE8-81F0-2ED7-E11D-C865C28081C2}"/>
          </ac:spMkLst>
        </pc:spChg>
        <pc:spChg chg="add del mod replST">
          <ac:chgData name="Merlin Gutter" userId="2abc6f04-74af-430b-bdc8-569c3bfa1dda" providerId="ADAL" clId="{CB1EFBC3-10F5-3048-8961-5969497C0019}" dt="2022-11-23T18:18:24.568" v="114301"/>
          <ac:spMkLst>
            <pc:docMk/>
            <pc:sldMk cId="3057146996" sldId="401"/>
            <ac:spMk id="109" creationId="{8E59A0FC-95C5-B00F-0A6B-F477CC353F0F}"/>
          </ac:spMkLst>
        </pc:spChg>
        <pc:spChg chg="add del mod replST">
          <ac:chgData name="Merlin Gutter" userId="2abc6f04-74af-430b-bdc8-569c3bfa1dda" providerId="ADAL" clId="{CB1EFBC3-10F5-3048-8961-5969497C0019}" dt="2022-11-23T18:18:24.635" v="114375"/>
          <ac:spMkLst>
            <pc:docMk/>
            <pc:sldMk cId="3057146996" sldId="401"/>
            <ac:spMk id="110" creationId="{E075D740-71E5-13AC-11A4-0F53E4F3E667}"/>
          </ac:spMkLst>
        </pc:spChg>
        <pc:spChg chg="add del mod replST">
          <ac:chgData name="Merlin Gutter" userId="2abc6f04-74af-430b-bdc8-569c3bfa1dda" providerId="ADAL" clId="{CB1EFBC3-10F5-3048-8961-5969497C0019}" dt="2022-11-23T18:18:24.635" v="114376"/>
          <ac:spMkLst>
            <pc:docMk/>
            <pc:sldMk cId="3057146996" sldId="401"/>
            <ac:spMk id="111" creationId="{162F4BA3-96EB-B621-9CF1-B04B16CE1AAC}"/>
          </ac:spMkLst>
        </pc:spChg>
        <pc:spChg chg="add del mod replST">
          <ac:chgData name="Merlin Gutter" userId="2abc6f04-74af-430b-bdc8-569c3bfa1dda" providerId="ADAL" clId="{CB1EFBC3-10F5-3048-8961-5969497C0019}" dt="2022-11-23T18:18:24.635" v="114377"/>
          <ac:spMkLst>
            <pc:docMk/>
            <pc:sldMk cId="3057146996" sldId="401"/>
            <ac:spMk id="112" creationId="{0044D407-280F-6538-C15C-AD7B17819455}"/>
          </ac:spMkLst>
        </pc:spChg>
        <pc:spChg chg="add del mod replST">
          <ac:chgData name="Merlin Gutter" userId="2abc6f04-74af-430b-bdc8-569c3bfa1dda" providerId="ADAL" clId="{CB1EFBC3-10F5-3048-8961-5969497C0019}" dt="2022-11-23T18:18:24.635" v="114378"/>
          <ac:spMkLst>
            <pc:docMk/>
            <pc:sldMk cId="3057146996" sldId="401"/>
            <ac:spMk id="113" creationId="{AFDAA273-23F1-AE8A-B717-D9FEB2777AB6}"/>
          </ac:spMkLst>
        </pc:spChg>
        <pc:spChg chg="add del mod replST">
          <ac:chgData name="Merlin Gutter" userId="2abc6f04-74af-430b-bdc8-569c3bfa1dda" providerId="ADAL" clId="{CB1EFBC3-10F5-3048-8961-5969497C0019}" dt="2022-11-23T18:18:24.635" v="114379"/>
          <ac:spMkLst>
            <pc:docMk/>
            <pc:sldMk cId="3057146996" sldId="401"/>
            <ac:spMk id="114" creationId="{06B7C24E-3161-0F9F-EDDB-684B3E48920F}"/>
          </ac:spMkLst>
        </pc:spChg>
        <pc:spChg chg="add del mod replST">
          <ac:chgData name="Merlin Gutter" userId="2abc6f04-74af-430b-bdc8-569c3bfa1dda" providerId="ADAL" clId="{CB1EFBC3-10F5-3048-8961-5969497C0019}" dt="2022-11-23T18:18:24.635" v="114380"/>
          <ac:spMkLst>
            <pc:docMk/>
            <pc:sldMk cId="3057146996" sldId="401"/>
            <ac:spMk id="115" creationId="{95F316CB-EE53-C9ED-6C8E-139EAFF97250}"/>
          </ac:spMkLst>
        </pc:spChg>
        <pc:spChg chg="add del mod replST">
          <ac:chgData name="Merlin Gutter" userId="2abc6f04-74af-430b-bdc8-569c3bfa1dda" providerId="ADAL" clId="{CB1EFBC3-10F5-3048-8961-5969497C0019}" dt="2022-11-23T18:18:24.635" v="114381"/>
          <ac:spMkLst>
            <pc:docMk/>
            <pc:sldMk cId="3057146996" sldId="401"/>
            <ac:spMk id="116" creationId="{23E0E950-96BF-53D8-B788-0C27B39879DD}"/>
          </ac:spMkLst>
        </pc:spChg>
        <pc:spChg chg="add del mod replST">
          <ac:chgData name="Merlin Gutter" userId="2abc6f04-74af-430b-bdc8-569c3bfa1dda" providerId="ADAL" clId="{CB1EFBC3-10F5-3048-8961-5969497C0019}" dt="2022-11-23T18:18:24.636" v="114382"/>
          <ac:spMkLst>
            <pc:docMk/>
            <pc:sldMk cId="3057146996" sldId="401"/>
            <ac:spMk id="117" creationId="{3D36563C-7608-1C70-287F-A39629B6DFD6}"/>
          </ac:spMkLst>
        </pc:spChg>
        <pc:spChg chg="add del mod replST">
          <ac:chgData name="Merlin Gutter" userId="2abc6f04-74af-430b-bdc8-569c3bfa1dda" providerId="ADAL" clId="{CB1EFBC3-10F5-3048-8961-5969497C0019}" dt="2022-11-23T18:18:24.636" v="114383"/>
          <ac:spMkLst>
            <pc:docMk/>
            <pc:sldMk cId="3057146996" sldId="401"/>
            <ac:spMk id="118" creationId="{0EB72174-DF29-4002-EDF5-C43241CDF9EC}"/>
          </ac:spMkLst>
        </pc:spChg>
        <pc:spChg chg="add del mod replST">
          <ac:chgData name="Merlin Gutter" userId="2abc6f04-74af-430b-bdc8-569c3bfa1dda" providerId="ADAL" clId="{CB1EFBC3-10F5-3048-8961-5969497C0019}" dt="2022-11-23T18:18:24.636" v="114384"/>
          <ac:spMkLst>
            <pc:docMk/>
            <pc:sldMk cId="3057146996" sldId="401"/>
            <ac:spMk id="119" creationId="{E0B8F73A-32B1-5A3B-0955-AEFB8ED91DB1}"/>
          </ac:spMkLst>
        </pc:spChg>
        <pc:spChg chg="add del mod modVis">
          <ac:chgData name="Merlin Gutter" userId="2abc6f04-74af-430b-bdc8-569c3bfa1dda" providerId="ADAL" clId="{CB1EFBC3-10F5-3048-8961-5969497C0019}" dt="2022-11-23T18:18:24.661" v="114433"/>
          <ac:spMkLst>
            <pc:docMk/>
            <pc:sldMk cId="3057146996" sldId="401"/>
            <ac:spMk id="131" creationId="{1073B85C-9B8B-EAC5-67BC-350F49D2AE4E}"/>
          </ac:spMkLst>
        </pc:spChg>
        <pc:spChg chg="add del mod modVis">
          <ac:chgData name="Merlin Gutter" userId="2abc6f04-74af-430b-bdc8-569c3bfa1dda" providerId="ADAL" clId="{CB1EFBC3-10F5-3048-8961-5969497C0019}" dt="2022-11-23T18:18:28.470" v="114645"/>
          <ac:spMkLst>
            <pc:docMk/>
            <pc:sldMk cId="3057146996" sldId="401"/>
            <ac:spMk id="133" creationId="{887E066A-8515-5ED0-AEB0-D956BC878DB0}"/>
          </ac:spMkLst>
        </pc:spChg>
        <pc:spChg chg="add del mod replST">
          <ac:chgData name="Merlin Gutter" userId="2abc6f04-74af-430b-bdc8-569c3bfa1dda" providerId="ADAL" clId="{CB1EFBC3-10F5-3048-8961-5969497C0019}" dt="2022-11-23T22:23:14.995" v="118275"/>
          <ac:spMkLst>
            <pc:docMk/>
            <pc:sldMk cId="3057146996" sldId="401"/>
            <ac:spMk id="135" creationId="{FB3DB59D-226C-E9AD-4911-B8384FE173E6}"/>
          </ac:spMkLst>
        </pc:spChg>
        <pc:spChg chg="add del mod modVis">
          <ac:chgData name="Merlin Gutter" userId="2abc6f04-74af-430b-bdc8-569c3bfa1dda" providerId="ADAL" clId="{CB1EFBC3-10F5-3048-8961-5969497C0019}" dt="2022-11-23T18:18:34.815" v="114990"/>
          <ac:spMkLst>
            <pc:docMk/>
            <pc:sldMk cId="3057146996" sldId="401"/>
            <ac:spMk id="136" creationId="{FCF9FA8B-FAC2-17D3-7177-D74AEFF96E23}"/>
          </ac:spMkLst>
        </pc:spChg>
        <pc:spChg chg="add del mod replST">
          <ac:chgData name="Merlin Gutter" userId="2abc6f04-74af-430b-bdc8-569c3bfa1dda" providerId="ADAL" clId="{CB1EFBC3-10F5-3048-8961-5969497C0019}" dt="2022-11-23T22:23:14.992" v="118272"/>
          <ac:spMkLst>
            <pc:docMk/>
            <pc:sldMk cId="3057146996" sldId="401"/>
            <ac:spMk id="137" creationId="{A06FF3B3-81A2-65C1-3561-E6DB72C5904E}"/>
          </ac:spMkLst>
        </pc:spChg>
        <pc:spChg chg="add del mod modVis">
          <ac:chgData name="Merlin Gutter" userId="2abc6f04-74af-430b-bdc8-569c3bfa1dda" providerId="ADAL" clId="{CB1EFBC3-10F5-3048-8961-5969497C0019}" dt="2022-11-23T18:18:48.246" v="115316"/>
          <ac:spMkLst>
            <pc:docMk/>
            <pc:sldMk cId="3057146996" sldId="401"/>
            <ac:spMk id="141" creationId="{20258EFA-344C-2B06-22D1-C4A70D26A784}"/>
          </ac:spMkLst>
        </pc:spChg>
        <pc:spChg chg="add del mod modVis">
          <ac:chgData name="Merlin Gutter" userId="2abc6f04-74af-430b-bdc8-569c3bfa1dda" providerId="ADAL" clId="{CB1EFBC3-10F5-3048-8961-5969497C0019}" dt="2022-11-23T18:18:49.259" v="115551"/>
          <ac:spMkLst>
            <pc:docMk/>
            <pc:sldMk cId="3057146996" sldId="401"/>
            <ac:spMk id="143" creationId="{C5CA67AB-E43C-CEFB-CA88-41BC1C490D3A}"/>
          </ac:spMkLst>
        </pc:spChg>
        <pc:spChg chg="add del mod modVis">
          <ac:chgData name="Merlin Gutter" userId="2abc6f04-74af-430b-bdc8-569c3bfa1dda" providerId="ADAL" clId="{CB1EFBC3-10F5-3048-8961-5969497C0019}" dt="2022-11-23T18:19:12.169" v="115693"/>
          <ac:spMkLst>
            <pc:docMk/>
            <pc:sldMk cId="3057146996" sldId="401"/>
            <ac:spMk id="145" creationId="{7BC4B4C4-6FCF-548A-C9F9-23A1FD3C2D92}"/>
          </ac:spMkLst>
        </pc:spChg>
        <pc:spChg chg="add del mod modVis">
          <ac:chgData name="Merlin Gutter" userId="2abc6f04-74af-430b-bdc8-569c3bfa1dda" providerId="ADAL" clId="{CB1EFBC3-10F5-3048-8961-5969497C0019}" dt="2022-11-23T18:19:16.507" v="115798"/>
          <ac:spMkLst>
            <pc:docMk/>
            <pc:sldMk cId="3057146996" sldId="401"/>
            <ac:spMk id="147" creationId="{B72F448E-D698-8795-6442-5CB099C39002}"/>
          </ac:spMkLst>
        </pc:spChg>
        <pc:spChg chg="add del mod modVis">
          <ac:chgData name="Merlin Gutter" userId="2abc6f04-74af-430b-bdc8-569c3bfa1dda" providerId="ADAL" clId="{CB1EFBC3-10F5-3048-8961-5969497C0019}" dt="2022-11-23T18:19:21.764" v="115883"/>
          <ac:spMkLst>
            <pc:docMk/>
            <pc:sldMk cId="3057146996" sldId="401"/>
            <ac:spMk id="149" creationId="{1C0A2E67-DACC-4CFE-1272-6FC612BA105E}"/>
          </ac:spMkLst>
        </pc:spChg>
        <pc:spChg chg="add del mod modVis">
          <ac:chgData name="Merlin Gutter" userId="2abc6f04-74af-430b-bdc8-569c3bfa1dda" providerId="ADAL" clId="{CB1EFBC3-10F5-3048-8961-5969497C0019}" dt="2022-11-23T18:19:26.190" v="115967"/>
          <ac:spMkLst>
            <pc:docMk/>
            <pc:sldMk cId="3057146996" sldId="401"/>
            <ac:spMk id="151" creationId="{4F71CAE6-8FB0-3585-CD98-0C7178228480}"/>
          </ac:spMkLst>
        </pc:spChg>
        <pc:spChg chg="add del mod modVis">
          <ac:chgData name="Merlin Gutter" userId="2abc6f04-74af-430b-bdc8-569c3bfa1dda" providerId="ADAL" clId="{CB1EFBC3-10F5-3048-8961-5969497C0019}" dt="2022-11-23T18:19:27.677" v="116051"/>
          <ac:spMkLst>
            <pc:docMk/>
            <pc:sldMk cId="3057146996" sldId="401"/>
            <ac:spMk id="153" creationId="{E6C44D4E-8569-D598-DE26-3AAAF96883F1}"/>
          </ac:spMkLst>
        </pc:spChg>
        <pc:spChg chg="add del mod modVis">
          <ac:chgData name="Merlin Gutter" userId="2abc6f04-74af-430b-bdc8-569c3bfa1dda" providerId="ADAL" clId="{CB1EFBC3-10F5-3048-8961-5969497C0019}" dt="2022-11-23T18:19:30.246" v="116135"/>
          <ac:spMkLst>
            <pc:docMk/>
            <pc:sldMk cId="3057146996" sldId="401"/>
            <ac:spMk id="155" creationId="{7231619E-DC64-C070-4DD5-3BB6C6FB7708}"/>
          </ac:spMkLst>
        </pc:spChg>
        <pc:spChg chg="add del mod modVis">
          <ac:chgData name="Merlin Gutter" userId="2abc6f04-74af-430b-bdc8-569c3bfa1dda" providerId="ADAL" clId="{CB1EFBC3-10F5-3048-8961-5969497C0019}" dt="2022-11-23T18:20:43.058" v="116306"/>
          <ac:spMkLst>
            <pc:docMk/>
            <pc:sldMk cId="3057146996" sldId="401"/>
            <ac:spMk id="157" creationId="{8A4DA422-99F9-1407-6CE4-A4ABD489DB28}"/>
          </ac:spMkLst>
        </pc:spChg>
        <pc:spChg chg="add del mod modVis">
          <ac:chgData name="Merlin Gutter" userId="2abc6f04-74af-430b-bdc8-569c3bfa1dda" providerId="ADAL" clId="{CB1EFBC3-10F5-3048-8961-5969497C0019}" dt="2022-11-23T18:20:57.080" v="116390"/>
          <ac:spMkLst>
            <pc:docMk/>
            <pc:sldMk cId="3057146996" sldId="401"/>
            <ac:spMk id="159" creationId="{5252065A-A5EA-D0EF-E520-D35CF9BD2762}"/>
          </ac:spMkLst>
        </pc:spChg>
        <pc:spChg chg="add del mod modVis">
          <ac:chgData name="Merlin Gutter" userId="2abc6f04-74af-430b-bdc8-569c3bfa1dda" providerId="ADAL" clId="{CB1EFBC3-10F5-3048-8961-5969497C0019}" dt="2022-11-23T18:20:59.756" v="116474"/>
          <ac:spMkLst>
            <pc:docMk/>
            <pc:sldMk cId="3057146996" sldId="401"/>
            <ac:spMk id="161" creationId="{14470949-E40E-0E8C-1ACD-F32A5DE8BF8B}"/>
          </ac:spMkLst>
        </pc:spChg>
        <pc:spChg chg="add del mod">
          <ac:chgData name="Merlin Gutter" userId="2abc6f04-74af-430b-bdc8-569c3bfa1dda" providerId="ADAL" clId="{CB1EFBC3-10F5-3048-8961-5969497C0019}" dt="2022-11-24T19:25:55.957" v="130669" actId="478"/>
          <ac:spMkLst>
            <pc:docMk/>
            <pc:sldMk cId="3057146996" sldId="401"/>
            <ac:spMk id="163" creationId="{DDE0A9C4-8517-EF92-ED03-BF6ABCE711BB}"/>
          </ac:spMkLst>
        </pc:spChg>
        <pc:spChg chg="add mod topLvl">
          <ac:chgData name="Merlin Gutter" userId="2abc6f04-74af-430b-bdc8-569c3bfa1dda" providerId="ADAL" clId="{CB1EFBC3-10F5-3048-8961-5969497C0019}" dt="2022-11-23T22:24:42.039" v="119782"/>
          <ac:spMkLst>
            <pc:docMk/>
            <pc:sldMk cId="3057146996" sldId="401"/>
            <ac:spMk id="164" creationId="{5B60BA10-FD19-370A-3664-B5C8E733A621}"/>
          </ac:spMkLst>
        </pc:spChg>
        <pc:spChg chg="add mod">
          <ac:chgData name="Merlin Gutter" userId="2abc6f04-74af-430b-bdc8-569c3bfa1dda" providerId="ADAL" clId="{CB1EFBC3-10F5-3048-8961-5969497C0019}" dt="2022-11-23T22:24:42.039" v="119781"/>
          <ac:spMkLst>
            <pc:docMk/>
            <pc:sldMk cId="3057146996" sldId="401"/>
            <ac:spMk id="165" creationId="{978769F7-9E71-573A-C268-12369ECE1F00}"/>
          </ac:spMkLst>
        </pc:spChg>
        <pc:spChg chg="add mod topLvl">
          <ac:chgData name="Merlin Gutter" userId="2abc6f04-74af-430b-bdc8-569c3bfa1dda" providerId="ADAL" clId="{CB1EFBC3-10F5-3048-8961-5969497C0019}" dt="2022-11-23T22:24:42.039" v="119783"/>
          <ac:spMkLst>
            <pc:docMk/>
            <pc:sldMk cId="3057146996" sldId="401"/>
            <ac:spMk id="166" creationId="{B8563B78-4F97-2A8E-A9AF-42D98694EB07}"/>
          </ac:spMkLst>
        </pc:spChg>
        <pc:spChg chg="add del mod modVis">
          <ac:chgData name="Merlin Gutter" userId="2abc6f04-74af-430b-bdc8-569c3bfa1dda" providerId="ADAL" clId="{CB1EFBC3-10F5-3048-8961-5969497C0019}" dt="2022-11-23T22:23:15.125" v="118377"/>
          <ac:spMkLst>
            <pc:docMk/>
            <pc:sldMk cId="3057146996" sldId="401"/>
            <ac:spMk id="168" creationId="{5EC8A763-2514-8D71-E8D1-E5431E988432}"/>
          </ac:spMkLst>
        </pc:spChg>
        <pc:spChg chg="add del mod modVis">
          <ac:chgData name="Merlin Gutter" userId="2abc6f04-74af-430b-bdc8-569c3bfa1dda" providerId="ADAL" clId="{CB1EFBC3-10F5-3048-8961-5969497C0019}" dt="2022-11-23T22:23:26.537" v="118563"/>
          <ac:spMkLst>
            <pc:docMk/>
            <pc:sldMk cId="3057146996" sldId="401"/>
            <ac:spMk id="170" creationId="{01533E2A-A520-CD7A-14D0-F9684BFAA29D}"/>
          </ac:spMkLst>
        </pc:spChg>
        <pc:spChg chg="add del mod replST">
          <ac:chgData name="Merlin Gutter" userId="2abc6f04-74af-430b-bdc8-569c3bfa1dda" providerId="ADAL" clId="{CB1EFBC3-10F5-3048-8961-5969497C0019}" dt="2022-11-23T22:23:50.958" v="118821"/>
          <ac:spMkLst>
            <pc:docMk/>
            <pc:sldMk cId="3057146996" sldId="401"/>
            <ac:spMk id="171" creationId="{94C10B24-7D33-A8B2-5FA2-DF405D387F43}"/>
          </ac:spMkLst>
        </pc:spChg>
        <pc:spChg chg="add del mod replST">
          <ac:chgData name="Merlin Gutter" userId="2abc6f04-74af-430b-bdc8-569c3bfa1dda" providerId="ADAL" clId="{CB1EFBC3-10F5-3048-8961-5969497C0019}" dt="2022-11-23T22:23:49.434" v="118732"/>
          <ac:spMkLst>
            <pc:docMk/>
            <pc:sldMk cId="3057146996" sldId="401"/>
            <ac:spMk id="173" creationId="{4596605F-4561-7305-DDC7-C673961E529F}"/>
          </ac:spMkLst>
        </pc:spChg>
        <pc:spChg chg="add del mod modVis">
          <ac:chgData name="Merlin Gutter" userId="2abc6f04-74af-430b-bdc8-569c3bfa1dda" providerId="ADAL" clId="{CB1EFBC3-10F5-3048-8961-5969497C0019}" dt="2022-11-23T22:23:40.270" v="118729"/>
          <ac:spMkLst>
            <pc:docMk/>
            <pc:sldMk cId="3057146996" sldId="401"/>
            <ac:spMk id="174" creationId="{14720517-FB56-BF3B-C173-8EA3B36C6285}"/>
          </ac:spMkLst>
        </pc:spChg>
        <pc:spChg chg="add del mod modVis">
          <ac:chgData name="Merlin Gutter" userId="2abc6f04-74af-430b-bdc8-569c3bfa1dda" providerId="ADAL" clId="{CB1EFBC3-10F5-3048-8961-5969497C0019}" dt="2022-11-23T22:23:49.526" v="118818"/>
          <ac:spMkLst>
            <pc:docMk/>
            <pc:sldMk cId="3057146996" sldId="401"/>
            <ac:spMk id="177" creationId="{B3A199AE-9023-A853-7CAE-8F08D0E771AB}"/>
          </ac:spMkLst>
        </pc:spChg>
        <pc:spChg chg="add del mod modVis">
          <ac:chgData name="Merlin Gutter" userId="2abc6f04-74af-430b-bdc8-569c3bfa1dda" providerId="ADAL" clId="{CB1EFBC3-10F5-3048-8961-5969497C0019}" dt="2022-11-23T22:23:51.031" v="118901"/>
          <ac:spMkLst>
            <pc:docMk/>
            <pc:sldMk cId="3057146996" sldId="401"/>
            <ac:spMk id="179" creationId="{9B49BB14-A18B-859E-CA7F-E13EEC27AEAE}"/>
          </ac:spMkLst>
        </pc:spChg>
        <pc:spChg chg="add mod replST">
          <ac:chgData name="Merlin Gutter" userId="2abc6f04-74af-430b-bdc8-569c3bfa1dda" providerId="ADAL" clId="{CB1EFBC3-10F5-3048-8961-5969497C0019}" dt="2022-11-23T22:24:47.910" v="119866"/>
          <ac:spMkLst>
            <pc:docMk/>
            <pc:sldMk cId="3057146996" sldId="401"/>
            <ac:spMk id="181" creationId="{A5321D87-06B3-BFFD-2A46-9A31C4AD5E01}"/>
          </ac:spMkLst>
        </pc:spChg>
        <pc:spChg chg="add del mod modVis">
          <ac:chgData name="Merlin Gutter" userId="2abc6f04-74af-430b-bdc8-569c3bfa1dda" providerId="ADAL" clId="{CB1EFBC3-10F5-3048-8961-5969497C0019}" dt="2022-11-23T22:23:58.010" v="119158"/>
          <ac:spMkLst>
            <pc:docMk/>
            <pc:sldMk cId="3057146996" sldId="401"/>
            <ac:spMk id="182" creationId="{D33A6D84-DC1B-ABB2-16C1-C4B79CCAD174}"/>
          </ac:spMkLst>
        </pc:spChg>
        <pc:spChg chg="add mod replST">
          <ac:chgData name="Merlin Gutter" userId="2abc6f04-74af-430b-bdc8-569c3bfa1dda" providerId="ADAL" clId="{CB1EFBC3-10F5-3048-8961-5969497C0019}" dt="2022-11-23T22:24:47.904" v="119850"/>
          <ac:spMkLst>
            <pc:docMk/>
            <pc:sldMk cId="3057146996" sldId="401"/>
            <ac:spMk id="183" creationId="{7C3487AA-D666-9326-26FA-2EE3CB4091FA}"/>
          </ac:spMkLst>
        </pc:spChg>
        <pc:spChg chg="add del mod modVis">
          <ac:chgData name="Merlin Gutter" userId="2abc6f04-74af-430b-bdc8-569c3bfa1dda" providerId="ADAL" clId="{CB1EFBC3-10F5-3048-8961-5969497C0019}" dt="2022-11-23T22:24:27.596" v="119445"/>
          <ac:spMkLst>
            <pc:docMk/>
            <pc:sldMk cId="3057146996" sldId="401"/>
            <ac:spMk id="187" creationId="{5FFF5ED8-D9E9-0CC0-C866-D6D02D11F7FB}"/>
          </ac:spMkLst>
        </pc:spChg>
        <pc:spChg chg="add del mod modVis">
          <ac:chgData name="Merlin Gutter" userId="2abc6f04-74af-430b-bdc8-569c3bfa1dda" providerId="ADAL" clId="{CB1EFBC3-10F5-3048-8961-5969497C0019}" dt="2022-11-23T22:24:28.483" v="119574"/>
          <ac:spMkLst>
            <pc:docMk/>
            <pc:sldMk cId="3057146996" sldId="401"/>
            <ac:spMk id="189" creationId="{3E2DD691-5DC3-FC96-D8B4-B67FE8384F79}"/>
          </ac:spMkLst>
        </pc:spChg>
        <pc:spChg chg="add del mod modVis">
          <ac:chgData name="Merlin Gutter" userId="2abc6f04-74af-430b-bdc8-569c3bfa1dda" providerId="ADAL" clId="{CB1EFBC3-10F5-3048-8961-5969497C0019}" dt="2022-11-23T22:24:38.140" v="119682"/>
          <ac:spMkLst>
            <pc:docMk/>
            <pc:sldMk cId="3057146996" sldId="401"/>
            <ac:spMk id="191" creationId="{08597424-6E55-2585-8C7A-8B71061E7B6C}"/>
          </ac:spMkLst>
        </pc:spChg>
        <pc:spChg chg="add del mod modVis">
          <ac:chgData name="Merlin Gutter" userId="2abc6f04-74af-430b-bdc8-569c3bfa1dda" providerId="ADAL" clId="{CB1EFBC3-10F5-3048-8961-5969497C0019}" dt="2022-11-23T22:24:42.041" v="119791"/>
          <ac:spMkLst>
            <pc:docMk/>
            <pc:sldMk cId="3057146996" sldId="401"/>
            <ac:spMk id="193" creationId="{3F05643E-C84E-E256-EA6F-599605C165FB}"/>
          </ac:spMkLst>
        </pc:spChg>
        <pc:grpChg chg="add del mod">
          <ac:chgData name="Merlin Gutter" userId="2abc6f04-74af-430b-bdc8-569c3bfa1dda" providerId="ADAL" clId="{CB1EFBC3-10F5-3048-8961-5969497C0019}" dt="2022-11-23T18:29:56.815" v="116728" actId="165"/>
          <ac:grpSpMkLst>
            <pc:docMk/>
            <pc:sldMk cId="3057146996" sldId="401"/>
            <ac:grpSpMk id="167" creationId="{B6E2D21A-6BD5-C072-9CCD-D20A79096F1C}"/>
          </ac:grpSpMkLst>
        </pc:grpChg>
        <pc:graphicFrameChg chg="add del mod replST">
          <ac:chgData name="Merlin Gutter" userId="2abc6f04-74af-430b-bdc8-569c3bfa1dda" providerId="ADAL" clId="{CB1EFBC3-10F5-3048-8961-5969497C0019}" dt="2022-11-23T18:06:13.950" v="109622"/>
          <ac:graphicFrameMkLst>
            <pc:docMk/>
            <pc:sldMk cId="3057146996" sldId="401"/>
            <ac:graphicFrameMk id="10" creationId="{EF5978B8-4F6B-4329-FB7D-E026623F10E4}"/>
          </ac:graphicFrameMkLst>
        </pc:graphicFrameChg>
        <pc:graphicFrameChg chg="add mod modVis replST">
          <ac:chgData name="Merlin Gutter" userId="2abc6f04-74af-430b-bdc8-569c3bfa1dda" providerId="ADAL" clId="{CB1EFBC3-10F5-3048-8961-5969497C0019}" dt="2022-11-23T22:24:47.919" v="119870"/>
          <ac:graphicFrameMkLst>
            <pc:docMk/>
            <pc:sldMk cId="3057146996" sldId="401"/>
            <ac:graphicFrameMk id="11" creationId="{B3F444A3-3B1A-76F1-AE3C-FF8BC3DA67C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06:17.152" v="109903"/>
          <ac:graphicFrameMkLst>
            <pc:docMk/>
            <pc:sldMk cId="3057146996" sldId="401"/>
            <ac:graphicFrameMk id="39" creationId="{9752451A-292F-BB33-B1B8-40A266F5996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06:33.855" v="110020"/>
          <ac:graphicFrameMkLst>
            <pc:docMk/>
            <pc:sldMk cId="3057146996" sldId="401"/>
            <ac:graphicFrameMk id="41" creationId="{D22B72EE-7A1D-E8F8-3B81-3C7E674FFC9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06:36.657" v="110106"/>
          <ac:graphicFrameMkLst>
            <pc:docMk/>
            <pc:sldMk cId="3057146996" sldId="401"/>
            <ac:graphicFrameMk id="43" creationId="{A6ADEA59-E1E6-24C8-216C-46EA83259E0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06:43.789" v="110192"/>
          <ac:graphicFrameMkLst>
            <pc:docMk/>
            <pc:sldMk cId="3057146996" sldId="401"/>
            <ac:graphicFrameMk id="45" creationId="{743727DA-B6BE-A8DD-BA53-43DA55A1155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06:58.112" v="110332"/>
          <ac:graphicFrameMkLst>
            <pc:docMk/>
            <pc:sldMk cId="3057146996" sldId="401"/>
            <ac:graphicFrameMk id="47" creationId="{3CB7EE0E-AD73-046F-8C6A-1CE29544067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07:04.436" v="110450"/>
          <ac:graphicFrameMkLst>
            <pc:docMk/>
            <pc:sldMk cId="3057146996" sldId="401"/>
            <ac:graphicFrameMk id="49" creationId="{4F0FE11B-05E3-184C-1800-F2D36888858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08:40.573" v="110574"/>
          <ac:graphicFrameMkLst>
            <pc:docMk/>
            <pc:sldMk cId="3057146996" sldId="401"/>
            <ac:graphicFrameMk id="51" creationId="{82F4EF0F-B7EB-0FAA-9F6F-573CD33894B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08:51.115" v="110754"/>
          <ac:graphicFrameMkLst>
            <pc:docMk/>
            <pc:sldMk cId="3057146996" sldId="401"/>
            <ac:graphicFrameMk id="53" creationId="{3DDD793B-A50D-97F0-45D6-1DF581855F0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4:19.613" v="110870"/>
          <ac:graphicFrameMkLst>
            <pc:docMk/>
            <pc:sldMk cId="3057146996" sldId="401"/>
            <ac:graphicFrameMk id="56" creationId="{1C0C4463-4BE0-771C-593D-2D3ECC0A24F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4:30.996" v="110968"/>
          <ac:graphicFrameMkLst>
            <pc:docMk/>
            <pc:sldMk cId="3057146996" sldId="401"/>
            <ac:graphicFrameMk id="59" creationId="{99FD2778-8EED-D248-AC7A-F97120DDF9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4:32.843" v="111043"/>
          <ac:graphicFrameMkLst>
            <pc:docMk/>
            <pc:sldMk cId="3057146996" sldId="401"/>
            <ac:graphicFrameMk id="61" creationId="{1FB03BD0-0BB8-CC32-5ECB-793916FECE5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4:34.241" v="111259"/>
          <ac:graphicFrameMkLst>
            <pc:docMk/>
            <pc:sldMk cId="3057146996" sldId="401"/>
            <ac:graphicFrameMk id="63" creationId="{A0F585C2-A12B-7D6C-06F0-61853C1BFFF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4:36.244" v="112100"/>
          <ac:graphicFrameMkLst>
            <pc:docMk/>
            <pc:sldMk cId="3057146996" sldId="401"/>
            <ac:graphicFrameMk id="76" creationId="{0202E6F4-78CA-AA79-B7AA-80490193198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4:36.640" v="112227"/>
          <ac:graphicFrameMkLst>
            <pc:docMk/>
            <pc:sldMk cId="3057146996" sldId="401"/>
            <ac:graphicFrameMk id="90" creationId="{98FB7F32-6DA1-AE6B-080F-2161CCA5077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4:42.444" v="113044"/>
          <ac:graphicFrameMkLst>
            <pc:docMk/>
            <pc:sldMk cId="3057146996" sldId="401"/>
            <ac:graphicFrameMk id="92" creationId="{BF545A89-F491-5095-5EA4-8AA9C70C723C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23T18:14:40.162" v="112740" actId="1076"/>
          <ac:graphicFrameMkLst>
            <pc:docMk/>
            <pc:sldMk cId="3057146996" sldId="401"/>
            <ac:graphicFrameMk id="94" creationId="{3142433D-B5A7-BE89-9486-E052A3AED950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3T18:14:40.143" v="112681" actId="1076"/>
          <ac:graphicFrameMkLst>
            <pc:docMk/>
            <pc:sldMk cId="3057146996" sldId="401"/>
            <ac:graphicFrameMk id="96" creationId="{604B9C34-ACCE-74CA-EBD2-E4A571AE678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4:47.950" v="113134"/>
          <ac:graphicFrameMkLst>
            <pc:docMk/>
            <pc:sldMk cId="3057146996" sldId="401"/>
            <ac:graphicFrameMk id="98" creationId="{DA77D882-4822-9EE2-5C45-4374F3DD70A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8:13.279" v="113306"/>
          <ac:graphicFrameMkLst>
            <pc:docMk/>
            <pc:sldMk cId="3057146996" sldId="401"/>
            <ac:graphicFrameMk id="100" creationId="{287F445E-3AB6-661F-FB8A-B7B975CB0E2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8:18.473" v="114227"/>
          <ac:graphicFrameMkLst>
            <pc:docMk/>
            <pc:sldMk cId="3057146996" sldId="401"/>
            <ac:graphicFrameMk id="102" creationId="{E6A8E3EE-E19E-94B9-93D4-5DCD89F7C05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8:24.641" v="114406"/>
          <ac:graphicFrameMkLst>
            <pc:docMk/>
            <pc:sldMk cId="3057146996" sldId="401"/>
            <ac:graphicFrameMk id="130" creationId="{B315DBBB-4970-9CED-1C9C-A1B95534448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8:34.777" v="114901"/>
          <ac:graphicFrameMkLst>
            <pc:docMk/>
            <pc:sldMk cId="3057146996" sldId="401"/>
            <ac:graphicFrameMk id="132" creationId="{52923883-1614-2742-81D3-38A222C3F23A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3T18:18:28.470" v="114645"/>
          <ac:graphicFrameMkLst>
            <pc:docMk/>
            <pc:sldMk cId="3057146996" sldId="401"/>
            <ac:graphicFrameMk id="134" creationId="{D66A15B8-8852-B9A3-1FE1-2FECE2A0D44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8:48.221" v="115265"/>
          <ac:graphicFrameMkLst>
            <pc:docMk/>
            <pc:sldMk cId="3057146996" sldId="401"/>
            <ac:graphicFrameMk id="138" creationId="{94A46A1B-1431-9EFA-3E9B-A1E4D35FBD2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8:49.232" v="115487"/>
          <ac:graphicFrameMkLst>
            <pc:docMk/>
            <pc:sldMk cId="3057146996" sldId="401"/>
            <ac:graphicFrameMk id="142" creationId="{B7999DD3-7534-E905-6BD6-61F92C92F28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9:12.144" v="115653"/>
          <ac:graphicFrameMkLst>
            <pc:docMk/>
            <pc:sldMk cId="3057146996" sldId="401"/>
            <ac:graphicFrameMk id="144" creationId="{6BF97F3F-2C43-FD1E-85AD-E4532529B8B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9:16.483" v="115758"/>
          <ac:graphicFrameMkLst>
            <pc:docMk/>
            <pc:sldMk cId="3057146996" sldId="401"/>
            <ac:graphicFrameMk id="146" creationId="{50BCF74A-3342-CF71-89DE-3977BB36DAA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9:21.745" v="115863"/>
          <ac:graphicFrameMkLst>
            <pc:docMk/>
            <pc:sldMk cId="3057146996" sldId="401"/>
            <ac:graphicFrameMk id="148" creationId="{654CB7B9-5E38-B669-F4B0-B6D594BD2E6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9:26.173" v="115947"/>
          <ac:graphicFrameMkLst>
            <pc:docMk/>
            <pc:sldMk cId="3057146996" sldId="401"/>
            <ac:graphicFrameMk id="150" creationId="{AAF61BBE-415C-9E21-8CC1-83D53FCCA2B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9:27.659" v="116031"/>
          <ac:graphicFrameMkLst>
            <pc:docMk/>
            <pc:sldMk cId="3057146996" sldId="401"/>
            <ac:graphicFrameMk id="152" creationId="{86D71D94-2F21-55D2-6106-C287A1E258B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19:30.227" v="116115"/>
          <ac:graphicFrameMkLst>
            <pc:docMk/>
            <pc:sldMk cId="3057146996" sldId="401"/>
            <ac:graphicFrameMk id="154" creationId="{814E7BF6-17CB-E487-C333-D0493DB6437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20:43.039" v="116286"/>
          <ac:graphicFrameMkLst>
            <pc:docMk/>
            <pc:sldMk cId="3057146996" sldId="401"/>
            <ac:graphicFrameMk id="156" creationId="{65D574EF-3F2F-C837-D3CC-63C10F9CBDA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20:57.059" v="116370"/>
          <ac:graphicFrameMkLst>
            <pc:docMk/>
            <pc:sldMk cId="3057146996" sldId="401"/>
            <ac:graphicFrameMk id="158" creationId="{B6E2CE2A-99F6-485A-9A20-B7A87E6F579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20:59.738" v="116454"/>
          <ac:graphicFrameMkLst>
            <pc:docMk/>
            <pc:sldMk cId="3057146996" sldId="401"/>
            <ac:graphicFrameMk id="160" creationId="{8E66586C-884B-AB95-1E37-574F79DB3CD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3:15.086" v="118357"/>
          <ac:graphicFrameMkLst>
            <pc:docMk/>
            <pc:sldMk cId="3057146996" sldId="401"/>
            <ac:graphicFrameMk id="162" creationId="{F194C3D2-88AC-EE28-1C89-1871D0C33AA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3:26.515" v="118536"/>
          <ac:graphicFrameMkLst>
            <pc:docMk/>
            <pc:sldMk cId="3057146996" sldId="401"/>
            <ac:graphicFrameMk id="169" creationId="{FBA5F30B-4FDC-3569-EFB7-A091F3510AD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3:40.247" v="118694"/>
          <ac:graphicFrameMkLst>
            <pc:docMk/>
            <pc:sldMk cId="3057146996" sldId="401"/>
            <ac:graphicFrameMk id="172" creationId="{95807E92-4602-1E28-F6CF-515F5AC3963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3:49.506" v="118797"/>
          <ac:graphicFrameMkLst>
            <pc:docMk/>
            <pc:sldMk cId="3057146996" sldId="401"/>
            <ac:graphicFrameMk id="176" creationId="{D97A0A3C-0318-4FBF-8474-C2A98064C18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3:51.012" v="118881"/>
          <ac:graphicFrameMkLst>
            <pc:docMk/>
            <pc:sldMk cId="3057146996" sldId="401"/>
            <ac:graphicFrameMk id="178" creationId="{860AE208-CB80-C1C2-5ACE-8A5F9034434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3:57.973" v="119076"/>
          <ac:graphicFrameMkLst>
            <pc:docMk/>
            <pc:sldMk cId="3057146996" sldId="401"/>
            <ac:graphicFrameMk id="180" creationId="{A368C4CC-2BC1-5A85-D467-F45B41EAC5E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4:27.570" v="119401"/>
          <ac:graphicFrameMkLst>
            <pc:docMk/>
            <pc:sldMk cId="3057146996" sldId="401"/>
            <ac:graphicFrameMk id="184" creationId="{F57A366D-C15C-12AA-42D0-E81C2A3F7B2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4:28.459" v="119530"/>
          <ac:graphicFrameMkLst>
            <pc:docMk/>
            <pc:sldMk cId="3057146996" sldId="401"/>
            <ac:graphicFrameMk id="188" creationId="{AA73945B-ED6B-6F96-8DA3-362BD5D3280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4:38.113" v="119638"/>
          <ac:graphicFrameMkLst>
            <pc:docMk/>
            <pc:sldMk cId="3057146996" sldId="401"/>
            <ac:graphicFrameMk id="190" creationId="{029B3679-27CE-E75A-8C13-FF8E70FDAE9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22:24:42.015" v="119747"/>
          <ac:graphicFrameMkLst>
            <pc:docMk/>
            <pc:sldMk cId="3057146996" sldId="401"/>
            <ac:graphicFrameMk id="192" creationId="{E85EF9B1-87CF-49F0-086F-9D916F3B4278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3T22:24:42.039" v="119779"/>
          <ac:graphicFrameMkLst>
            <pc:docMk/>
            <pc:sldMk cId="3057146996" sldId="401"/>
            <ac:graphicFrameMk id="194" creationId="{DE0F341D-6EE9-A8CB-C7C3-6BB7DB68ED8A}"/>
          </ac:graphicFrameMkLst>
        </pc:graphicFrameChg>
        <pc:cxnChg chg="add del mod replST">
          <ac:chgData name="Merlin Gutter" userId="2abc6f04-74af-430b-bdc8-569c3bfa1dda" providerId="ADAL" clId="{CB1EFBC3-10F5-3048-8961-5969497C0019}" dt="2022-11-23T18:06:17.140" v="109835"/>
          <ac:cxnSpMkLst>
            <pc:docMk/>
            <pc:sldMk cId="3057146996" sldId="401"/>
            <ac:cxnSpMk id="24" creationId="{11996706-9748-B213-7C18-45406F7B807D}"/>
          </ac:cxnSpMkLst>
        </pc:cxnChg>
        <pc:cxnChg chg="add del mod replST">
          <ac:chgData name="Merlin Gutter" userId="2abc6f04-74af-430b-bdc8-569c3bfa1dda" providerId="ADAL" clId="{CB1EFBC3-10F5-3048-8961-5969497C0019}" dt="2022-11-23T18:08:40.524" v="110480"/>
          <ac:cxnSpMkLst>
            <pc:docMk/>
            <pc:sldMk cId="3057146996" sldId="401"/>
            <ac:cxnSpMk id="25" creationId="{292E385A-6755-64A3-DEEC-CA0D44B39B2B}"/>
          </ac:cxnSpMkLst>
        </pc:cxnChg>
        <pc:cxnChg chg="add del mod replST">
          <ac:chgData name="Merlin Gutter" userId="2abc6f04-74af-430b-bdc8-569c3bfa1dda" providerId="ADAL" clId="{CB1EFBC3-10F5-3048-8961-5969497C0019}" dt="2022-11-23T18:06:17.144" v="109853"/>
          <ac:cxnSpMkLst>
            <pc:docMk/>
            <pc:sldMk cId="3057146996" sldId="401"/>
            <ac:cxnSpMk id="26" creationId="{EEAFBCBC-D952-492A-4B1E-ED58F8EC668F}"/>
          </ac:cxnSpMkLst>
        </pc:cxnChg>
        <pc:cxnChg chg="add del mod replST">
          <ac:chgData name="Merlin Gutter" userId="2abc6f04-74af-430b-bdc8-569c3bfa1dda" providerId="ADAL" clId="{CB1EFBC3-10F5-3048-8961-5969497C0019}" dt="2022-11-23T18:08:40.527" v="110483"/>
          <ac:cxnSpMkLst>
            <pc:docMk/>
            <pc:sldMk cId="3057146996" sldId="401"/>
            <ac:cxnSpMk id="27" creationId="{6AB5A3F2-732F-E533-575C-59871DACD007}"/>
          </ac:cxnSpMkLst>
        </pc:cxnChg>
        <pc:cxnChg chg="add del mod replST">
          <ac:chgData name="Merlin Gutter" userId="2abc6f04-74af-430b-bdc8-569c3bfa1dda" providerId="ADAL" clId="{CB1EFBC3-10F5-3048-8961-5969497C0019}" dt="2022-11-23T18:08:40.527" v="110486"/>
          <ac:cxnSpMkLst>
            <pc:docMk/>
            <pc:sldMk cId="3057146996" sldId="401"/>
            <ac:cxnSpMk id="28" creationId="{0E8A8319-42E6-6406-7D2C-0584B337676A}"/>
          </ac:cxnSpMkLst>
        </pc:cxnChg>
        <pc:cxnChg chg="add del mod replST">
          <ac:chgData name="Merlin Gutter" userId="2abc6f04-74af-430b-bdc8-569c3bfa1dda" providerId="ADAL" clId="{CB1EFBC3-10F5-3048-8961-5969497C0019}" dt="2022-11-23T18:08:40.528" v="110489"/>
          <ac:cxnSpMkLst>
            <pc:docMk/>
            <pc:sldMk cId="3057146996" sldId="401"/>
            <ac:cxnSpMk id="29" creationId="{B347BC8B-8C6C-5CF1-97DD-7DEC06C6C764}"/>
          </ac:cxnSpMkLst>
        </pc:cxnChg>
        <pc:cxnChg chg="add del mod replST">
          <ac:chgData name="Merlin Gutter" userId="2abc6f04-74af-430b-bdc8-569c3bfa1dda" providerId="ADAL" clId="{CB1EFBC3-10F5-3048-8961-5969497C0019}" dt="2022-11-23T18:08:40.528" v="110492"/>
          <ac:cxnSpMkLst>
            <pc:docMk/>
            <pc:sldMk cId="3057146996" sldId="401"/>
            <ac:cxnSpMk id="30" creationId="{B360970E-14DB-505F-3EFE-FF82D432BDDD}"/>
          </ac:cxnSpMkLst>
        </pc:cxnChg>
        <pc:cxnChg chg="add del mod replST">
          <ac:chgData name="Merlin Gutter" userId="2abc6f04-74af-430b-bdc8-569c3bfa1dda" providerId="ADAL" clId="{CB1EFBC3-10F5-3048-8961-5969497C0019}" dt="2022-11-23T18:06:17.014" v="109678"/>
          <ac:cxnSpMkLst>
            <pc:docMk/>
            <pc:sldMk cId="3057146996" sldId="401"/>
            <ac:cxnSpMk id="31" creationId="{22957EDD-0A18-E27F-085E-45EFD06C03F8}"/>
          </ac:cxnSpMkLst>
        </pc:cxnChg>
        <pc:cxnChg chg="add del mod replST">
          <ac:chgData name="Merlin Gutter" userId="2abc6f04-74af-430b-bdc8-569c3bfa1dda" providerId="ADAL" clId="{CB1EFBC3-10F5-3048-8961-5969497C0019}" dt="2022-11-23T18:06:17.014" v="109681"/>
          <ac:cxnSpMkLst>
            <pc:docMk/>
            <pc:sldMk cId="3057146996" sldId="401"/>
            <ac:cxnSpMk id="32" creationId="{E653B101-561A-EA66-4122-43CBDC8106BA}"/>
          </ac:cxnSpMkLst>
        </pc:cxnChg>
        <pc:cxnChg chg="add del mod replST">
          <ac:chgData name="Merlin Gutter" userId="2abc6f04-74af-430b-bdc8-569c3bfa1dda" providerId="ADAL" clId="{CB1EFBC3-10F5-3048-8961-5969497C0019}" dt="2022-11-23T18:06:17.015" v="109684"/>
          <ac:cxnSpMkLst>
            <pc:docMk/>
            <pc:sldMk cId="3057146996" sldId="401"/>
            <ac:cxnSpMk id="33" creationId="{AD30F18E-0959-D858-6720-99735825103A}"/>
          </ac:cxnSpMkLst>
        </pc:cxnChg>
        <pc:cxnChg chg="add del mod replST">
          <ac:chgData name="Merlin Gutter" userId="2abc6f04-74af-430b-bdc8-569c3bfa1dda" providerId="ADAL" clId="{CB1EFBC3-10F5-3048-8961-5969497C0019}" dt="2022-11-23T18:06:17.015" v="109687"/>
          <ac:cxnSpMkLst>
            <pc:docMk/>
            <pc:sldMk cId="3057146996" sldId="401"/>
            <ac:cxnSpMk id="34" creationId="{797EA583-5D10-2473-C793-015E3475A7F7}"/>
          </ac:cxnSpMkLst>
        </pc:cxnChg>
        <pc:cxnChg chg="add del mod replST">
          <ac:chgData name="Merlin Gutter" userId="2abc6f04-74af-430b-bdc8-569c3bfa1dda" providerId="ADAL" clId="{CB1EFBC3-10F5-3048-8961-5969497C0019}" dt="2022-11-23T18:06:17.016" v="109690"/>
          <ac:cxnSpMkLst>
            <pc:docMk/>
            <pc:sldMk cId="3057146996" sldId="401"/>
            <ac:cxnSpMk id="35" creationId="{CBAD2240-9F2B-94D1-13A6-02B35072C06A}"/>
          </ac:cxnSpMkLst>
        </pc:cxnChg>
        <pc:cxnChg chg="add del mod replST">
          <ac:chgData name="Merlin Gutter" userId="2abc6f04-74af-430b-bdc8-569c3bfa1dda" providerId="ADAL" clId="{CB1EFBC3-10F5-3048-8961-5969497C0019}" dt="2022-11-23T18:06:17.016" v="109693"/>
          <ac:cxnSpMkLst>
            <pc:docMk/>
            <pc:sldMk cId="3057146996" sldId="401"/>
            <ac:cxnSpMk id="36" creationId="{BCF82C84-FE8C-0575-3097-F816A43C3859}"/>
          </ac:cxnSpMkLst>
        </pc:cxnChg>
        <pc:cxnChg chg="add del mod replST">
          <ac:chgData name="Merlin Gutter" userId="2abc6f04-74af-430b-bdc8-569c3bfa1dda" providerId="ADAL" clId="{CB1EFBC3-10F5-3048-8961-5969497C0019}" dt="2022-11-23T18:06:17.017" v="109696"/>
          <ac:cxnSpMkLst>
            <pc:docMk/>
            <pc:sldMk cId="3057146996" sldId="401"/>
            <ac:cxnSpMk id="37" creationId="{89146099-4D2C-6309-64A9-6C768ADF7650}"/>
          </ac:cxnSpMkLst>
        </pc:cxnChg>
        <pc:cxnChg chg="add del mod replST">
          <ac:chgData name="Merlin Gutter" userId="2abc6f04-74af-430b-bdc8-569c3bfa1dda" providerId="ADAL" clId="{CB1EFBC3-10F5-3048-8961-5969497C0019}" dt="2022-11-23T18:06:17.017" v="109699"/>
          <ac:cxnSpMkLst>
            <pc:docMk/>
            <pc:sldMk cId="3057146996" sldId="401"/>
            <ac:cxnSpMk id="38" creationId="{C015BBF6-2407-A92B-A29C-5E6CEDA0A6FE}"/>
          </ac:cxnSpMkLst>
        </pc:cxnChg>
        <pc:cxnChg chg="add del mod replST">
          <ac:chgData name="Merlin Gutter" userId="2abc6f04-74af-430b-bdc8-569c3bfa1dda" providerId="ADAL" clId="{CB1EFBC3-10F5-3048-8961-5969497C0019}" dt="2022-11-23T18:18:49.228" v="115465"/>
          <ac:cxnSpMkLst>
            <pc:docMk/>
            <pc:sldMk cId="3057146996" sldId="401"/>
            <ac:cxnSpMk id="65" creationId="{3FCA4C43-8B2F-C579-D415-ADE229619BD6}"/>
          </ac:cxnSpMkLst>
        </pc:cxnChg>
        <pc:cxnChg chg="add del mod replST">
          <ac:chgData name="Merlin Gutter" userId="2abc6f04-74af-430b-bdc8-569c3bfa1dda" providerId="ADAL" clId="{CB1EFBC3-10F5-3048-8961-5969497C0019}" dt="2022-11-23T18:18:49.228" v="115467"/>
          <ac:cxnSpMkLst>
            <pc:docMk/>
            <pc:sldMk cId="3057146996" sldId="401"/>
            <ac:cxnSpMk id="66" creationId="{B6138177-FEE5-A01B-2BFA-6C78257B3367}"/>
          </ac:cxnSpMkLst>
        </pc:cxnChg>
        <pc:cxnChg chg="add del mod replST">
          <ac:chgData name="Merlin Gutter" userId="2abc6f04-74af-430b-bdc8-569c3bfa1dda" providerId="ADAL" clId="{CB1EFBC3-10F5-3048-8961-5969497C0019}" dt="2022-11-23T18:18:49.228" v="115469"/>
          <ac:cxnSpMkLst>
            <pc:docMk/>
            <pc:sldMk cId="3057146996" sldId="401"/>
            <ac:cxnSpMk id="67" creationId="{92158B08-C4EA-F1B7-8778-ED2941E3F2E5}"/>
          </ac:cxnSpMkLst>
        </pc:cxnChg>
        <pc:cxnChg chg="add del mod replST">
          <ac:chgData name="Merlin Gutter" userId="2abc6f04-74af-430b-bdc8-569c3bfa1dda" providerId="ADAL" clId="{CB1EFBC3-10F5-3048-8961-5969497C0019}" dt="2022-11-23T18:18:49.229" v="115471"/>
          <ac:cxnSpMkLst>
            <pc:docMk/>
            <pc:sldMk cId="3057146996" sldId="401"/>
            <ac:cxnSpMk id="68" creationId="{B0971ED7-B149-F05A-7072-2E07CE895C4D}"/>
          </ac:cxnSpMkLst>
        </pc:cxnChg>
        <pc:cxnChg chg="add del mod replST">
          <ac:chgData name="Merlin Gutter" userId="2abc6f04-74af-430b-bdc8-569c3bfa1dda" providerId="ADAL" clId="{CB1EFBC3-10F5-3048-8961-5969497C0019}" dt="2022-11-23T18:18:49.229" v="115473"/>
          <ac:cxnSpMkLst>
            <pc:docMk/>
            <pc:sldMk cId="3057146996" sldId="401"/>
            <ac:cxnSpMk id="69" creationId="{9399A452-1757-DD44-5E7F-ADDAFC66FF3C}"/>
          </ac:cxnSpMkLst>
        </pc:cxnChg>
        <pc:cxnChg chg="add del mod replST">
          <ac:chgData name="Merlin Gutter" userId="2abc6f04-74af-430b-bdc8-569c3bfa1dda" providerId="ADAL" clId="{CB1EFBC3-10F5-3048-8961-5969497C0019}" dt="2022-11-23T18:18:49.229" v="115475"/>
          <ac:cxnSpMkLst>
            <pc:docMk/>
            <pc:sldMk cId="3057146996" sldId="401"/>
            <ac:cxnSpMk id="70" creationId="{59F65779-3EAE-9D6F-0E55-39E104BFBDA8}"/>
          </ac:cxnSpMkLst>
        </pc:cxnChg>
        <pc:cxnChg chg="add del mod replST">
          <ac:chgData name="Merlin Gutter" userId="2abc6f04-74af-430b-bdc8-569c3bfa1dda" providerId="ADAL" clId="{CB1EFBC3-10F5-3048-8961-5969497C0019}" dt="2022-11-23T18:18:49.230" v="115477"/>
          <ac:cxnSpMkLst>
            <pc:docMk/>
            <pc:sldMk cId="3057146996" sldId="401"/>
            <ac:cxnSpMk id="71" creationId="{A5350A3E-9263-873E-EDEC-2B8AFD7AD3B9}"/>
          </ac:cxnSpMkLst>
        </pc:cxnChg>
        <pc:cxnChg chg="add del mod replST">
          <ac:chgData name="Merlin Gutter" userId="2abc6f04-74af-430b-bdc8-569c3bfa1dda" providerId="ADAL" clId="{CB1EFBC3-10F5-3048-8961-5969497C0019}" dt="2022-11-23T18:18:49.230" v="115479"/>
          <ac:cxnSpMkLst>
            <pc:docMk/>
            <pc:sldMk cId="3057146996" sldId="401"/>
            <ac:cxnSpMk id="72" creationId="{4A106955-06D4-6FF4-6342-78BD9F8C2E31}"/>
          </ac:cxnSpMkLst>
        </pc:cxnChg>
        <pc:cxnChg chg="add del mod replST">
          <ac:chgData name="Merlin Gutter" userId="2abc6f04-74af-430b-bdc8-569c3bfa1dda" providerId="ADAL" clId="{CB1EFBC3-10F5-3048-8961-5969497C0019}" dt="2022-11-23T18:18:49.230" v="115481"/>
          <ac:cxnSpMkLst>
            <pc:docMk/>
            <pc:sldMk cId="3057146996" sldId="401"/>
            <ac:cxnSpMk id="73" creationId="{A44F00D5-CB61-64F6-7963-F8465945FFB8}"/>
          </ac:cxnSpMkLst>
        </pc:cxnChg>
        <pc:cxnChg chg="add del mod replST">
          <ac:chgData name="Merlin Gutter" userId="2abc6f04-74af-430b-bdc8-569c3bfa1dda" providerId="ADAL" clId="{CB1EFBC3-10F5-3048-8961-5969497C0019}" dt="2022-11-23T18:18:49.231" v="115483"/>
          <ac:cxnSpMkLst>
            <pc:docMk/>
            <pc:sldMk cId="3057146996" sldId="401"/>
            <ac:cxnSpMk id="74" creationId="{347EB8CF-28BA-85BC-D7D6-A22AB2C2D5B5}"/>
          </ac:cxnSpMkLst>
        </pc:cxnChg>
        <pc:cxnChg chg="add del mod replST">
          <ac:chgData name="Merlin Gutter" userId="2abc6f04-74af-430b-bdc8-569c3bfa1dda" providerId="ADAL" clId="{CB1EFBC3-10F5-3048-8961-5969497C0019}" dt="2022-11-23T18:18:49.231" v="115485"/>
          <ac:cxnSpMkLst>
            <pc:docMk/>
            <pc:sldMk cId="3057146996" sldId="401"/>
            <ac:cxnSpMk id="75" creationId="{3B926B44-E3E6-82DF-32FC-5099BA1C1A29}"/>
          </ac:cxnSpMkLst>
        </pc:cxnChg>
        <pc:cxnChg chg="add del mod replST">
          <ac:chgData name="Merlin Gutter" userId="2abc6f04-74af-430b-bdc8-569c3bfa1dda" providerId="ADAL" clId="{CB1EFBC3-10F5-3048-8961-5969497C0019}" dt="2022-11-23T18:18:24.637" v="114386"/>
          <ac:cxnSpMkLst>
            <pc:docMk/>
            <pc:sldMk cId="3057146996" sldId="401"/>
            <ac:cxnSpMk id="120" creationId="{07BC9FFC-EDDD-335F-348B-45DA1B67BB48}"/>
          </ac:cxnSpMkLst>
        </pc:cxnChg>
        <pc:cxnChg chg="add del mod replST">
          <ac:chgData name="Merlin Gutter" userId="2abc6f04-74af-430b-bdc8-569c3bfa1dda" providerId="ADAL" clId="{CB1EFBC3-10F5-3048-8961-5969497C0019}" dt="2022-11-23T18:18:24.637" v="114388"/>
          <ac:cxnSpMkLst>
            <pc:docMk/>
            <pc:sldMk cId="3057146996" sldId="401"/>
            <ac:cxnSpMk id="121" creationId="{559FED96-BB92-8B7C-4CE2-3DB7CE60E0D0}"/>
          </ac:cxnSpMkLst>
        </pc:cxnChg>
        <pc:cxnChg chg="add del mod replST">
          <ac:chgData name="Merlin Gutter" userId="2abc6f04-74af-430b-bdc8-569c3bfa1dda" providerId="ADAL" clId="{CB1EFBC3-10F5-3048-8961-5969497C0019}" dt="2022-11-23T18:18:24.637" v="114390"/>
          <ac:cxnSpMkLst>
            <pc:docMk/>
            <pc:sldMk cId="3057146996" sldId="401"/>
            <ac:cxnSpMk id="122" creationId="{6C8F7BE1-2830-F5E3-3FEB-F2CF9B111F45}"/>
          </ac:cxnSpMkLst>
        </pc:cxnChg>
        <pc:cxnChg chg="add del mod replST">
          <ac:chgData name="Merlin Gutter" userId="2abc6f04-74af-430b-bdc8-569c3bfa1dda" providerId="ADAL" clId="{CB1EFBC3-10F5-3048-8961-5969497C0019}" dt="2022-11-23T18:18:24.638" v="114392"/>
          <ac:cxnSpMkLst>
            <pc:docMk/>
            <pc:sldMk cId="3057146996" sldId="401"/>
            <ac:cxnSpMk id="123" creationId="{73994CB3-7F22-8E67-5CFE-D093BE0824D1}"/>
          </ac:cxnSpMkLst>
        </pc:cxnChg>
        <pc:cxnChg chg="add del mod replST">
          <ac:chgData name="Merlin Gutter" userId="2abc6f04-74af-430b-bdc8-569c3bfa1dda" providerId="ADAL" clId="{CB1EFBC3-10F5-3048-8961-5969497C0019}" dt="2022-11-23T18:18:24.638" v="114394"/>
          <ac:cxnSpMkLst>
            <pc:docMk/>
            <pc:sldMk cId="3057146996" sldId="401"/>
            <ac:cxnSpMk id="124" creationId="{14CA3CB6-81C8-43C4-74FE-C665F336E8F7}"/>
          </ac:cxnSpMkLst>
        </pc:cxnChg>
        <pc:cxnChg chg="add del mod replST">
          <ac:chgData name="Merlin Gutter" userId="2abc6f04-74af-430b-bdc8-569c3bfa1dda" providerId="ADAL" clId="{CB1EFBC3-10F5-3048-8961-5969497C0019}" dt="2022-11-23T18:18:24.638" v="114396"/>
          <ac:cxnSpMkLst>
            <pc:docMk/>
            <pc:sldMk cId="3057146996" sldId="401"/>
            <ac:cxnSpMk id="125" creationId="{2653FBC8-8636-A1AC-A2D9-4E92514FBA3E}"/>
          </ac:cxnSpMkLst>
        </pc:cxnChg>
        <pc:cxnChg chg="add del mod replST">
          <ac:chgData name="Merlin Gutter" userId="2abc6f04-74af-430b-bdc8-569c3bfa1dda" providerId="ADAL" clId="{CB1EFBC3-10F5-3048-8961-5969497C0019}" dt="2022-11-23T18:18:24.639" v="114398"/>
          <ac:cxnSpMkLst>
            <pc:docMk/>
            <pc:sldMk cId="3057146996" sldId="401"/>
            <ac:cxnSpMk id="126" creationId="{5F26856A-CCD1-273C-D861-CA0C39284B52}"/>
          </ac:cxnSpMkLst>
        </pc:cxnChg>
        <pc:cxnChg chg="add del mod replST">
          <ac:chgData name="Merlin Gutter" userId="2abc6f04-74af-430b-bdc8-569c3bfa1dda" providerId="ADAL" clId="{CB1EFBC3-10F5-3048-8961-5969497C0019}" dt="2022-11-23T18:18:24.639" v="114400"/>
          <ac:cxnSpMkLst>
            <pc:docMk/>
            <pc:sldMk cId="3057146996" sldId="401"/>
            <ac:cxnSpMk id="127" creationId="{4CC552D3-6F5D-02FD-B3CE-D2E85D31B488}"/>
          </ac:cxnSpMkLst>
        </pc:cxnChg>
        <pc:cxnChg chg="add del mod replST">
          <ac:chgData name="Merlin Gutter" userId="2abc6f04-74af-430b-bdc8-569c3bfa1dda" providerId="ADAL" clId="{CB1EFBC3-10F5-3048-8961-5969497C0019}" dt="2022-11-23T18:18:24.639" v="114402"/>
          <ac:cxnSpMkLst>
            <pc:docMk/>
            <pc:sldMk cId="3057146996" sldId="401"/>
            <ac:cxnSpMk id="128" creationId="{D831D10B-1B7A-50E6-BAE2-22560474909C}"/>
          </ac:cxnSpMkLst>
        </pc:cxnChg>
        <pc:cxnChg chg="add del mod replST">
          <ac:chgData name="Merlin Gutter" userId="2abc6f04-74af-430b-bdc8-569c3bfa1dda" providerId="ADAL" clId="{CB1EFBC3-10F5-3048-8961-5969497C0019}" dt="2022-11-23T18:18:24.639" v="114404"/>
          <ac:cxnSpMkLst>
            <pc:docMk/>
            <pc:sldMk cId="3057146996" sldId="401"/>
            <ac:cxnSpMk id="129" creationId="{F245E002-09EF-EDB7-F237-85747756419C}"/>
          </ac:cxnSpMkLst>
        </pc:cxnChg>
        <pc:cxnChg chg="add del mod replST">
          <ac:chgData name="Merlin Gutter" userId="2abc6f04-74af-430b-bdc8-569c3bfa1dda" providerId="ADAL" clId="{CB1EFBC3-10F5-3048-8961-5969497C0019}" dt="2022-11-23T22:23:14.982" v="118271"/>
          <ac:cxnSpMkLst>
            <pc:docMk/>
            <pc:sldMk cId="3057146996" sldId="401"/>
            <ac:cxnSpMk id="139" creationId="{FBA638D4-15BA-188A-B8AB-D337AB17FE5C}"/>
          </ac:cxnSpMkLst>
        </pc:cxnChg>
        <pc:cxnChg chg="add del mod replST">
          <ac:chgData name="Merlin Gutter" userId="2abc6f04-74af-430b-bdc8-569c3bfa1dda" providerId="ADAL" clId="{CB1EFBC3-10F5-3048-8961-5969497C0019}" dt="2022-11-23T22:23:14.995" v="118274"/>
          <ac:cxnSpMkLst>
            <pc:docMk/>
            <pc:sldMk cId="3057146996" sldId="401"/>
            <ac:cxnSpMk id="140" creationId="{FE1D41C4-8009-E520-B8E7-E23CFFDF60D5}"/>
          </ac:cxnSpMkLst>
        </pc:cxnChg>
        <pc:cxnChg chg="add del mod replST">
          <ac:chgData name="Merlin Gutter" userId="2abc6f04-74af-430b-bdc8-569c3bfa1dda" providerId="ADAL" clId="{CB1EFBC3-10F5-3048-8961-5969497C0019}" dt="2022-11-23T22:23:49.505" v="118795"/>
          <ac:cxnSpMkLst>
            <pc:docMk/>
            <pc:sldMk cId="3057146996" sldId="401"/>
            <ac:cxnSpMk id="175" creationId="{B6B9772F-1E04-E161-1F19-45A10AFF2326}"/>
          </ac:cxnSpMkLst>
        </pc:cxnChg>
        <pc:cxnChg chg="add mod replST">
          <ac:chgData name="Merlin Gutter" userId="2abc6f04-74af-430b-bdc8-569c3bfa1dda" providerId="ADAL" clId="{CB1EFBC3-10F5-3048-8961-5969497C0019}" dt="2022-11-23T22:24:47.904" v="119848"/>
          <ac:cxnSpMkLst>
            <pc:docMk/>
            <pc:sldMk cId="3057146996" sldId="401"/>
            <ac:cxnSpMk id="185" creationId="{925A8346-5C4A-DF12-1E3F-77631D0FAF60}"/>
          </ac:cxnSpMkLst>
        </pc:cxnChg>
        <pc:cxnChg chg="add mod replST">
          <ac:chgData name="Merlin Gutter" userId="2abc6f04-74af-430b-bdc8-569c3bfa1dda" providerId="ADAL" clId="{CB1EFBC3-10F5-3048-8961-5969497C0019}" dt="2022-11-23T22:24:47.910" v="119864"/>
          <ac:cxnSpMkLst>
            <pc:docMk/>
            <pc:sldMk cId="3057146996" sldId="401"/>
            <ac:cxnSpMk id="186" creationId="{37903BB9-DA70-2B6D-E815-1C4A9A5D45DE}"/>
          </ac:cxnSpMkLst>
        </pc:cxnChg>
      </pc:sldChg>
      <pc:sldChg chg="addSp delSp modSp add del mod">
        <pc:chgData name="Merlin Gutter" userId="2abc6f04-74af-430b-bdc8-569c3bfa1dda" providerId="ADAL" clId="{CB1EFBC3-10F5-3048-8961-5969497C0019}" dt="2022-11-24T19:34:40.193" v="130861" actId="2696"/>
        <pc:sldMkLst>
          <pc:docMk/>
          <pc:sldMk cId="3705625387" sldId="402"/>
        </pc:sldMkLst>
        <pc:spChg chg="mod">
          <ac:chgData name="Merlin Gutter" userId="2abc6f04-74af-430b-bdc8-569c3bfa1dda" providerId="ADAL" clId="{CB1EFBC3-10F5-3048-8961-5969497C0019}" dt="2022-11-24T19:24:59.454" v="130656"/>
          <ac:spMkLst>
            <pc:docMk/>
            <pc:sldMk cId="3705625387" sldId="402"/>
            <ac:spMk id="2" creationId="{EBDD7A3D-4F52-3DE2-F933-8449D83DCF02}"/>
          </ac:spMkLst>
        </pc:spChg>
        <pc:spChg chg="mod">
          <ac:chgData name="Merlin Gutter" userId="2abc6f04-74af-430b-bdc8-569c3bfa1dda" providerId="ADAL" clId="{CB1EFBC3-10F5-3048-8961-5969497C0019}" dt="2022-11-23T18:36:25.804" v="117539"/>
          <ac:spMkLst>
            <pc:docMk/>
            <pc:sldMk cId="3705625387" sldId="402"/>
            <ac:spMk id="3" creationId="{4B23F066-78F6-ED99-A2E1-FCA243435AA8}"/>
          </ac:spMkLst>
        </pc:spChg>
        <pc:spChg chg="mod">
          <ac:chgData name="Merlin Gutter" userId="2abc6f04-74af-430b-bdc8-569c3bfa1dda" providerId="ADAL" clId="{CB1EFBC3-10F5-3048-8961-5969497C0019}" dt="2022-11-23T18:36:25.804" v="117540"/>
          <ac:spMkLst>
            <pc:docMk/>
            <pc:sldMk cId="3705625387" sldId="402"/>
            <ac:spMk id="4" creationId="{419A56F2-33FC-B13B-F824-5320C14683F0}"/>
          </ac:spMkLst>
        </pc:spChg>
        <pc:spChg chg="mod">
          <ac:chgData name="Merlin Gutter" userId="2abc6f04-74af-430b-bdc8-569c3bfa1dda" providerId="ADAL" clId="{CB1EFBC3-10F5-3048-8961-5969497C0019}" dt="2022-11-23T18:36:25.805" v="117541"/>
          <ac:spMkLst>
            <pc:docMk/>
            <pc:sldMk cId="3705625387" sldId="402"/>
            <ac:spMk id="5" creationId="{64E62B09-B628-9390-D8F1-925831825F25}"/>
          </ac:spMkLst>
        </pc:spChg>
        <pc:spChg chg="mod">
          <ac:chgData name="Merlin Gutter" userId="2abc6f04-74af-430b-bdc8-569c3bfa1dda" providerId="ADAL" clId="{CB1EFBC3-10F5-3048-8961-5969497C0019}" dt="2022-11-23T18:36:25.805" v="117542"/>
          <ac:spMkLst>
            <pc:docMk/>
            <pc:sldMk cId="3705625387" sldId="402"/>
            <ac:spMk id="6" creationId="{5CD15DEF-BD86-6BAD-F618-0FCA1640781D}"/>
          </ac:spMkLst>
        </pc:spChg>
        <pc:spChg chg="mod">
          <ac:chgData name="Merlin Gutter" userId="2abc6f04-74af-430b-bdc8-569c3bfa1dda" providerId="ADAL" clId="{CB1EFBC3-10F5-3048-8961-5969497C0019}" dt="2022-11-23T18:36:25.805" v="117543"/>
          <ac:spMkLst>
            <pc:docMk/>
            <pc:sldMk cId="3705625387" sldId="402"/>
            <ac:spMk id="9" creationId="{2E678CB3-6BF2-2C9B-867D-B0E0FC69D6D7}"/>
          </ac:spMkLst>
        </pc:spChg>
        <pc:spChg chg="mod">
          <ac:chgData name="Merlin Gutter" userId="2abc6f04-74af-430b-bdc8-569c3bfa1dda" providerId="ADAL" clId="{CB1EFBC3-10F5-3048-8961-5969497C0019}" dt="2022-11-23T18:36:25.809" v="117563"/>
          <ac:spMkLst>
            <pc:docMk/>
            <pc:sldMk cId="3705625387" sldId="402"/>
            <ac:spMk id="10" creationId="{A69180BC-3644-5C15-3220-B63028F819DB}"/>
          </ac:spMkLst>
        </pc:spChg>
        <pc:spChg chg="add del mod modVis">
          <ac:chgData name="Merlin Gutter" userId="2abc6f04-74af-430b-bdc8-569c3bfa1dda" providerId="ADAL" clId="{CB1EFBC3-10F5-3048-8961-5969497C0019}" dt="2022-11-23T18:35:48.507" v="117061"/>
          <ac:spMkLst>
            <pc:docMk/>
            <pc:sldMk cId="3705625387" sldId="402"/>
            <ac:spMk id="11" creationId="{ADE11894-8B29-24F7-4BF4-FDCDE0385C7B}"/>
          </ac:spMkLst>
        </pc:spChg>
        <pc:spChg chg="mod">
          <ac:chgData name="Merlin Gutter" userId="2abc6f04-74af-430b-bdc8-569c3bfa1dda" providerId="ADAL" clId="{CB1EFBC3-10F5-3048-8961-5969497C0019}" dt="2022-11-23T18:36:40.396" v="117677"/>
          <ac:spMkLst>
            <pc:docMk/>
            <pc:sldMk cId="3705625387" sldId="402"/>
            <ac:spMk id="12" creationId="{8187FEDB-0DF5-2D56-8275-39632EFA81B9}"/>
          </ac:spMkLst>
        </pc:spChg>
        <pc:spChg chg="mod">
          <ac:chgData name="Merlin Gutter" userId="2abc6f04-74af-430b-bdc8-569c3bfa1dda" providerId="ADAL" clId="{CB1EFBC3-10F5-3048-8961-5969497C0019}" dt="2022-11-23T18:36:40.399" v="117685"/>
          <ac:spMkLst>
            <pc:docMk/>
            <pc:sldMk cId="3705625387" sldId="402"/>
            <ac:spMk id="14" creationId="{EBC22941-62DE-5516-18D5-C770B8E7D0D1}"/>
          </ac:spMkLst>
        </pc:spChg>
        <pc:spChg chg="add del mod modVis">
          <ac:chgData name="Merlin Gutter" userId="2abc6f04-74af-430b-bdc8-569c3bfa1dda" providerId="ADAL" clId="{CB1EFBC3-10F5-3048-8961-5969497C0019}" dt="2022-11-23T18:36:24.814" v="117434"/>
          <ac:spMkLst>
            <pc:docMk/>
            <pc:sldMk cId="3705625387" sldId="402"/>
            <ac:spMk id="15" creationId="{146B8362-AE5C-01B7-2E7A-543D2C2AFEBD}"/>
          </ac:spMkLst>
        </pc:spChg>
        <pc:spChg chg="mod">
          <ac:chgData name="Merlin Gutter" userId="2abc6f04-74af-430b-bdc8-569c3bfa1dda" providerId="ADAL" clId="{CB1EFBC3-10F5-3048-8961-5969497C0019}" dt="2022-11-23T18:36:40.401" v="117693"/>
          <ac:spMkLst>
            <pc:docMk/>
            <pc:sldMk cId="3705625387" sldId="402"/>
            <ac:spMk id="18" creationId="{51A28C8D-8FB5-AA80-CCE4-E59A68BF3C54}"/>
          </ac:spMkLst>
        </pc:spChg>
        <pc:spChg chg="mod">
          <ac:chgData name="Merlin Gutter" userId="2abc6f04-74af-430b-bdc8-569c3bfa1dda" providerId="ADAL" clId="{CB1EFBC3-10F5-3048-8961-5969497C0019}" dt="2022-11-23T18:36:40.404" v="117701"/>
          <ac:spMkLst>
            <pc:docMk/>
            <pc:sldMk cId="3705625387" sldId="402"/>
            <ac:spMk id="19" creationId="{BF839A0E-B22A-8B64-AEC4-6E08892B2C2F}"/>
          </ac:spMkLst>
        </pc:spChg>
        <pc:spChg chg="mod">
          <ac:chgData name="Merlin Gutter" userId="2abc6f04-74af-430b-bdc8-569c3bfa1dda" providerId="ADAL" clId="{CB1EFBC3-10F5-3048-8961-5969497C0019}" dt="2022-11-23T18:36:40.406" v="117709"/>
          <ac:spMkLst>
            <pc:docMk/>
            <pc:sldMk cId="3705625387" sldId="402"/>
            <ac:spMk id="20" creationId="{A41F3FA4-DBC7-F6C2-C305-C8D7FB46F1D0}"/>
          </ac:spMkLst>
        </pc:spChg>
        <pc:spChg chg="mod">
          <ac:chgData name="Merlin Gutter" userId="2abc6f04-74af-430b-bdc8-569c3bfa1dda" providerId="ADAL" clId="{CB1EFBC3-10F5-3048-8961-5969497C0019}" dt="2022-11-23T18:36:40.408" v="117717"/>
          <ac:spMkLst>
            <pc:docMk/>
            <pc:sldMk cId="3705625387" sldId="402"/>
            <ac:spMk id="21" creationId="{1D820BBF-F784-AE05-2809-5C665F3540F7}"/>
          </ac:spMkLst>
        </pc:spChg>
        <pc:spChg chg="add del mod modVis">
          <ac:chgData name="Merlin Gutter" userId="2abc6f04-74af-430b-bdc8-569c3bfa1dda" providerId="ADAL" clId="{CB1EFBC3-10F5-3048-8961-5969497C0019}" dt="2022-11-23T18:36:25.810" v="117567"/>
          <ac:spMkLst>
            <pc:docMk/>
            <pc:sldMk cId="3705625387" sldId="402"/>
            <ac:spMk id="22" creationId="{1442343A-6DE5-4323-D248-3911DA233A56}"/>
          </ac:spMkLst>
        </pc:spChg>
        <pc:spChg chg="mod">
          <ac:chgData name="Merlin Gutter" userId="2abc6f04-74af-430b-bdc8-569c3bfa1dda" providerId="ADAL" clId="{CB1EFBC3-10F5-3048-8961-5969497C0019}" dt="2022-11-23T18:36:40.395" v="117675" actId="208"/>
          <ac:spMkLst>
            <pc:docMk/>
            <pc:sldMk cId="3705625387" sldId="402"/>
            <ac:spMk id="40" creationId="{8953AF93-30CF-F8B2-9012-6801387C2179}"/>
          </ac:spMkLst>
        </pc:spChg>
        <pc:spChg chg="mod">
          <ac:chgData name="Merlin Gutter" userId="2abc6f04-74af-430b-bdc8-569c3bfa1dda" providerId="ADAL" clId="{CB1EFBC3-10F5-3048-8961-5969497C0019}" dt="2022-11-23T18:36:40.398" v="117683" actId="208"/>
          <ac:spMkLst>
            <pc:docMk/>
            <pc:sldMk cId="3705625387" sldId="402"/>
            <ac:spMk id="41" creationId="{EF6BCFA0-1144-3D7C-FFC3-8669D01E3F24}"/>
          </ac:spMkLst>
        </pc:spChg>
        <pc:spChg chg="mod">
          <ac:chgData name="Merlin Gutter" userId="2abc6f04-74af-430b-bdc8-569c3bfa1dda" providerId="ADAL" clId="{CB1EFBC3-10F5-3048-8961-5969497C0019}" dt="2022-11-23T18:36:40.401" v="117691" actId="208"/>
          <ac:spMkLst>
            <pc:docMk/>
            <pc:sldMk cId="3705625387" sldId="402"/>
            <ac:spMk id="42" creationId="{5C95FB60-2EF5-E315-9D15-460009A108DC}"/>
          </ac:spMkLst>
        </pc:spChg>
        <pc:spChg chg="mod">
          <ac:chgData name="Merlin Gutter" userId="2abc6f04-74af-430b-bdc8-569c3bfa1dda" providerId="ADAL" clId="{CB1EFBC3-10F5-3048-8961-5969497C0019}" dt="2022-11-23T18:36:40.403" v="117699" actId="208"/>
          <ac:spMkLst>
            <pc:docMk/>
            <pc:sldMk cId="3705625387" sldId="402"/>
            <ac:spMk id="43" creationId="{F0D535F8-1CF6-1D85-16E7-8E4787D4287E}"/>
          </ac:spMkLst>
        </pc:spChg>
        <pc:spChg chg="mod">
          <ac:chgData name="Merlin Gutter" userId="2abc6f04-74af-430b-bdc8-569c3bfa1dda" providerId="ADAL" clId="{CB1EFBC3-10F5-3048-8961-5969497C0019}" dt="2022-11-23T18:36:40.405" v="117707" actId="208"/>
          <ac:spMkLst>
            <pc:docMk/>
            <pc:sldMk cId="3705625387" sldId="402"/>
            <ac:spMk id="44" creationId="{B6AE3E2F-04A8-FBD4-49A6-9E85BC4A4092}"/>
          </ac:spMkLst>
        </pc:spChg>
        <pc:spChg chg="mod">
          <ac:chgData name="Merlin Gutter" userId="2abc6f04-74af-430b-bdc8-569c3bfa1dda" providerId="ADAL" clId="{CB1EFBC3-10F5-3048-8961-5969497C0019}" dt="2022-11-23T18:36:40.407" v="117715" actId="208"/>
          <ac:spMkLst>
            <pc:docMk/>
            <pc:sldMk cId="3705625387" sldId="402"/>
            <ac:spMk id="45" creationId="{FECC4799-D77E-26FB-0B38-F9CFAA26E813}"/>
          </ac:spMkLst>
        </pc:spChg>
        <pc:spChg chg="mod">
          <ac:chgData name="Merlin Gutter" userId="2abc6f04-74af-430b-bdc8-569c3bfa1dda" providerId="ADAL" clId="{CB1EFBC3-10F5-3048-8961-5969497C0019}" dt="2022-11-23T18:36:25.806" v="117548"/>
          <ac:spMkLst>
            <pc:docMk/>
            <pc:sldMk cId="3705625387" sldId="402"/>
            <ac:spMk id="55" creationId="{C6054ED8-FF62-C374-8C8A-6780AA98EC0C}"/>
          </ac:spMkLst>
        </pc:spChg>
        <pc:spChg chg="mod">
          <ac:chgData name="Merlin Gutter" userId="2abc6f04-74af-430b-bdc8-569c3bfa1dda" providerId="ADAL" clId="{CB1EFBC3-10F5-3048-8961-5969497C0019}" dt="2022-11-23T18:36:25.806" v="117547"/>
          <ac:spMkLst>
            <pc:docMk/>
            <pc:sldMk cId="3705625387" sldId="402"/>
            <ac:spMk id="56" creationId="{60979BB9-A3E7-8FEF-97AC-1E8F9D7B7DD2}"/>
          </ac:spMkLst>
        </pc:spChg>
        <pc:spChg chg="mod">
          <ac:chgData name="Merlin Gutter" userId="2abc6f04-74af-430b-bdc8-569c3bfa1dda" providerId="ADAL" clId="{CB1EFBC3-10F5-3048-8961-5969497C0019}" dt="2022-11-23T18:36:25.806" v="117546"/>
          <ac:spMkLst>
            <pc:docMk/>
            <pc:sldMk cId="3705625387" sldId="402"/>
            <ac:spMk id="57" creationId="{7217858D-E136-4BB8-FCFF-3BA1B0678971}"/>
          </ac:spMkLst>
        </pc:spChg>
        <pc:spChg chg="mod">
          <ac:chgData name="Merlin Gutter" userId="2abc6f04-74af-430b-bdc8-569c3bfa1dda" providerId="ADAL" clId="{CB1EFBC3-10F5-3048-8961-5969497C0019}" dt="2022-11-23T18:36:25.806" v="117545"/>
          <ac:spMkLst>
            <pc:docMk/>
            <pc:sldMk cId="3705625387" sldId="402"/>
            <ac:spMk id="58" creationId="{F740993E-9611-1272-6044-5736E4D07B72}"/>
          </ac:spMkLst>
        </pc:spChg>
        <pc:graphicFrameChg chg="add del mod replST">
          <ac:chgData name="Merlin Gutter" userId="2abc6f04-74af-430b-bdc8-569c3bfa1dda" providerId="ADAL" clId="{CB1EFBC3-10F5-3048-8961-5969497C0019}" dt="2022-11-23T18:36:24.782" v="117354"/>
          <ac:graphicFrameMkLst>
            <pc:docMk/>
            <pc:sldMk cId="3705625387" sldId="402"/>
            <ac:graphicFrameMk id="13" creationId="{283AA433-D4B3-2F19-3E9D-26C0D44B61EE}"/>
          </ac:graphicFrameMkLst>
        </pc:graphicFrameChg>
        <pc:graphicFrameChg chg="mod">
          <ac:chgData name="Merlin Gutter" userId="2abc6f04-74af-430b-bdc8-569c3bfa1dda" providerId="ADAL" clId="{CB1EFBC3-10F5-3048-8961-5969497C0019}" dt="2022-11-24T19:34:34.894" v="130856"/>
          <ac:graphicFrameMkLst>
            <pc:docMk/>
            <pc:sldMk cId="3705625387" sldId="402"/>
            <ac:graphicFrameMk id="16" creationId="{834B41B2-5D57-7823-F22B-40C9F502BD7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3T18:36:25.785" v="117519"/>
          <ac:graphicFrameMkLst>
            <pc:docMk/>
            <pc:sldMk cId="3705625387" sldId="402"/>
            <ac:graphicFrameMk id="17" creationId="{4537FEC0-691E-7839-2742-6C86B6F2A615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3T18:36:25.805" v="117544"/>
          <ac:graphicFrameMkLst>
            <pc:docMk/>
            <pc:sldMk cId="3705625387" sldId="402"/>
            <ac:graphicFrameMk id="23" creationId="{E99A5D53-B8F8-E649-A181-4911DF5577C2}"/>
          </ac:graphicFrameMkLst>
        </pc:graphicFrameChg>
        <pc:graphicFrameChg chg="del">
          <ac:chgData name="Merlin Gutter" userId="2abc6f04-74af-430b-bdc8-569c3bfa1dda" providerId="ADAL" clId="{CB1EFBC3-10F5-3048-8961-5969497C0019}" dt="2022-11-23T18:35:48.479" v="117011"/>
          <ac:graphicFrameMkLst>
            <pc:docMk/>
            <pc:sldMk cId="3705625387" sldId="402"/>
            <ac:graphicFrameMk id="27" creationId="{565D2ADE-586E-9B16-F321-DFA2C3043E36}"/>
          </ac:graphicFrameMkLst>
        </pc:graphicFrameChg>
        <pc:cxnChg chg="mod">
          <ac:chgData name="Merlin Gutter" userId="2abc6f04-74af-430b-bdc8-569c3bfa1dda" providerId="ADAL" clId="{CB1EFBC3-10F5-3048-8961-5969497C0019}" dt="2022-11-23T18:36:25.809" v="117561"/>
          <ac:cxnSpMkLst>
            <pc:docMk/>
            <pc:sldMk cId="3705625387" sldId="402"/>
            <ac:cxnSpMk id="7" creationId="{6CD833BF-6EC0-776C-5E18-9C96D0167D02}"/>
          </ac:cxnSpMkLst>
        </pc:cxnChg>
        <pc:cxnChg chg="mod">
          <ac:chgData name="Merlin Gutter" userId="2abc6f04-74af-430b-bdc8-569c3bfa1dda" providerId="ADAL" clId="{CB1EFBC3-10F5-3048-8961-5969497C0019}" dt="2022-11-23T18:36:25.809" v="117562"/>
          <ac:cxnSpMkLst>
            <pc:docMk/>
            <pc:sldMk cId="3705625387" sldId="402"/>
            <ac:cxnSpMk id="8" creationId="{F1396AF4-3FDF-FDB0-5EC0-E0CC39AFE9DA}"/>
          </ac:cxnSpMkLst>
        </pc:cxnChg>
      </pc:sldChg>
      <pc:sldChg chg="addSp delSp modSp mod">
        <pc:chgData name="Merlin Gutter" userId="2abc6f04-74af-430b-bdc8-569c3bfa1dda" providerId="ADAL" clId="{CB1EFBC3-10F5-3048-8961-5969497C0019}" dt="2022-11-24T19:24:18.226" v="130647"/>
        <pc:sldMkLst>
          <pc:docMk/>
          <pc:sldMk cId="1842833113" sldId="403"/>
        </pc:sldMkLst>
        <pc:spChg chg="mod">
          <ac:chgData name="Merlin Gutter" userId="2abc6f04-74af-430b-bdc8-569c3bfa1dda" providerId="ADAL" clId="{CB1EFBC3-10F5-3048-8961-5969497C0019}" dt="2022-11-24T19:24:18.226" v="130647"/>
          <ac:spMkLst>
            <pc:docMk/>
            <pc:sldMk cId="1842833113" sldId="403"/>
            <ac:spMk id="2" creationId="{0DDE5476-1677-AAE4-FA7A-9AEC14A837BC}"/>
          </ac:spMkLst>
        </pc:spChg>
        <pc:spChg chg="del mod topLvl">
          <ac:chgData name="Merlin Gutter" userId="2abc6f04-74af-430b-bdc8-569c3bfa1dda" providerId="ADAL" clId="{CB1EFBC3-10F5-3048-8961-5969497C0019}" dt="2022-11-24T19:19:21.069" v="130500" actId="478"/>
          <ac:spMkLst>
            <pc:docMk/>
            <pc:sldMk cId="1842833113" sldId="403"/>
            <ac:spMk id="4" creationId="{B8C8B71D-0ACB-BA7D-ACF4-9F7184171D47}"/>
          </ac:spMkLst>
        </pc:spChg>
        <pc:spChg chg="del mod topLvl">
          <ac:chgData name="Merlin Gutter" userId="2abc6f04-74af-430b-bdc8-569c3bfa1dda" providerId="ADAL" clId="{CB1EFBC3-10F5-3048-8961-5969497C0019}" dt="2022-11-24T19:12:18.126" v="130428" actId="478"/>
          <ac:spMkLst>
            <pc:docMk/>
            <pc:sldMk cId="1842833113" sldId="403"/>
            <ac:spMk id="10" creationId="{9D5B2959-1566-EE9E-F783-316CA5EB6AEF}"/>
          </ac:spMkLst>
        </pc:spChg>
        <pc:spChg chg="add mod topLvl">
          <ac:chgData name="Merlin Gutter" userId="2abc6f04-74af-430b-bdc8-569c3bfa1dda" providerId="ADAL" clId="{CB1EFBC3-10F5-3048-8961-5969497C0019}" dt="2022-11-24T19:21:18.777" v="130533"/>
          <ac:spMkLst>
            <pc:docMk/>
            <pc:sldMk cId="1842833113" sldId="403"/>
            <ac:spMk id="13" creationId="{4D409540-E67C-ED40-E625-A4F4400C81E2}"/>
          </ac:spMkLst>
        </pc:spChg>
        <pc:spChg chg="add mod">
          <ac:chgData name="Merlin Gutter" userId="2abc6f04-74af-430b-bdc8-569c3bfa1dda" providerId="ADAL" clId="{CB1EFBC3-10F5-3048-8961-5969497C0019}" dt="2022-11-24T19:20:54.241" v="130529" actId="14100"/>
          <ac:spMkLst>
            <pc:docMk/>
            <pc:sldMk cId="1842833113" sldId="403"/>
            <ac:spMk id="16" creationId="{D1506238-5D4D-1EA0-17E6-82FBAD48ED1B}"/>
          </ac:spMkLst>
        </pc:spChg>
        <pc:spChg chg="add mod">
          <ac:chgData name="Merlin Gutter" userId="2abc6f04-74af-430b-bdc8-569c3bfa1dda" providerId="ADAL" clId="{CB1EFBC3-10F5-3048-8961-5969497C0019}" dt="2022-11-24T19:21:03.338" v="130530" actId="14100"/>
          <ac:spMkLst>
            <pc:docMk/>
            <pc:sldMk cId="1842833113" sldId="403"/>
            <ac:spMk id="18" creationId="{0E63121F-5DC2-9A14-7590-4D867BB6321E}"/>
          </ac:spMkLst>
        </pc:spChg>
        <pc:grpChg chg="del">
          <ac:chgData name="Merlin Gutter" userId="2abc6f04-74af-430b-bdc8-569c3bfa1dda" providerId="ADAL" clId="{CB1EFBC3-10F5-3048-8961-5969497C0019}" dt="2022-11-24T19:11:44.228" v="130408" actId="165"/>
          <ac:grpSpMkLst>
            <pc:docMk/>
            <pc:sldMk cId="1842833113" sldId="403"/>
            <ac:grpSpMk id="7" creationId="{A34FFCC6-E673-6E87-5221-71FC4BD03819}"/>
          </ac:grpSpMkLst>
        </pc:grpChg>
        <pc:grpChg chg="add del mod">
          <ac:chgData name="Merlin Gutter" userId="2abc6f04-74af-430b-bdc8-569c3bfa1dda" providerId="ADAL" clId="{CB1EFBC3-10F5-3048-8961-5969497C0019}" dt="2022-11-24T19:13:22.703" v="130451" actId="165"/>
          <ac:grpSpMkLst>
            <pc:docMk/>
            <pc:sldMk cId="1842833113" sldId="403"/>
            <ac:grpSpMk id="15" creationId="{454F92EF-6308-27CF-0E98-3EDC1C568F3B}"/>
          </ac:grpSpMkLst>
        </pc:grpChg>
        <pc:graphicFrameChg chg="mod">
          <ac:chgData name="Merlin Gutter" userId="2abc6f04-74af-430b-bdc8-569c3bfa1dda" providerId="ADAL" clId="{CB1EFBC3-10F5-3048-8961-5969497C0019}" dt="2022-11-24T19:21:09.744" v="130531" actId="14100"/>
          <ac:graphicFrameMkLst>
            <pc:docMk/>
            <pc:sldMk cId="1842833113" sldId="403"/>
            <ac:graphicFrameMk id="9" creationId="{1B438C3A-1DA9-26BA-CA00-96EEA58522BD}"/>
          </ac:graphicFrameMkLst>
        </pc:graphicFrameChg>
        <pc:cxnChg chg="mod">
          <ac:chgData name="Merlin Gutter" userId="2abc6f04-74af-430b-bdc8-569c3bfa1dda" providerId="ADAL" clId="{CB1EFBC3-10F5-3048-8961-5969497C0019}" dt="2022-11-24T19:12:50.078" v="130446" actId="465"/>
          <ac:cxnSpMkLst>
            <pc:docMk/>
            <pc:sldMk cId="1842833113" sldId="403"/>
            <ac:cxnSpMk id="65" creationId="{33DA2818-8755-227C-1964-EC87ABF015AA}"/>
          </ac:cxnSpMkLst>
        </pc:cxnChg>
        <pc:cxnChg chg="mod">
          <ac:chgData name="Merlin Gutter" userId="2abc6f04-74af-430b-bdc8-569c3bfa1dda" providerId="ADAL" clId="{CB1EFBC3-10F5-3048-8961-5969497C0019}" dt="2022-11-24T19:12:50.078" v="130446" actId="465"/>
          <ac:cxnSpMkLst>
            <pc:docMk/>
            <pc:sldMk cId="1842833113" sldId="403"/>
            <ac:cxnSpMk id="66" creationId="{53FA8D9D-498F-A51B-511A-B467E1B6861D}"/>
          </ac:cxnSpMkLst>
        </pc:cxnChg>
      </pc:sldChg>
      <pc:sldChg chg="modSp add del mod">
        <pc:chgData name="Merlin Gutter" userId="2abc6f04-74af-430b-bdc8-569c3bfa1dda" providerId="ADAL" clId="{CB1EFBC3-10F5-3048-8961-5969497C0019}" dt="2022-11-24T19:21:25.324" v="130534" actId="2696"/>
        <pc:sldMkLst>
          <pc:docMk/>
          <pc:sldMk cId="1049882194" sldId="404"/>
        </pc:sldMkLst>
        <pc:spChg chg="mod">
          <ac:chgData name="Merlin Gutter" userId="2abc6f04-74af-430b-bdc8-569c3bfa1dda" providerId="ADAL" clId="{CB1EFBC3-10F5-3048-8961-5969497C0019}" dt="2022-11-24T19:15:56.278" v="130476" actId="20577"/>
          <ac:spMkLst>
            <pc:docMk/>
            <pc:sldMk cId="1049882194" sldId="404"/>
            <ac:spMk id="4" creationId="{B8C8B71D-0ACB-BA7D-ACF4-9F7184171D47}"/>
          </ac:spMkLst>
        </pc:spChg>
        <pc:spChg chg="mod">
          <ac:chgData name="Merlin Gutter" userId="2abc6f04-74af-430b-bdc8-569c3bfa1dda" providerId="ADAL" clId="{CB1EFBC3-10F5-3048-8961-5969497C0019}" dt="2022-11-24T19:16:53.874" v="130483" actId="1076"/>
          <ac:spMkLst>
            <pc:docMk/>
            <pc:sldMk cId="1049882194" sldId="404"/>
            <ac:spMk id="16" creationId="{D1506238-5D4D-1EA0-17E6-82FBAD48ED1B}"/>
          </ac:spMkLst>
        </pc:spChg>
      </pc:sldChg>
      <pc:sldChg chg="addSp delSp modSp add mod">
        <pc:chgData name="Merlin Gutter" userId="2abc6f04-74af-430b-bdc8-569c3bfa1dda" providerId="ADAL" clId="{CB1EFBC3-10F5-3048-8961-5969497C0019}" dt="2022-11-25T00:31:45.700" v="207042" actId="2084"/>
        <pc:sldMkLst>
          <pc:docMk/>
          <pc:sldMk cId="1652728258" sldId="404"/>
        </pc:sldMkLst>
        <pc:spChg chg="mod">
          <ac:chgData name="Merlin Gutter" userId="2abc6f04-74af-430b-bdc8-569c3bfa1dda" providerId="ADAL" clId="{CB1EFBC3-10F5-3048-8961-5969497C0019}" dt="2022-11-25T00:31:13.098" v="207011"/>
          <ac:spMkLst>
            <pc:docMk/>
            <pc:sldMk cId="1652728258" sldId="404"/>
            <ac:spMk id="2" creationId="{EBDD7A3D-4F52-3DE2-F933-8449D83DCF02}"/>
          </ac:spMkLst>
        </pc:spChg>
        <pc:spChg chg="add del mod">
          <ac:chgData name="Merlin Gutter" userId="2abc6f04-74af-430b-bdc8-569c3bfa1dda" providerId="ADAL" clId="{CB1EFBC3-10F5-3048-8961-5969497C0019}" dt="2022-11-24T19:38:11.949" v="132020" actId="478"/>
          <ac:spMkLst>
            <pc:docMk/>
            <pc:sldMk cId="1652728258" sldId="404"/>
            <ac:spMk id="3" creationId="{4B23F066-78F6-ED99-A2E1-FCA243435AA8}"/>
          </ac:spMkLst>
        </pc:spChg>
        <pc:spChg chg="mod">
          <ac:chgData name="Merlin Gutter" userId="2abc6f04-74af-430b-bdc8-569c3bfa1dda" providerId="ADAL" clId="{CB1EFBC3-10F5-3048-8961-5969497C0019}" dt="2022-11-25T00:31:13.098" v="207012"/>
          <ac:spMkLst>
            <pc:docMk/>
            <pc:sldMk cId="1652728258" sldId="404"/>
            <ac:spMk id="4" creationId="{419A56F2-33FC-B13B-F824-5320C14683F0}"/>
          </ac:spMkLst>
        </pc:spChg>
        <pc:spChg chg="mod">
          <ac:chgData name="Merlin Gutter" userId="2abc6f04-74af-430b-bdc8-569c3bfa1dda" providerId="ADAL" clId="{CB1EFBC3-10F5-3048-8961-5969497C0019}" dt="2022-11-25T00:31:13.098" v="207013"/>
          <ac:spMkLst>
            <pc:docMk/>
            <pc:sldMk cId="1652728258" sldId="404"/>
            <ac:spMk id="5" creationId="{64E62B09-B628-9390-D8F1-925831825F25}"/>
          </ac:spMkLst>
        </pc:spChg>
        <pc:spChg chg="mod">
          <ac:chgData name="Merlin Gutter" userId="2abc6f04-74af-430b-bdc8-569c3bfa1dda" providerId="ADAL" clId="{CB1EFBC3-10F5-3048-8961-5969497C0019}" dt="2022-11-25T00:31:13.098" v="207014"/>
          <ac:spMkLst>
            <pc:docMk/>
            <pc:sldMk cId="1652728258" sldId="404"/>
            <ac:spMk id="6" creationId="{5CD15DEF-BD86-6BAD-F618-0FCA1640781D}"/>
          </ac:spMkLst>
        </pc:spChg>
        <pc:spChg chg="mod">
          <ac:chgData name="Merlin Gutter" userId="2abc6f04-74af-430b-bdc8-569c3bfa1dda" providerId="ADAL" clId="{CB1EFBC3-10F5-3048-8961-5969497C0019}" dt="2022-11-25T00:31:13.098" v="207015"/>
          <ac:spMkLst>
            <pc:docMk/>
            <pc:sldMk cId="1652728258" sldId="404"/>
            <ac:spMk id="9" creationId="{2E678CB3-6BF2-2C9B-867D-B0E0FC69D6D7}"/>
          </ac:spMkLst>
        </pc:spChg>
        <pc:spChg chg="mod">
          <ac:chgData name="Merlin Gutter" userId="2abc6f04-74af-430b-bdc8-569c3bfa1dda" providerId="ADAL" clId="{CB1EFBC3-10F5-3048-8961-5969497C0019}" dt="2022-11-25T00:31:13.102" v="207029"/>
          <ac:spMkLst>
            <pc:docMk/>
            <pc:sldMk cId="1652728258" sldId="404"/>
            <ac:spMk id="10" creationId="{A69180BC-3644-5C15-3220-B63028F819DB}"/>
          </ac:spMkLst>
        </pc:spChg>
        <pc:spChg chg="del mod">
          <ac:chgData name="Merlin Gutter" userId="2abc6f04-74af-430b-bdc8-569c3bfa1dda" providerId="ADAL" clId="{CB1EFBC3-10F5-3048-8961-5969497C0019}" dt="2022-11-24T19:34:58.826" v="131434"/>
          <ac:spMkLst>
            <pc:docMk/>
            <pc:sldMk cId="1652728258" sldId="404"/>
            <ac:spMk id="11" creationId="{448C2F5B-7B56-EA81-7317-7C71BF8466D2}"/>
          </ac:spMkLst>
        </pc:spChg>
        <pc:spChg chg="mod">
          <ac:chgData name="Merlin Gutter" userId="2abc6f04-74af-430b-bdc8-569c3bfa1dda" providerId="ADAL" clId="{CB1EFBC3-10F5-3048-8961-5969497C0019}" dt="2022-11-25T00:31:13.101" v="207026"/>
          <ac:spMkLst>
            <pc:docMk/>
            <pc:sldMk cId="1652728258" sldId="404"/>
            <ac:spMk id="12" creationId="{8187FEDB-0DF5-2D56-8275-39632EFA81B9}"/>
          </ac:spMkLst>
        </pc:spChg>
        <pc:spChg chg="add del mod modVis">
          <ac:chgData name="Merlin Gutter" userId="2abc6f04-74af-430b-bdc8-569c3bfa1dda" providerId="ADAL" clId="{CB1EFBC3-10F5-3048-8961-5969497C0019}" dt="2022-11-24T19:34:34.895" v="130858"/>
          <ac:spMkLst>
            <pc:docMk/>
            <pc:sldMk cId="1652728258" sldId="404"/>
            <ac:spMk id="13" creationId="{B220290F-ECAA-A582-B4A6-CDC054BDEE82}"/>
          </ac:spMkLst>
        </pc:spChg>
        <pc:spChg chg="del mod">
          <ac:chgData name="Merlin Gutter" userId="2abc6f04-74af-430b-bdc8-569c3bfa1dda" providerId="ADAL" clId="{CB1EFBC3-10F5-3048-8961-5969497C0019}" dt="2022-11-24T19:35:27.515" v="131890"/>
          <ac:spMkLst>
            <pc:docMk/>
            <pc:sldMk cId="1652728258" sldId="404"/>
            <ac:spMk id="14" creationId="{EBC22941-62DE-5516-18D5-C770B8E7D0D1}"/>
          </ac:spMkLst>
        </pc:spChg>
        <pc:spChg chg="mod">
          <ac:chgData name="Merlin Gutter" userId="2abc6f04-74af-430b-bdc8-569c3bfa1dda" providerId="ADAL" clId="{CB1EFBC3-10F5-3048-8961-5969497C0019}" dt="2022-11-25T00:31:13.100" v="207022"/>
          <ac:spMkLst>
            <pc:docMk/>
            <pc:sldMk cId="1652728258" sldId="404"/>
            <ac:spMk id="18" creationId="{51A28C8D-8FB5-AA80-CCE4-E59A68BF3C54}"/>
          </ac:spMkLst>
        </pc:spChg>
        <pc:spChg chg="mod">
          <ac:chgData name="Merlin Gutter" userId="2abc6f04-74af-430b-bdc8-569c3bfa1dda" providerId="ADAL" clId="{CB1EFBC3-10F5-3048-8961-5969497C0019}" dt="2022-11-25T00:31:13.100" v="207023"/>
          <ac:spMkLst>
            <pc:docMk/>
            <pc:sldMk cId="1652728258" sldId="404"/>
            <ac:spMk id="19" creationId="{BF839A0E-B22A-8B64-AEC4-6E08892B2C2F}"/>
          </ac:spMkLst>
        </pc:spChg>
        <pc:spChg chg="mod">
          <ac:chgData name="Merlin Gutter" userId="2abc6f04-74af-430b-bdc8-569c3bfa1dda" providerId="ADAL" clId="{CB1EFBC3-10F5-3048-8961-5969497C0019}" dt="2022-11-25T00:31:13.101" v="207025"/>
          <ac:spMkLst>
            <pc:docMk/>
            <pc:sldMk cId="1652728258" sldId="404"/>
            <ac:spMk id="20" creationId="{A41F3FA4-DBC7-F6C2-C305-C8D7FB46F1D0}"/>
          </ac:spMkLst>
        </pc:spChg>
        <pc:spChg chg="mod">
          <ac:chgData name="Merlin Gutter" userId="2abc6f04-74af-430b-bdc8-569c3bfa1dda" providerId="ADAL" clId="{CB1EFBC3-10F5-3048-8961-5969497C0019}" dt="2022-11-25T00:31:13.101" v="207024"/>
          <ac:spMkLst>
            <pc:docMk/>
            <pc:sldMk cId="1652728258" sldId="404"/>
            <ac:spMk id="21" creationId="{1D820BBF-F784-AE05-2809-5C665F3540F7}"/>
          </ac:spMkLst>
        </pc:spChg>
        <pc:spChg chg="add del mod modVis">
          <ac:chgData name="Merlin Gutter" userId="2abc6f04-74af-430b-bdc8-569c3bfa1dda" providerId="ADAL" clId="{CB1EFBC3-10F5-3048-8961-5969497C0019}" dt="2022-11-24T19:34:49.307" v="131031"/>
          <ac:spMkLst>
            <pc:docMk/>
            <pc:sldMk cId="1652728258" sldId="404"/>
            <ac:spMk id="22" creationId="{60D674DF-C52C-926F-7874-667589A84C36}"/>
          </ac:spMkLst>
        </pc:spChg>
        <pc:spChg chg="add del mod modVis">
          <ac:chgData name="Merlin Gutter" userId="2abc6f04-74af-430b-bdc8-569c3bfa1dda" providerId="ADAL" clId="{CB1EFBC3-10F5-3048-8961-5969497C0019}" dt="2022-11-24T19:34:50.655" v="131146"/>
          <ac:spMkLst>
            <pc:docMk/>
            <pc:sldMk cId="1652728258" sldId="404"/>
            <ac:spMk id="25" creationId="{6AB5B5FA-BA64-F0E7-803B-337BC94E18E5}"/>
          </ac:spMkLst>
        </pc:spChg>
        <pc:spChg chg="add del mod modVis">
          <ac:chgData name="Merlin Gutter" userId="2abc6f04-74af-430b-bdc8-569c3bfa1dda" providerId="ADAL" clId="{CB1EFBC3-10F5-3048-8961-5969497C0019}" dt="2022-11-24T19:34:51.445" v="131270"/>
          <ac:spMkLst>
            <pc:docMk/>
            <pc:sldMk cId="1652728258" sldId="404"/>
            <ac:spMk id="27" creationId="{03139008-C6C9-44B1-A144-CD73EB74A61D}"/>
          </ac:spMkLst>
        </pc:spChg>
        <pc:spChg chg="add del mod modVis">
          <ac:chgData name="Merlin Gutter" userId="2abc6f04-74af-430b-bdc8-569c3bfa1dda" providerId="ADAL" clId="{CB1EFBC3-10F5-3048-8961-5969497C0019}" dt="2022-11-24T19:34:53.159" v="131378"/>
          <ac:spMkLst>
            <pc:docMk/>
            <pc:sldMk cId="1652728258" sldId="404"/>
            <ac:spMk id="29" creationId="{2A34D920-0296-0D63-9BB6-F512E21C8FA7}"/>
          </ac:spMkLst>
        </pc:spChg>
        <pc:spChg chg="add del mod modVis">
          <ac:chgData name="Merlin Gutter" userId="2abc6f04-74af-430b-bdc8-569c3bfa1dda" providerId="ADAL" clId="{CB1EFBC3-10F5-3048-8961-5969497C0019}" dt="2022-11-24T19:35:06.704" v="131885"/>
          <ac:spMkLst>
            <pc:docMk/>
            <pc:sldMk cId="1652728258" sldId="404"/>
            <ac:spMk id="34" creationId="{80CEC354-0751-B825-1C2A-08A963D18A05}"/>
          </ac:spMkLst>
        </pc:spChg>
        <pc:spChg chg="add del mod replST">
          <ac:chgData name="Merlin Gutter" userId="2abc6f04-74af-430b-bdc8-569c3bfa1dda" providerId="ADAL" clId="{CB1EFBC3-10F5-3048-8961-5969497C0019}" dt="2022-11-25T00:09:34.558" v="191840"/>
          <ac:spMkLst>
            <pc:docMk/>
            <pc:sldMk cId="1652728258" sldId="404"/>
            <ac:spMk id="35" creationId="{E91ED981-2E93-2647-FF18-C5AACAB9A26B}"/>
          </ac:spMkLst>
        </pc:spChg>
        <pc:spChg chg="add del mod replST">
          <ac:chgData name="Merlin Gutter" userId="2abc6f04-74af-430b-bdc8-569c3bfa1dda" providerId="ADAL" clId="{CB1EFBC3-10F5-3048-8961-5969497C0019}" dt="2022-11-24T19:35:27.517" v="131892"/>
          <ac:spMkLst>
            <pc:docMk/>
            <pc:sldMk cId="1652728258" sldId="404"/>
            <ac:spMk id="36" creationId="{C99F90A1-C839-79FC-992F-123A188CCF65}"/>
          </ac:spMkLst>
        </pc:spChg>
        <pc:spChg chg="add del mod replST">
          <ac:chgData name="Merlin Gutter" userId="2abc6f04-74af-430b-bdc8-569c3bfa1dda" providerId="ADAL" clId="{CB1EFBC3-10F5-3048-8961-5969497C0019}" dt="2022-11-24T19:35:27.537" v="131902"/>
          <ac:spMkLst>
            <pc:docMk/>
            <pc:sldMk cId="1652728258" sldId="404"/>
            <ac:spMk id="37" creationId="{2A9C5F4D-039E-B821-06A7-DCF6BFBAFF1E}"/>
          </ac:spMkLst>
        </pc:spChg>
        <pc:spChg chg="add del mod replST">
          <ac:chgData name="Merlin Gutter" userId="2abc6f04-74af-430b-bdc8-569c3bfa1dda" providerId="ADAL" clId="{CB1EFBC3-10F5-3048-8961-5969497C0019}" dt="2022-11-25T00:09:23.840" v="191454"/>
          <ac:spMkLst>
            <pc:docMk/>
            <pc:sldMk cId="1652728258" sldId="404"/>
            <ac:spMk id="38" creationId="{4BD4F8F4-8842-5BA2-0E09-BD18F46AE267}"/>
          </ac:spMkLst>
        </pc:spChg>
        <pc:spChg chg="add del mod">
          <ac:chgData name="Merlin Gutter" userId="2abc6f04-74af-430b-bdc8-569c3bfa1dda" providerId="ADAL" clId="{CB1EFBC3-10F5-3048-8961-5969497C0019}" dt="2022-11-25T00:31:13.100" v="207019"/>
          <ac:spMkLst>
            <pc:docMk/>
            <pc:sldMk cId="1652728258" sldId="404"/>
            <ac:spMk id="40" creationId="{8953AF93-30CF-F8B2-9012-6801387C2179}"/>
          </ac:spMkLst>
        </pc:spChg>
        <pc:spChg chg="del mod">
          <ac:chgData name="Merlin Gutter" userId="2abc6f04-74af-430b-bdc8-569c3bfa1dda" providerId="ADAL" clId="{CB1EFBC3-10F5-3048-8961-5969497C0019}" dt="2022-11-24T19:35:27.509" v="131889"/>
          <ac:spMkLst>
            <pc:docMk/>
            <pc:sldMk cId="1652728258" sldId="404"/>
            <ac:spMk id="41" creationId="{EF6BCFA0-1144-3D7C-FFC3-8669D01E3F24}"/>
          </ac:spMkLst>
        </pc:spChg>
        <pc:spChg chg="add del mod">
          <ac:chgData name="Merlin Gutter" userId="2abc6f04-74af-430b-bdc8-569c3bfa1dda" providerId="ADAL" clId="{CB1EFBC3-10F5-3048-8961-5969497C0019}" dt="2022-11-25T00:31:13.100" v="207020"/>
          <ac:spMkLst>
            <pc:docMk/>
            <pc:sldMk cId="1652728258" sldId="404"/>
            <ac:spMk id="42" creationId="{5C95FB60-2EF5-E315-9D15-460009A108DC}"/>
          </ac:spMkLst>
        </pc:spChg>
        <pc:spChg chg="add del mod">
          <ac:chgData name="Merlin Gutter" userId="2abc6f04-74af-430b-bdc8-569c3bfa1dda" providerId="ADAL" clId="{CB1EFBC3-10F5-3048-8961-5969497C0019}" dt="2022-11-25T00:31:13.099" v="207018"/>
          <ac:spMkLst>
            <pc:docMk/>
            <pc:sldMk cId="1652728258" sldId="404"/>
            <ac:spMk id="43" creationId="{F0D535F8-1CF6-1D85-16E7-8E4787D4287E}"/>
          </ac:spMkLst>
        </pc:spChg>
        <pc:spChg chg="add del mod">
          <ac:chgData name="Merlin Gutter" userId="2abc6f04-74af-430b-bdc8-569c3bfa1dda" providerId="ADAL" clId="{CB1EFBC3-10F5-3048-8961-5969497C0019}" dt="2022-11-25T00:31:13.099" v="207017"/>
          <ac:spMkLst>
            <pc:docMk/>
            <pc:sldMk cId="1652728258" sldId="404"/>
            <ac:spMk id="44" creationId="{B6AE3E2F-04A8-FBD4-49A6-9E85BC4A4092}"/>
          </ac:spMkLst>
        </pc:spChg>
        <pc:spChg chg="add del mod">
          <ac:chgData name="Merlin Gutter" userId="2abc6f04-74af-430b-bdc8-569c3bfa1dda" providerId="ADAL" clId="{CB1EFBC3-10F5-3048-8961-5969497C0019}" dt="2022-11-25T00:31:13.100" v="207021"/>
          <ac:spMkLst>
            <pc:docMk/>
            <pc:sldMk cId="1652728258" sldId="404"/>
            <ac:spMk id="45" creationId="{FECC4799-D77E-26FB-0B38-F9CFAA26E813}"/>
          </ac:spMkLst>
        </pc:spChg>
        <pc:spChg chg="add del mod">
          <ac:chgData name="Merlin Gutter" userId="2abc6f04-74af-430b-bdc8-569c3bfa1dda" providerId="ADAL" clId="{CB1EFBC3-10F5-3048-8961-5969497C0019}" dt="2022-11-24T19:36:41.311" v="131975" actId="478"/>
          <ac:spMkLst>
            <pc:docMk/>
            <pc:sldMk cId="1652728258" sldId="404"/>
            <ac:spMk id="48" creationId="{FA38D6CF-FAA8-2EBB-D808-26BAAA9A2042}"/>
          </ac:spMkLst>
        </pc:spChg>
        <pc:spChg chg="add mod">
          <ac:chgData name="Merlin Gutter" userId="2abc6f04-74af-430b-bdc8-569c3bfa1dda" providerId="ADAL" clId="{CB1EFBC3-10F5-3048-8961-5969497C0019}" dt="2022-11-25T00:31:13.102" v="207030"/>
          <ac:spMkLst>
            <pc:docMk/>
            <pc:sldMk cId="1652728258" sldId="404"/>
            <ac:spMk id="49" creationId="{D94A86A6-B7E6-3BC3-9111-52AC795F98CA}"/>
          </ac:spMkLst>
        </pc:spChg>
        <pc:spChg chg="add del mod">
          <ac:chgData name="Merlin Gutter" userId="2abc6f04-74af-430b-bdc8-569c3bfa1dda" providerId="ADAL" clId="{CB1EFBC3-10F5-3048-8961-5969497C0019}" dt="2022-11-24T19:38:05.864" v="132009" actId="478"/>
          <ac:spMkLst>
            <pc:docMk/>
            <pc:sldMk cId="1652728258" sldId="404"/>
            <ac:spMk id="51" creationId="{1A817B38-E1DC-F19E-A5A0-B98379038C4F}"/>
          </ac:spMkLst>
        </pc:spChg>
        <pc:spChg chg="add mod">
          <ac:chgData name="Merlin Gutter" userId="2abc6f04-74af-430b-bdc8-569c3bfa1dda" providerId="ADAL" clId="{CB1EFBC3-10F5-3048-8961-5969497C0019}" dt="2022-11-25T00:31:13.102" v="207031"/>
          <ac:spMkLst>
            <pc:docMk/>
            <pc:sldMk cId="1652728258" sldId="404"/>
            <ac:spMk id="53" creationId="{DCC2F8B5-920E-F464-A85A-69BB4B6CF9F6}"/>
          </ac:spMkLst>
        </pc:spChg>
        <pc:spChg chg="add del mod modVis">
          <ac:chgData name="Merlin Gutter" userId="2abc6f04-74af-430b-bdc8-569c3bfa1dda" providerId="ADAL" clId="{CB1EFBC3-10F5-3048-8961-5969497C0019}" dt="2022-11-25T00:09:10.575" v="191207"/>
          <ac:spMkLst>
            <pc:docMk/>
            <pc:sldMk cId="1652728258" sldId="404"/>
            <ac:spMk id="54" creationId="{6A431A4A-8816-81B7-422D-77F3533CB47C}"/>
          </ac:spMkLst>
        </pc:spChg>
        <pc:spChg chg="del mod">
          <ac:chgData name="Merlin Gutter" userId="2abc6f04-74af-430b-bdc8-569c3bfa1dda" providerId="ADAL" clId="{CB1EFBC3-10F5-3048-8961-5969497C0019}" dt="2022-11-24T19:34:58.825" v="131430"/>
          <ac:spMkLst>
            <pc:docMk/>
            <pc:sldMk cId="1652728258" sldId="404"/>
            <ac:spMk id="55" creationId="{C6054ED8-FF62-C374-8C8A-6780AA98EC0C}"/>
          </ac:spMkLst>
        </pc:spChg>
        <pc:spChg chg="del mod">
          <ac:chgData name="Merlin Gutter" userId="2abc6f04-74af-430b-bdc8-569c3bfa1dda" providerId="ADAL" clId="{CB1EFBC3-10F5-3048-8961-5969497C0019}" dt="2022-11-24T19:34:58.826" v="131432"/>
          <ac:spMkLst>
            <pc:docMk/>
            <pc:sldMk cId="1652728258" sldId="404"/>
            <ac:spMk id="57" creationId="{7217858D-E136-4BB8-FCFF-3BA1B0678971}"/>
          </ac:spMkLst>
        </pc:spChg>
        <pc:spChg chg="del mod">
          <ac:chgData name="Merlin Gutter" userId="2abc6f04-74af-430b-bdc8-569c3bfa1dda" providerId="ADAL" clId="{CB1EFBC3-10F5-3048-8961-5969497C0019}" dt="2022-11-24T19:34:58.827" v="131436"/>
          <ac:spMkLst>
            <pc:docMk/>
            <pc:sldMk cId="1652728258" sldId="404"/>
            <ac:spMk id="58" creationId="{F740993E-9611-1272-6044-5736E4D07B72}"/>
          </ac:spMkLst>
        </pc:spChg>
        <pc:spChg chg="add del mod modVis">
          <ac:chgData name="Merlin Gutter" userId="2abc6f04-74af-430b-bdc8-569c3bfa1dda" providerId="ADAL" clId="{CB1EFBC3-10F5-3048-8961-5969497C0019}" dt="2022-11-25T00:09:19.988" v="191349"/>
          <ac:spMkLst>
            <pc:docMk/>
            <pc:sldMk cId="1652728258" sldId="404"/>
            <ac:spMk id="60" creationId="{65EAA0AA-C7B1-E652-DAB0-43C7AE964AA5}"/>
          </ac:spMkLst>
        </pc:spChg>
        <pc:spChg chg="add del mod modVis">
          <ac:chgData name="Merlin Gutter" userId="2abc6f04-74af-430b-bdc8-569c3bfa1dda" providerId="ADAL" clId="{CB1EFBC3-10F5-3048-8961-5969497C0019}" dt="2022-11-25T00:09:26.076" v="191651"/>
          <ac:spMkLst>
            <pc:docMk/>
            <pc:sldMk cId="1652728258" sldId="404"/>
            <ac:spMk id="65" creationId="{ED838F34-945A-3599-33CA-6608D374D61F}"/>
          </ac:spMkLst>
        </pc:spChg>
        <pc:spChg chg="add del mod replST">
          <ac:chgData name="Merlin Gutter" userId="2abc6f04-74af-430b-bdc8-569c3bfa1dda" providerId="ADAL" clId="{CB1EFBC3-10F5-3048-8961-5969497C0019}" dt="2022-11-25T00:09:33.803" v="191799"/>
          <ac:spMkLst>
            <pc:docMk/>
            <pc:sldMk cId="1652728258" sldId="404"/>
            <ac:spMk id="66" creationId="{B8EEEFCF-62FD-C256-18DF-14C932393722}"/>
          </ac:spMkLst>
        </pc:spChg>
        <pc:spChg chg="add del mod modVis">
          <ac:chgData name="Merlin Gutter" userId="2abc6f04-74af-430b-bdc8-569c3bfa1dda" providerId="ADAL" clId="{CB1EFBC3-10F5-3048-8961-5969497C0019}" dt="2022-11-25T00:09:45.147" v="192120"/>
          <ac:spMkLst>
            <pc:docMk/>
            <pc:sldMk cId="1652728258" sldId="404"/>
            <ac:spMk id="74" creationId="{31BC3E52-1756-BAFB-DDBE-FC26F1D91B96}"/>
          </ac:spMkLst>
        </pc:spChg>
        <pc:spChg chg="add del mod modVis">
          <ac:chgData name="Merlin Gutter" userId="2abc6f04-74af-430b-bdc8-569c3bfa1dda" providerId="ADAL" clId="{CB1EFBC3-10F5-3048-8961-5969497C0019}" dt="2022-11-25T00:09:48.035" v="192205"/>
          <ac:spMkLst>
            <pc:docMk/>
            <pc:sldMk cId="1652728258" sldId="404"/>
            <ac:spMk id="76" creationId="{CFA0347B-6935-D1CC-1708-5B77FD3F5EA3}"/>
          </ac:spMkLst>
        </pc:spChg>
        <pc:spChg chg="add del mod modVis">
          <ac:chgData name="Merlin Gutter" userId="2abc6f04-74af-430b-bdc8-569c3bfa1dda" providerId="ADAL" clId="{CB1EFBC3-10F5-3048-8961-5969497C0019}" dt="2022-11-25T00:09:51.576" v="192438"/>
          <ac:spMkLst>
            <pc:docMk/>
            <pc:sldMk cId="1652728258" sldId="404"/>
            <ac:spMk id="78" creationId="{0D82536F-2311-CCF3-9E6D-08A75767BCD5}"/>
          </ac:spMkLst>
        </pc:spChg>
        <pc:spChg chg="add del mod replST">
          <ac:chgData name="Merlin Gutter" userId="2abc6f04-74af-430b-bdc8-569c3bfa1dda" providerId="ADAL" clId="{CB1EFBC3-10F5-3048-8961-5969497C0019}" dt="2022-11-25T00:31:13.063" v="206997"/>
          <ac:spMkLst>
            <pc:docMk/>
            <pc:sldMk cId="1652728258" sldId="404"/>
            <ac:spMk id="79" creationId="{E87D6EF0-1A81-5F00-C636-A975B97B4162}"/>
          </ac:spMkLst>
        </pc:spChg>
        <pc:spChg chg="add del mod replST">
          <ac:chgData name="Merlin Gutter" userId="2abc6f04-74af-430b-bdc8-569c3bfa1dda" providerId="ADAL" clId="{CB1EFBC3-10F5-3048-8961-5969497C0019}" dt="2022-11-25T00:31:13.061" v="206995"/>
          <ac:spMkLst>
            <pc:docMk/>
            <pc:sldMk cId="1652728258" sldId="404"/>
            <ac:spMk id="80" creationId="{12A1B249-AEE8-B838-1452-DD4BA13E8D02}"/>
          </ac:spMkLst>
        </pc:spChg>
        <pc:graphicFrameChg chg="add del mod replST">
          <ac:chgData name="Merlin Gutter" userId="2abc6f04-74af-430b-bdc8-569c3bfa1dda" providerId="ADAL" clId="{CB1EFBC3-10F5-3048-8961-5969497C0019}" dt="2022-11-24T19:34:44.393" v="130889"/>
          <ac:graphicFrameMkLst>
            <pc:docMk/>
            <pc:sldMk cId="1652728258" sldId="404"/>
            <ac:graphicFrameMk id="15" creationId="{D11BFD99-691E-EDA4-908B-95AC4DF5FEE9}"/>
          </ac:graphicFrameMkLst>
        </pc:graphicFrameChg>
        <pc:graphicFrameChg chg="mod">
          <ac:chgData name="Merlin Gutter" userId="2abc6f04-74af-430b-bdc8-569c3bfa1dda" providerId="ADAL" clId="{CB1EFBC3-10F5-3048-8961-5969497C0019}" dt="2022-11-25T00:31:13.106" v="207036"/>
          <ac:graphicFrameMkLst>
            <pc:docMk/>
            <pc:sldMk cId="1652728258" sldId="404"/>
            <ac:graphicFrameMk id="16" creationId="{834B41B2-5D57-7823-F22B-40C9F502BD7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34:49.285" v="130995"/>
          <ac:graphicFrameMkLst>
            <pc:docMk/>
            <pc:sldMk cId="1652728258" sldId="404"/>
            <ac:graphicFrameMk id="17" creationId="{68B5DEBF-4ECF-5618-3A08-A8083B27A5C3}"/>
          </ac:graphicFrameMkLst>
        </pc:graphicFrameChg>
        <pc:graphicFrameChg chg="del">
          <ac:chgData name="Merlin Gutter" userId="2abc6f04-74af-430b-bdc8-569c3bfa1dda" providerId="ADAL" clId="{CB1EFBC3-10F5-3048-8961-5969497C0019}" dt="2022-11-24T19:34:34.867" v="130808"/>
          <ac:graphicFrameMkLst>
            <pc:docMk/>
            <pc:sldMk cId="1652728258" sldId="404"/>
            <ac:graphicFrameMk id="23" creationId="{E99A5D53-B8F8-E649-A181-4911DF5577C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34:50.635" v="131110"/>
          <ac:graphicFrameMkLst>
            <pc:docMk/>
            <pc:sldMk cId="1652728258" sldId="404"/>
            <ac:graphicFrameMk id="24" creationId="{B0A6D74E-88CF-2009-710D-EA47C46663D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34:51.423" v="131234"/>
          <ac:graphicFrameMkLst>
            <pc:docMk/>
            <pc:sldMk cId="1652728258" sldId="404"/>
            <ac:graphicFrameMk id="26" creationId="{8CAF2A0A-7A76-D711-DD30-A74C1AADD60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34:53.139" v="131342"/>
          <ac:graphicFrameMkLst>
            <pc:docMk/>
            <pc:sldMk cId="1652728258" sldId="404"/>
            <ac:graphicFrameMk id="28" creationId="{D42A055F-D57E-980B-6AC8-605A86AABC7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34:58.593" v="131392"/>
          <ac:graphicFrameMkLst>
            <pc:docMk/>
            <pc:sldMk cId="1652728258" sldId="404"/>
            <ac:graphicFrameMk id="30" creationId="{8B5BF217-A9A7-BF45-BBC5-FDF380EF98B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34:58.834" v="131444"/>
          <ac:graphicFrameMkLst>
            <pc:docMk/>
            <pc:sldMk cId="1652728258" sldId="404"/>
            <ac:graphicFrameMk id="31" creationId="{76058E34-08F1-3165-2125-402B4EC8B1F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35:03.170" v="131484"/>
          <ac:graphicFrameMkLst>
            <pc:docMk/>
            <pc:sldMk cId="1652728258" sldId="404"/>
            <ac:graphicFrameMk id="32" creationId="{B5E9F2BB-8028-60C5-2954-1FE65BD0D56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35:06.682" v="131849"/>
          <ac:graphicFrameMkLst>
            <pc:docMk/>
            <pc:sldMk cId="1652728258" sldId="404"/>
            <ac:graphicFrameMk id="33" creationId="{71BB6C24-4102-299A-A74C-6E6913FD23C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35:27.543" v="131904"/>
          <ac:graphicFrameMkLst>
            <pc:docMk/>
            <pc:sldMk cId="1652728258" sldId="404"/>
            <ac:graphicFrameMk id="39" creationId="{F8CA2F02-EA69-C17F-7579-F830A36E2B3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10.553" v="191174"/>
          <ac:graphicFrameMkLst>
            <pc:docMk/>
            <pc:sldMk cId="1652728258" sldId="404"/>
            <ac:graphicFrameMk id="46" creationId="{D30FCEC6-ECA0-6F1C-9FA6-C76EAA1D52A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12.505" v="191218"/>
          <ac:graphicFrameMkLst>
            <pc:docMk/>
            <pc:sldMk cId="1652728258" sldId="404"/>
            <ac:graphicFrameMk id="56" creationId="{FA4FCEE7-728A-F4B7-D503-012039050DB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19.966" v="191316"/>
          <ac:graphicFrameMkLst>
            <pc:docMk/>
            <pc:sldMk cId="1652728258" sldId="404"/>
            <ac:graphicFrameMk id="59" creationId="{63DD55A3-9D2B-589A-B5BD-DFEC0288E83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21.692" v="191360"/>
          <ac:graphicFrameMkLst>
            <pc:docMk/>
            <pc:sldMk cId="1652728258" sldId="404"/>
            <ac:graphicFrameMk id="61" creationId="{8E12237A-1D3F-9E95-A93E-8F1EC05A506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23.291" v="191413"/>
          <ac:graphicFrameMkLst>
            <pc:docMk/>
            <pc:sldMk cId="1652728258" sldId="404"/>
            <ac:graphicFrameMk id="62" creationId="{53062F01-FA09-7861-1673-9B4A0A00CFC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23.843" v="191456"/>
          <ac:graphicFrameMkLst>
            <pc:docMk/>
            <pc:sldMk cId="1652728258" sldId="404"/>
            <ac:graphicFrameMk id="63" creationId="{251BC5D3-524F-B677-C6EE-DCB2F03D997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26.054" v="191618"/>
          <ac:graphicFrameMkLst>
            <pc:docMk/>
            <pc:sldMk cId="1652728258" sldId="404"/>
            <ac:graphicFrameMk id="64" creationId="{4BACFB32-2630-DF81-8C59-A473C924A0C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27.387" v="191662"/>
          <ac:graphicFrameMkLst>
            <pc:docMk/>
            <pc:sldMk cId="1652728258" sldId="404"/>
            <ac:graphicFrameMk id="67" creationId="{EDA35884-AA2A-23E8-1333-A702B17C97A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28.928" v="191704"/>
          <ac:graphicFrameMkLst>
            <pc:docMk/>
            <pc:sldMk cId="1652728258" sldId="404"/>
            <ac:graphicFrameMk id="68" creationId="{AA479AF6-CF65-62E7-4C17-9F982BB501A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32.519" v="191746"/>
          <ac:graphicFrameMkLst>
            <pc:docMk/>
            <pc:sldMk cId="1652728258" sldId="404"/>
            <ac:graphicFrameMk id="69" creationId="{09AC8B8F-BB6F-9DC2-4336-9FF4271BBCB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33.804" v="191801"/>
          <ac:graphicFrameMkLst>
            <pc:docMk/>
            <pc:sldMk cId="1652728258" sldId="404"/>
            <ac:graphicFrameMk id="70" creationId="{274D830D-EFD4-1E52-5911-E9ABAB120FF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34.560" v="191842"/>
          <ac:graphicFrameMkLst>
            <pc:docMk/>
            <pc:sldMk cId="1652728258" sldId="404"/>
            <ac:graphicFrameMk id="71" creationId="{FB6A298F-6EF1-3D68-DF0D-E269731379F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38.270" v="191880"/>
          <ac:graphicFrameMkLst>
            <pc:docMk/>
            <pc:sldMk cId="1652728258" sldId="404"/>
            <ac:graphicFrameMk id="72" creationId="{9C3C02C4-BF03-F450-09FD-401BAEA2942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48.012" v="192174"/>
          <ac:graphicFrameMkLst>
            <pc:docMk/>
            <pc:sldMk cId="1652728258" sldId="404"/>
            <ac:graphicFrameMk id="73" creationId="{605CA63E-CC38-200D-DCB8-7FD8FBB57D3D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5T00:09:45.147" v="192120"/>
          <ac:graphicFrameMkLst>
            <pc:docMk/>
            <pc:sldMk cId="1652728258" sldId="404"/>
            <ac:graphicFrameMk id="75" creationId="{3E9DD625-B9A6-26ED-D293-F0BBB9BD80D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9:51.553" v="192405"/>
          <ac:graphicFrameMkLst>
            <pc:docMk/>
            <pc:sldMk cId="1652728258" sldId="404"/>
            <ac:graphicFrameMk id="77" creationId="{068403BA-8060-5603-A5EA-6720A77FE25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29:25.214" v="206888"/>
          <ac:graphicFrameMkLst>
            <pc:docMk/>
            <pc:sldMk cId="1652728258" sldId="404"/>
            <ac:graphicFrameMk id="81" creationId="{2BFEDA15-A242-7775-CA9C-4C0E1F0BE69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1:13.072" v="207004"/>
          <ac:graphicFrameMkLst>
            <pc:docMk/>
            <pc:sldMk cId="1652728258" sldId="404"/>
            <ac:graphicFrameMk id="82" creationId="{1C57850C-9207-ECE2-4228-F1360B7B02C1}"/>
          </ac:graphicFrameMkLst>
        </pc:graphicFrameChg>
        <pc:graphicFrameChg chg="add mod modGraphic">
          <ac:chgData name="Merlin Gutter" userId="2abc6f04-74af-430b-bdc8-569c3bfa1dda" providerId="ADAL" clId="{CB1EFBC3-10F5-3048-8961-5969497C0019}" dt="2022-11-25T00:31:45.700" v="207042" actId="2084"/>
          <ac:graphicFrameMkLst>
            <pc:docMk/>
            <pc:sldMk cId="1652728258" sldId="404"/>
            <ac:graphicFrameMk id="83" creationId="{EBB7D2B1-6671-0DA6-F56A-831B5935DD8D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5T00:31:13.099" v="207016"/>
          <ac:graphicFrameMkLst>
            <pc:docMk/>
            <pc:sldMk cId="1652728258" sldId="404"/>
            <ac:graphicFrameMk id="84" creationId="{2FFBB17E-30C4-CB93-1A1F-3662999728F5}"/>
          </ac:graphicFrameMkLst>
        </pc:graphicFrameChg>
        <pc:cxnChg chg="mod">
          <ac:chgData name="Merlin Gutter" userId="2abc6f04-74af-430b-bdc8-569c3bfa1dda" providerId="ADAL" clId="{CB1EFBC3-10F5-3048-8961-5969497C0019}" dt="2022-11-25T00:31:13.101" v="207027"/>
          <ac:cxnSpMkLst>
            <pc:docMk/>
            <pc:sldMk cId="1652728258" sldId="404"/>
            <ac:cxnSpMk id="7" creationId="{6CD833BF-6EC0-776C-5E18-9C96D0167D02}"/>
          </ac:cxnSpMkLst>
        </pc:cxnChg>
        <pc:cxnChg chg="mod">
          <ac:chgData name="Merlin Gutter" userId="2abc6f04-74af-430b-bdc8-569c3bfa1dda" providerId="ADAL" clId="{CB1EFBC3-10F5-3048-8961-5969497C0019}" dt="2022-11-25T00:31:13.101" v="207028"/>
          <ac:cxnSpMkLst>
            <pc:docMk/>
            <pc:sldMk cId="1652728258" sldId="404"/>
            <ac:cxnSpMk id="8" creationId="{F1396AF4-3FDF-FDB0-5EC0-E0CC39AFE9DA}"/>
          </ac:cxnSpMkLst>
        </pc:cxnChg>
      </pc:sldChg>
      <pc:sldChg chg="addSp delSp modSp add mod">
        <pc:chgData name="Merlin Gutter" userId="2abc6f04-74af-430b-bdc8-569c3bfa1dda" providerId="ADAL" clId="{CB1EFBC3-10F5-3048-8961-5969497C0019}" dt="2022-11-25T00:34:00.246" v="208192"/>
        <pc:sldMkLst>
          <pc:docMk/>
          <pc:sldMk cId="764108997" sldId="405"/>
        </pc:sldMkLst>
        <pc:spChg chg="mod">
          <ac:chgData name="Merlin Gutter" userId="2abc6f04-74af-430b-bdc8-569c3bfa1dda" providerId="ADAL" clId="{CB1EFBC3-10F5-3048-8961-5969497C0019}" dt="2022-11-25T00:34:00.235" v="208155"/>
          <ac:spMkLst>
            <pc:docMk/>
            <pc:sldMk cId="764108997" sldId="405"/>
            <ac:spMk id="2" creationId="{FDE3935B-E57A-CB5C-34D0-C80DA39CF76C}"/>
          </ac:spMkLst>
        </pc:spChg>
        <pc:spChg chg="mod">
          <ac:chgData name="Merlin Gutter" userId="2abc6f04-74af-430b-bdc8-569c3bfa1dda" providerId="ADAL" clId="{CB1EFBC3-10F5-3048-8961-5969497C0019}" dt="2022-11-25T00:34:00.235" v="208156"/>
          <ac:spMkLst>
            <pc:docMk/>
            <pc:sldMk cId="764108997" sldId="405"/>
            <ac:spMk id="3" creationId="{4820C2B2-B326-90CE-A63F-220D7C6F78E1}"/>
          </ac:spMkLst>
        </pc:spChg>
        <pc:spChg chg="mod">
          <ac:chgData name="Merlin Gutter" userId="2abc6f04-74af-430b-bdc8-569c3bfa1dda" providerId="ADAL" clId="{CB1EFBC3-10F5-3048-8961-5969497C0019}" dt="2022-11-25T00:34:00.235" v="208157"/>
          <ac:spMkLst>
            <pc:docMk/>
            <pc:sldMk cId="764108997" sldId="405"/>
            <ac:spMk id="4" creationId="{0FB084CA-5DFD-82E8-498D-9E28E23F72B8}"/>
          </ac:spMkLst>
        </pc:spChg>
        <pc:spChg chg="mod">
          <ac:chgData name="Merlin Gutter" userId="2abc6f04-74af-430b-bdc8-569c3bfa1dda" providerId="ADAL" clId="{CB1EFBC3-10F5-3048-8961-5969497C0019}" dt="2022-11-25T00:34:00.236" v="208158"/>
          <ac:spMkLst>
            <pc:docMk/>
            <pc:sldMk cId="764108997" sldId="405"/>
            <ac:spMk id="5" creationId="{FB1521A7-E973-8781-4339-C3EB06CC1CE6}"/>
          </ac:spMkLst>
        </pc:spChg>
        <pc:spChg chg="mod">
          <ac:chgData name="Merlin Gutter" userId="2abc6f04-74af-430b-bdc8-569c3bfa1dda" providerId="ADAL" clId="{CB1EFBC3-10F5-3048-8961-5969497C0019}" dt="2022-11-25T00:34:00.236" v="208159"/>
          <ac:spMkLst>
            <pc:docMk/>
            <pc:sldMk cId="764108997" sldId="405"/>
            <ac:spMk id="6" creationId="{90A2249E-7BEA-77C0-26D1-9DDD12E72E65}"/>
          </ac:spMkLst>
        </pc:spChg>
        <pc:spChg chg="add del mod modVis">
          <ac:chgData name="Merlin Gutter" userId="2abc6f04-74af-430b-bdc8-569c3bfa1dda" providerId="ADAL" clId="{CB1EFBC3-10F5-3048-8961-5969497C0019}" dt="2022-11-24T19:42:27.085" v="132209"/>
          <ac:spMkLst>
            <pc:docMk/>
            <pc:sldMk cId="764108997" sldId="405"/>
            <ac:spMk id="26" creationId="{CB786BF6-986B-D98E-6341-A641689968DA}"/>
          </ac:spMkLst>
        </pc:spChg>
        <pc:spChg chg="add del mod modVis">
          <ac:chgData name="Merlin Gutter" userId="2abc6f04-74af-430b-bdc8-569c3bfa1dda" providerId="ADAL" clId="{CB1EFBC3-10F5-3048-8961-5969497C0019}" dt="2022-11-25T00:05:20.510" v="188221"/>
          <ac:spMkLst>
            <pc:docMk/>
            <pc:sldMk cId="764108997" sldId="405"/>
            <ac:spMk id="31" creationId="{B86A4371-B4BC-EF26-77FF-AEC6BB4C6E1A}"/>
          </ac:spMkLst>
        </pc:spChg>
        <pc:spChg chg="add del mod modVis">
          <ac:chgData name="Merlin Gutter" userId="2abc6f04-74af-430b-bdc8-569c3bfa1dda" providerId="ADAL" clId="{CB1EFBC3-10F5-3048-8961-5969497C0019}" dt="2022-11-25T00:05:21.532" v="188362"/>
          <ac:spMkLst>
            <pc:docMk/>
            <pc:sldMk cId="764108997" sldId="405"/>
            <ac:spMk id="34" creationId="{15AAD375-C55E-1CC1-4E67-0602E42E83F1}"/>
          </ac:spMkLst>
        </pc:spChg>
        <pc:spChg chg="mod">
          <ac:chgData name="Merlin Gutter" userId="2abc6f04-74af-430b-bdc8-569c3bfa1dda" providerId="ADAL" clId="{CB1EFBC3-10F5-3048-8961-5969497C0019}" dt="2022-11-25T00:34:00.236" v="208160"/>
          <ac:spMkLst>
            <pc:docMk/>
            <pc:sldMk cId="764108997" sldId="405"/>
            <ac:spMk id="40" creationId="{A5F28EC5-A380-EB92-FF83-2AC093542811}"/>
          </ac:spMkLst>
        </pc:spChg>
        <pc:spChg chg="add del mod modVis">
          <ac:chgData name="Merlin Gutter" userId="2abc6f04-74af-430b-bdc8-569c3bfa1dda" providerId="ADAL" clId="{CB1EFBC3-10F5-3048-8961-5969497C0019}" dt="2022-11-25T00:05:22.736" v="188479"/>
          <ac:spMkLst>
            <pc:docMk/>
            <pc:sldMk cId="764108997" sldId="405"/>
            <ac:spMk id="43" creationId="{1A6D99F0-904F-61C1-E87A-06C89A104D0F}"/>
          </ac:spMkLst>
        </pc:spChg>
        <pc:spChg chg="add del mod">
          <ac:chgData name="Merlin Gutter" userId="2abc6f04-74af-430b-bdc8-569c3bfa1dda" providerId="ADAL" clId="{CB1EFBC3-10F5-3048-8961-5969497C0019}" dt="2022-11-25T00:34:00.242" v="208184"/>
          <ac:spMkLst>
            <pc:docMk/>
            <pc:sldMk cId="764108997" sldId="405"/>
            <ac:spMk id="45" creationId="{A192995B-9D3E-E540-2FB3-4F8D7419C3AA}"/>
          </ac:spMkLst>
        </pc:spChg>
        <pc:spChg chg="add del mod">
          <ac:chgData name="Merlin Gutter" userId="2abc6f04-74af-430b-bdc8-569c3bfa1dda" providerId="ADAL" clId="{CB1EFBC3-10F5-3048-8961-5969497C0019}" dt="2022-11-25T00:34:00.241" v="208180"/>
          <ac:spMkLst>
            <pc:docMk/>
            <pc:sldMk cId="764108997" sldId="405"/>
            <ac:spMk id="46" creationId="{5D723E7D-6C34-5187-7D20-2F5BCFE24E51}"/>
          </ac:spMkLst>
        </pc:spChg>
        <pc:spChg chg="add del mod">
          <ac:chgData name="Merlin Gutter" userId="2abc6f04-74af-430b-bdc8-569c3bfa1dda" providerId="ADAL" clId="{CB1EFBC3-10F5-3048-8961-5969497C0019}" dt="2022-11-25T00:34:00.242" v="208182"/>
          <ac:spMkLst>
            <pc:docMk/>
            <pc:sldMk cId="764108997" sldId="405"/>
            <ac:spMk id="47" creationId="{C449F2A9-44EC-4820-86E8-AD53644C7A57}"/>
          </ac:spMkLst>
        </pc:spChg>
        <pc:spChg chg="mod">
          <ac:chgData name="Merlin Gutter" userId="2abc6f04-74af-430b-bdc8-569c3bfa1dda" providerId="ADAL" clId="{CB1EFBC3-10F5-3048-8961-5969497C0019}" dt="2022-11-25T00:34:00.236" v="208161"/>
          <ac:spMkLst>
            <pc:docMk/>
            <pc:sldMk cId="764108997" sldId="405"/>
            <ac:spMk id="48" creationId="{45CA0CA3-79F2-C83F-53BE-17D42C48E1BA}"/>
          </ac:spMkLst>
        </pc:spChg>
        <pc:spChg chg="add del mod modVis">
          <ac:chgData name="Merlin Gutter" userId="2abc6f04-74af-430b-bdc8-569c3bfa1dda" providerId="ADAL" clId="{CB1EFBC3-10F5-3048-8961-5969497C0019}" dt="2022-11-25T00:05:25.111" v="188612"/>
          <ac:spMkLst>
            <pc:docMk/>
            <pc:sldMk cId="764108997" sldId="405"/>
            <ac:spMk id="50" creationId="{03E67691-8465-1865-9E7F-2B6815C09EC4}"/>
          </ac:spMkLst>
        </pc:spChg>
        <pc:spChg chg="add del mod modVis">
          <ac:chgData name="Merlin Gutter" userId="2abc6f04-74af-430b-bdc8-569c3bfa1dda" providerId="ADAL" clId="{CB1EFBC3-10F5-3048-8961-5969497C0019}" dt="2022-11-25T00:05:36.023" v="188768"/>
          <ac:spMkLst>
            <pc:docMk/>
            <pc:sldMk cId="764108997" sldId="405"/>
            <ac:spMk id="53" creationId="{BD986CBF-8D74-AF29-1778-FC8B558856EE}"/>
          </ac:spMkLst>
        </pc:spChg>
        <pc:spChg chg="add del mod">
          <ac:chgData name="Merlin Gutter" userId="2abc6f04-74af-430b-bdc8-569c3bfa1dda" providerId="ADAL" clId="{CB1EFBC3-10F5-3048-8961-5969497C0019}" dt="2022-11-25T00:34:00.241" v="208177"/>
          <ac:spMkLst>
            <pc:docMk/>
            <pc:sldMk cId="764108997" sldId="405"/>
            <ac:spMk id="64" creationId="{2C83D311-B780-BE8E-4490-70D46F7ECC59}"/>
          </ac:spMkLst>
        </pc:spChg>
        <pc:spChg chg="add del mod">
          <ac:chgData name="Merlin Gutter" userId="2abc6f04-74af-430b-bdc8-569c3bfa1dda" providerId="ADAL" clId="{CB1EFBC3-10F5-3048-8961-5969497C0019}" dt="2022-11-25T00:34:00.240" v="208175"/>
          <ac:spMkLst>
            <pc:docMk/>
            <pc:sldMk cId="764108997" sldId="405"/>
            <ac:spMk id="65" creationId="{11CAD2A2-86C9-7DB0-FBBA-E0749CBB57F0}"/>
          </ac:spMkLst>
        </pc:spChg>
        <pc:spChg chg="add del mod">
          <ac:chgData name="Merlin Gutter" userId="2abc6f04-74af-430b-bdc8-569c3bfa1dda" providerId="ADAL" clId="{CB1EFBC3-10F5-3048-8961-5969497C0019}" dt="2022-11-25T00:34:00.240" v="208173"/>
          <ac:spMkLst>
            <pc:docMk/>
            <pc:sldMk cId="764108997" sldId="405"/>
            <ac:spMk id="66" creationId="{F247B305-C8DD-5D49-6A81-CB9FA2D0A5EA}"/>
          </ac:spMkLst>
        </pc:spChg>
        <pc:spChg chg="add del mod modVis">
          <ac:chgData name="Merlin Gutter" userId="2abc6f04-74af-430b-bdc8-569c3bfa1dda" providerId="ADAL" clId="{CB1EFBC3-10F5-3048-8961-5969497C0019}" dt="2022-11-25T00:05:48.499" v="189387"/>
          <ac:spMkLst>
            <pc:docMk/>
            <pc:sldMk cId="764108997" sldId="405"/>
            <ac:spMk id="67" creationId="{64C6BF02-67BB-EA86-8101-4C0EC5C0AB1C}"/>
          </ac:spMkLst>
        </pc:spChg>
        <pc:spChg chg="del mod">
          <ac:chgData name="Merlin Gutter" userId="2abc6f04-74af-430b-bdc8-569c3bfa1dda" providerId="ADAL" clId="{CB1EFBC3-10F5-3048-8961-5969497C0019}" dt="2022-11-25T00:05:44.890" v="189079"/>
          <ac:spMkLst>
            <pc:docMk/>
            <pc:sldMk cId="764108997" sldId="405"/>
            <ac:spMk id="68" creationId="{E008829A-6E9E-559B-2C3D-D25693B4D2D3}"/>
          </ac:spMkLst>
        </pc:spChg>
        <pc:spChg chg="del mod">
          <ac:chgData name="Merlin Gutter" userId="2abc6f04-74af-430b-bdc8-569c3bfa1dda" providerId="ADAL" clId="{CB1EFBC3-10F5-3048-8961-5969497C0019}" dt="2022-11-25T00:05:46.763" v="189256"/>
          <ac:spMkLst>
            <pc:docMk/>
            <pc:sldMk cId="764108997" sldId="405"/>
            <ac:spMk id="69" creationId="{09D919D5-6E61-F138-2F22-4D27BCF770F3}"/>
          </ac:spMkLst>
        </pc:spChg>
        <pc:spChg chg="del mod">
          <ac:chgData name="Merlin Gutter" userId="2abc6f04-74af-430b-bdc8-569c3bfa1dda" providerId="ADAL" clId="{CB1EFBC3-10F5-3048-8961-5969497C0019}" dt="2022-11-25T00:05:39.328" v="188890"/>
          <ac:spMkLst>
            <pc:docMk/>
            <pc:sldMk cId="764108997" sldId="405"/>
            <ac:spMk id="70" creationId="{9105FF0F-CF4F-86B8-4A8D-A534B2CF84CD}"/>
          </ac:spMkLst>
        </pc:spChg>
        <pc:spChg chg="del mod">
          <ac:chgData name="Merlin Gutter" userId="2abc6f04-74af-430b-bdc8-569c3bfa1dda" providerId="ADAL" clId="{CB1EFBC3-10F5-3048-8961-5969497C0019}" dt="2022-11-25T00:05:39.328" v="188888"/>
          <ac:spMkLst>
            <pc:docMk/>
            <pc:sldMk cId="764108997" sldId="405"/>
            <ac:spMk id="71" creationId="{0EA4E08E-7EA4-BD83-305C-A5B9FA5ADBC6}"/>
          </ac:spMkLst>
        </pc:spChg>
        <pc:spChg chg="add del mod modVis">
          <ac:chgData name="Merlin Gutter" userId="2abc6f04-74af-430b-bdc8-569c3bfa1dda" providerId="ADAL" clId="{CB1EFBC3-10F5-3048-8961-5969497C0019}" dt="2022-11-25T00:05:57.047" v="189704"/>
          <ac:spMkLst>
            <pc:docMk/>
            <pc:sldMk cId="764108997" sldId="405"/>
            <ac:spMk id="74" creationId="{CD096082-DE1B-0882-D580-67370FEAC048}"/>
          </ac:spMkLst>
        </pc:spChg>
        <pc:spChg chg="add del mod modVis">
          <ac:chgData name="Merlin Gutter" userId="2abc6f04-74af-430b-bdc8-569c3bfa1dda" providerId="ADAL" clId="{CB1EFBC3-10F5-3048-8961-5969497C0019}" dt="2022-11-25T00:06:01.476" v="190110"/>
          <ac:spMkLst>
            <pc:docMk/>
            <pc:sldMk cId="764108997" sldId="405"/>
            <ac:spMk id="77" creationId="{D0F205F4-A153-BBDC-2C3C-C304485FE621}"/>
          </ac:spMkLst>
        </pc:spChg>
        <pc:spChg chg="add del mod replST">
          <ac:chgData name="Merlin Gutter" userId="2abc6f04-74af-430b-bdc8-569c3bfa1dda" providerId="ADAL" clId="{CB1EFBC3-10F5-3048-8961-5969497C0019}" dt="2022-11-25T00:08:25.669" v="190622"/>
          <ac:spMkLst>
            <pc:docMk/>
            <pc:sldMk cId="764108997" sldId="405"/>
            <ac:spMk id="78" creationId="{E8023FB3-5170-D4D3-449A-F424EBE366DE}"/>
          </ac:spMkLst>
        </pc:spChg>
        <pc:spChg chg="add del mod replST">
          <ac:chgData name="Merlin Gutter" userId="2abc6f04-74af-430b-bdc8-569c3bfa1dda" providerId="ADAL" clId="{CB1EFBC3-10F5-3048-8961-5969497C0019}" dt="2022-11-25T00:08:32.390" v="191013"/>
          <ac:spMkLst>
            <pc:docMk/>
            <pc:sldMk cId="764108997" sldId="405"/>
            <ac:spMk id="79" creationId="{9524C37A-6970-7A04-F9E4-0413BBA1FA40}"/>
          </ac:spMkLst>
        </pc:spChg>
        <pc:spChg chg="add del mod replST">
          <ac:chgData name="Merlin Gutter" userId="2abc6f04-74af-430b-bdc8-569c3bfa1dda" providerId="ADAL" clId="{CB1EFBC3-10F5-3048-8961-5969497C0019}" dt="2022-11-25T00:08:27.208" v="190768"/>
          <ac:spMkLst>
            <pc:docMk/>
            <pc:sldMk cId="764108997" sldId="405"/>
            <ac:spMk id="80" creationId="{8B4E7D06-970F-19C4-50BD-4D1A2DA9151A}"/>
          </ac:spMkLst>
        </pc:spChg>
        <pc:spChg chg="mod">
          <ac:chgData name="Merlin Gutter" userId="2abc6f04-74af-430b-bdc8-569c3bfa1dda" providerId="ADAL" clId="{CB1EFBC3-10F5-3048-8961-5969497C0019}" dt="2022-11-25T00:34:00.243" v="208185"/>
          <ac:spMkLst>
            <pc:docMk/>
            <pc:sldMk cId="764108997" sldId="405"/>
            <ac:spMk id="81" creationId="{2D96DA5E-EC64-6B61-F652-8F4FE731423B}"/>
          </ac:spMkLst>
        </pc:spChg>
        <pc:spChg chg="add del mod replST">
          <ac:chgData name="Merlin Gutter" userId="2abc6f04-74af-430b-bdc8-569c3bfa1dda" providerId="ADAL" clId="{CB1EFBC3-10F5-3048-8961-5969497C0019}" dt="2022-11-25T00:08:30.181" v="190897"/>
          <ac:spMkLst>
            <pc:docMk/>
            <pc:sldMk cId="764108997" sldId="405"/>
            <ac:spMk id="82" creationId="{B2604B6C-73BE-A1F3-3E4F-88C198704A84}"/>
          </ac:spMkLst>
        </pc:spChg>
        <pc:spChg chg="add del mod">
          <ac:chgData name="Merlin Gutter" userId="2abc6f04-74af-430b-bdc8-569c3bfa1dda" providerId="ADAL" clId="{CB1EFBC3-10F5-3048-8961-5969497C0019}" dt="2022-11-25T00:06:18.576" v="190173"/>
          <ac:spMkLst>
            <pc:docMk/>
            <pc:sldMk cId="764108997" sldId="405"/>
            <ac:spMk id="85" creationId="{FA6446C8-F3DB-451A-8D97-B6322F5C17DD}"/>
          </ac:spMkLst>
        </pc:spChg>
        <pc:spChg chg="mod">
          <ac:chgData name="Merlin Gutter" userId="2abc6f04-74af-430b-bdc8-569c3bfa1dda" providerId="ADAL" clId="{CB1EFBC3-10F5-3048-8961-5969497C0019}" dt="2022-11-25T00:34:00.235" v="208154"/>
          <ac:spMkLst>
            <pc:docMk/>
            <pc:sldMk cId="764108997" sldId="405"/>
            <ac:spMk id="87" creationId="{9DB41C66-62C3-64FA-CACE-3428DA38F6E2}"/>
          </ac:spMkLst>
        </pc:spChg>
        <pc:spChg chg="add del mod modVis">
          <ac:chgData name="Merlin Gutter" userId="2abc6f04-74af-430b-bdc8-569c3bfa1dda" providerId="ADAL" clId="{CB1EFBC3-10F5-3048-8961-5969497C0019}" dt="2022-11-25T00:32:55.076" v="207530"/>
          <ac:spMkLst>
            <pc:docMk/>
            <pc:sldMk cId="764108997" sldId="405"/>
            <ac:spMk id="108" creationId="{7A3B1A59-0317-6EA2-75E0-BDD5FA35F421}"/>
          </ac:spMkLst>
        </pc:spChg>
        <pc:spChg chg="add del mod replST">
          <ac:chgData name="Merlin Gutter" userId="2abc6f04-74af-430b-bdc8-569c3bfa1dda" providerId="ADAL" clId="{CB1EFBC3-10F5-3048-8961-5969497C0019}" dt="2022-11-25T00:33:15.358" v="207542"/>
          <ac:spMkLst>
            <pc:docMk/>
            <pc:sldMk cId="764108997" sldId="405"/>
            <ac:spMk id="109" creationId="{788E4DFE-E180-B8FE-19E7-EB2D180FF805}"/>
          </ac:spMkLst>
        </pc:spChg>
        <pc:spChg chg="add del mod replST">
          <ac:chgData name="Merlin Gutter" userId="2abc6f04-74af-430b-bdc8-569c3bfa1dda" providerId="ADAL" clId="{CB1EFBC3-10F5-3048-8961-5969497C0019}" dt="2022-11-25T00:33:15.357" v="207538"/>
          <ac:spMkLst>
            <pc:docMk/>
            <pc:sldMk cId="764108997" sldId="405"/>
            <ac:spMk id="110" creationId="{DDF3BAD1-C692-E862-580F-62059E7D4FC3}"/>
          </ac:spMkLst>
        </pc:spChg>
        <pc:spChg chg="add del mod replST">
          <ac:chgData name="Merlin Gutter" userId="2abc6f04-74af-430b-bdc8-569c3bfa1dda" providerId="ADAL" clId="{CB1EFBC3-10F5-3048-8961-5969497C0019}" dt="2022-11-25T00:33:15.358" v="207540"/>
          <ac:spMkLst>
            <pc:docMk/>
            <pc:sldMk cId="764108997" sldId="405"/>
            <ac:spMk id="111" creationId="{60DF2B69-80E4-4712-7A68-364ECEC5F894}"/>
          </ac:spMkLst>
        </pc:spChg>
        <pc:spChg chg="add del mod replST">
          <ac:chgData name="Merlin Gutter" userId="2abc6f04-74af-430b-bdc8-569c3bfa1dda" providerId="ADAL" clId="{CB1EFBC3-10F5-3048-8961-5969497C0019}" dt="2022-11-25T00:33:15.355" v="207536"/>
          <ac:spMkLst>
            <pc:docMk/>
            <pc:sldMk cId="764108997" sldId="405"/>
            <ac:spMk id="112" creationId="{1D5A98FA-7CDE-1007-BEDB-CA9861C9139B}"/>
          </ac:spMkLst>
        </pc:spChg>
        <pc:spChg chg="add del mod modVis">
          <ac:chgData name="Merlin Gutter" userId="2abc6f04-74af-430b-bdc8-569c3bfa1dda" providerId="ADAL" clId="{CB1EFBC3-10F5-3048-8961-5969497C0019}" dt="2022-11-25T00:33:41.261" v="207788"/>
          <ac:spMkLst>
            <pc:docMk/>
            <pc:sldMk cId="764108997" sldId="405"/>
            <ac:spMk id="117" creationId="{DE6EF613-C985-6269-F047-F7E991F65C8B}"/>
          </ac:spMkLst>
        </pc:spChg>
        <pc:spChg chg="add del mod modVis">
          <ac:chgData name="Merlin Gutter" userId="2abc6f04-74af-430b-bdc8-569c3bfa1dda" providerId="ADAL" clId="{CB1EFBC3-10F5-3048-8961-5969497C0019}" dt="2022-11-25T00:33:44.760" v="207879"/>
          <ac:spMkLst>
            <pc:docMk/>
            <pc:sldMk cId="764108997" sldId="405"/>
            <ac:spMk id="119" creationId="{42CC81C8-362F-794D-0567-6F1EC1D6662E}"/>
          </ac:spMkLst>
        </pc:spChg>
        <pc:spChg chg="add del mod replST">
          <ac:chgData name="Merlin Gutter" userId="2abc6f04-74af-430b-bdc8-569c3bfa1dda" providerId="ADAL" clId="{CB1EFBC3-10F5-3048-8961-5969497C0019}" dt="2022-11-25T00:33:54.607" v="208041"/>
          <ac:spMkLst>
            <pc:docMk/>
            <pc:sldMk cId="764108997" sldId="405"/>
            <ac:spMk id="121" creationId="{99986F18-B3B7-15A3-B3BC-2A434429E6F0}"/>
          </ac:spMkLst>
        </pc:spChg>
        <pc:spChg chg="add del mod modVis">
          <ac:chgData name="Merlin Gutter" userId="2abc6f04-74af-430b-bdc8-569c3bfa1dda" providerId="ADAL" clId="{CB1EFBC3-10F5-3048-8961-5969497C0019}" dt="2022-11-25T00:33:52.275" v="208031"/>
          <ac:spMkLst>
            <pc:docMk/>
            <pc:sldMk cId="764108997" sldId="405"/>
            <ac:spMk id="122" creationId="{1D3A0CB6-13C5-118F-F5AC-2505A279B0B7}"/>
          </ac:spMkLst>
        </pc:spChg>
        <pc:spChg chg="add del mod modVis">
          <ac:chgData name="Merlin Gutter" userId="2abc6f04-74af-430b-bdc8-569c3bfa1dda" providerId="ADAL" clId="{CB1EFBC3-10F5-3048-8961-5969497C0019}" dt="2022-11-25T00:34:00.244" v="208190"/>
          <ac:spMkLst>
            <pc:docMk/>
            <pc:sldMk cId="764108997" sldId="405"/>
            <ac:spMk id="125" creationId="{AF0FFC14-C580-D8A4-50C4-3094F99EF9C5}"/>
          </ac:spMkLst>
        </pc:spChg>
        <pc:spChg chg="add del mod">
          <ac:chgData name="Merlin Gutter" userId="2abc6f04-74af-430b-bdc8-569c3bfa1dda" providerId="ADAL" clId="{CB1EFBC3-10F5-3048-8961-5969497C0019}" dt="2022-11-25T00:34:00.242" v="208181"/>
          <ac:spMkLst>
            <pc:docMk/>
            <pc:sldMk cId="764108997" sldId="405"/>
            <ac:spMk id="1940" creationId="{DA4E2485-907A-8644-EFEF-4C27FA91C2AA}"/>
          </ac:spMkLst>
        </pc:spChg>
        <pc:spChg chg="add del mod">
          <ac:chgData name="Merlin Gutter" userId="2abc6f04-74af-430b-bdc8-569c3bfa1dda" providerId="ADAL" clId="{CB1EFBC3-10F5-3048-8961-5969497C0019}" dt="2022-11-25T00:34:00.241" v="208179"/>
          <ac:spMkLst>
            <pc:docMk/>
            <pc:sldMk cId="764108997" sldId="405"/>
            <ac:spMk id="1946" creationId="{B94F65D4-1A55-A124-0BF2-6115FB24543D}"/>
          </ac:spMkLst>
        </pc:spChg>
        <pc:spChg chg="add del mod">
          <ac:chgData name="Merlin Gutter" userId="2abc6f04-74af-430b-bdc8-569c3bfa1dda" providerId="ADAL" clId="{CB1EFBC3-10F5-3048-8961-5969497C0019}" dt="2022-11-25T00:34:00.242" v="208183"/>
          <ac:spMkLst>
            <pc:docMk/>
            <pc:sldMk cId="764108997" sldId="405"/>
            <ac:spMk id="1951" creationId="{9E82E0DD-5718-F69C-359D-2F2B27BACB64}"/>
          </ac:spMkLst>
        </pc:spChg>
        <pc:spChg chg="add del mod">
          <ac:chgData name="Merlin Gutter" userId="2abc6f04-74af-430b-bdc8-569c3bfa1dda" providerId="ADAL" clId="{CB1EFBC3-10F5-3048-8961-5969497C0019}" dt="2022-11-25T00:34:00.240" v="208174"/>
          <ac:spMkLst>
            <pc:docMk/>
            <pc:sldMk cId="764108997" sldId="405"/>
            <ac:spMk id="1981" creationId="{15D6A983-0F1E-9F92-C0F7-CE738691772C}"/>
          </ac:spMkLst>
        </pc:spChg>
        <pc:spChg chg="add del mod">
          <ac:chgData name="Merlin Gutter" userId="2abc6f04-74af-430b-bdc8-569c3bfa1dda" providerId="ADAL" clId="{CB1EFBC3-10F5-3048-8961-5969497C0019}" dt="2022-11-25T00:34:00.241" v="208178"/>
          <ac:spMkLst>
            <pc:docMk/>
            <pc:sldMk cId="764108997" sldId="405"/>
            <ac:spMk id="1982" creationId="{906D4B9A-ED4B-CCC3-B835-8C7D2491E3B3}"/>
          </ac:spMkLst>
        </pc:spChg>
        <pc:spChg chg="add del mod">
          <ac:chgData name="Merlin Gutter" userId="2abc6f04-74af-430b-bdc8-569c3bfa1dda" providerId="ADAL" clId="{CB1EFBC3-10F5-3048-8961-5969497C0019}" dt="2022-11-25T00:34:00.240" v="208176"/>
          <ac:spMkLst>
            <pc:docMk/>
            <pc:sldMk cId="764108997" sldId="405"/>
            <ac:spMk id="1983" creationId="{BBE2D43E-5BFA-0E7B-D394-8EA9A4D02660}"/>
          </ac:spMkLst>
        </pc:spChg>
        <pc:spChg chg="mod">
          <ac:chgData name="Merlin Gutter" userId="2abc6f04-74af-430b-bdc8-569c3bfa1dda" providerId="ADAL" clId="{CB1EFBC3-10F5-3048-8961-5969497C0019}" dt="2022-11-25T00:34:00.239" v="208171"/>
          <ac:spMkLst>
            <pc:docMk/>
            <pc:sldMk cId="764108997" sldId="405"/>
            <ac:spMk id="2169" creationId="{D5312260-CB52-B673-3B12-FA866611CD17}"/>
          </ac:spMkLst>
        </pc:spChg>
        <pc:grpChg chg="mod">
          <ac:chgData name="Merlin Gutter" userId="2abc6f04-74af-430b-bdc8-569c3bfa1dda" providerId="ADAL" clId="{CB1EFBC3-10F5-3048-8961-5969497C0019}" dt="2022-11-25T00:34:00.238" v="208166"/>
          <ac:grpSpMkLst>
            <pc:docMk/>
            <pc:sldMk cId="764108997" sldId="405"/>
            <ac:grpSpMk id="13" creationId="{8BEFBFC9-44C6-0D27-910B-21645A8B880D}"/>
          </ac:grpSpMkLst>
        </pc:grpChg>
        <pc:grpChg chg="mod">
          <ac:chgData name="Merlin Gutter" userId="2abc6f04-74af-430b-bdc8-569c3bfa1dda" providerId="ADAL" clId="{CB1EFBC3-10F5-3048-8961-5969497C0019}" dt="2022-11-25T00:34:00.237" v="208162"/>
          <ac:grpSpMkLst>
            <pc:docMk/>
            <pc:sldMk cId="764108997" sldId="405"/>
            <ac:grpSpMk id="14" creationId="{7E5406B6-C6BE-AE3F-701D-D8816BCC8B0C}"/>
          </ac:grpSpMkLst>
        </pc:grpChg>
        <pc:grpChg chg="mod">
          <ac:chgData name="Merlin Gutter" userId="2abc6f04-74af-430b-bdc8-569c3bfa1dda" providerId="ADAL" clId="{CB1EFBC3-10F5-3048-8961-5969497C0019}" dt="2022-11-25T00:34:00.237" v="208165"/>
          <ac:grpSpMkLst>
            <pc:docMk/>
            <pc:sldMk cId="764108997" sldId="405"/>
            <ac:grpSpMk id="15" creationId="{653C55EE-3A17-4A64-A947-90688B5DDB42}"/>
          </ac:grpSpMkLst>
        </pc:grpChg>
        <pc:grpChg chg="mod">
          <ac:chgData name="Merlin Gutter" userId="2abc6f04-74af-430b-bdc8-569c3bfa1dda" providerId="ADAL" clId="{CB1EFBC3-10F5-3048-8961-5969497C0019}" dt="2022-11-25T00:34:00.237" v="208164"/>
          <ac:grpSpMkLst>
            <pc:docMk/>
            <pc:sldMk cId="764108997" sldId="405"/>
            <ac:grpSpMk id="18" creationId="{8D22FA1C-C709-EA3C-F4B8-EC848BB7CED5}"/>
          </ac:grpSpMkLst>
        </pc:grpChg>
        <pc:grpChg chg="mod">
          <ac:chgData name="Merlin Gutter" userId="2abc6f04-74af-430b-bdc8-569c3bfa1dda" providerId="ADAL" clId="{CB1EFBC3-10F5-3048-8961-5969497C0019}" dt="2022-11-25T00:34:00.237" v="208163"/>
          <ac:grpSpMkLst>
            <pc:docMk/>
            <pc:sldMk cId="764108997" sldId="405"/>
            <ac:grpSpMk id="21" creationId="{BF17FEB8-5140-CAC1-D14E-C5ABD20FB94C}"/>
          </ac:grpSpMkLst>
        </pc:grpChg>
        <pc:grpChg chg="mod">
          <ac:chgData name="Merlin Gutter" userId="2abc6f04-74af-430b-bdc8-569c3bfa1dda" providerId="ADAL" clId="{CB1EFBC3-10F5-3048-8961-5969497C0019}" dt="2022-11-25T00:34:00.238" v="208168"/>
          <ac:grpSpMkLst>
            <pc:docMk/>
            <pc:sldMk cId="764108997" sldId="405"/>
            <ac:grpSpMk id="2159" creationId="{299781C7-1F31-9A46-3365-D58D1CD52529}"/>
          </ac:grpSpMkLst>
        </pc:grpChg>
        <pc:grpChg chg="mod">
          <ac:chgData name="Merlin Gutter" userId="2abc6f04-74af-430b-bdc8-569c3bfa1dda" providerId="ADAL" clId="{CB1EFBC3-10F5-3048-8961-5969497C0019}" dt="2022-11-25T00:34:00.238" v="208167"/>
          <ac:grpSpMkLst>
            <pc:docMk/>
            <pc:sldMk cId="764108997" sldId="405"/>
            <ac:grpSpMk id="2160" creationId="{7EA26B9C-5669-6864-AE72-BD3DB940C33A}"/>
          </ac:grpSpMkLst>
        </pc:grpChg>
        <pc:graphicFrameChg chg="add del mod replST">
          <ac:chgData name="Merlin Gutter" userId="2abc6f04-74af-430b-bdc8-569c3bfa1dda" providerId="ADAL" clId="{CB1EFBC3-10F5-3048-8961-5969497C0019}" dt="2022-11-25T00:05:20.472" v="188175"/>
          <ac:graphicFrameMkLst>
            <pc:docMk/>
            <pc:sldMk cId="764108997" sldId="405"/>
            <ac:graphicFrameMk id="30" creationId="{8B30132D-B646-195B-5406-4590706F8FC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21.493" v="188316"/>
          <ac:graphicFrameMkLst>
            <pc:docMk/>
            <pc:sldMk cId="764108997" sldId="405"/>
            <ac:graphicFrameMk id="32" creationId="{21DCCCA8-67E3-D018-A6A3-65D2A928787C}"/>
          </ac:graphicFrameMkLst>
        </pc:graphicFrameChg>
        <pc:graphicFrameChg chg="mod">
          <ac:chgData name="Merlin Gutter" userId="2abc6f04-74af-430b-bdc8-569c3bfa1dda" providerId="ADAL" clId="{CB1EFBC3-10F5-3048-8961-5969497C0019}" dt="2022-11-25T00:34:00.246" v="208192"/>
          <ac:graphicFrameMkLst>
            <pc:docMk/>
            <pc:sldMk cId="764108997" sldId="405"/>
            <ac:graphicFrameMk id="33" creationId="{8376C383-093F-71E7-8E14-23D20051611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22.697" v="188433"/>
          <ac:graphicFrameMkLst>
            <pc:docMk/>
            <pc:sldMk cId="764108997" sldId="405"/>
            <ac:graphicFrameMk id="42" creationId="{3205FB53-0532-A2A0-1928-634F32911D5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25.073" v="188566"/>
          <ac:graphicFrameMkLst>
            <pc:docMk/>
            <pc:sldMk cId="764108997" sldId="405"/>
            <ac:graphicFrameMk id="44" creationId="{931E0168-C32C-A916-5F7C-E3101DE6C59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29.096" v="188626"/>
          <ac:graphicFrameMkLst>
            <pc:docMk/>
            <pc:sldMk cId="764108997" sldId="405"/>
            <ac:graphicFrameMk id="51" creationId="{29F0A947-6F65-DB62-5156-EEBDEDF13B4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35.984" v="188722"/>
          <ac:graphicFrameMkLst>
            <pc:docMk/>
            <pc:sldMk cId="764108997" sldId="405"/>
            <ac:graphicFrameMk id="52" creationId="{382DDEE7-9BDB-41C5-D952-CE513773A75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36.799" v="188782"/>
          <ac:graphicFrameMkLst>
            <pc:docMk/>
            <pc:sldMk cId="764108997" sldId="405"/>
            <ac:graphicFrameMk id="54" creationId="{43416A88-E95B-AD76-C6B8-73782265E73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39.151" v="188840"/>
          <ac:graphicFrameMkLst>
            <pc:docMk/>
            <pc:sldMk cId="764108997" sldId="405"/>
            <ac:graphicFrameMk id="55" creationId="{9F695A4F-5C17-82D0-555E-76902A2BF31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39.336" v="188900"/>
          <ac:graphicFrameMkLst>
            <pc:docMk/>
            <pc:sldMk cId="764108997" sldId="405"/>
            <ac:graphicFrameMk id="56" creationId="{45A711A5-F16B-E222-FD61-E65D4599501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42.046" v="188954"/>
          <ac:graphicFrameMkLst>
            <pc:docMk/>
            <pc:sldMk cId="764108997" sldId="405"/>
            <ac:graphicFrameMk id="57" creationId="{45D3BD66-FD75-6099-61C7-CFB4BB8EDFE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42.988" v="189027"/>
          <ac:graphicFrameMkLst>
            <pc:docMk/>
            <pc:sldMk cId="764108997" sldId="405"/>
            <ac:graphicFrameMk id="58" creationId="{495ACAE5-8DD1-9CA5-F4A0-73943B69CF0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44.894" v="189090"/>
          <ac:graphicFrameMkLst>
            <pc:docMk/>
            <pc:sldMk cId="764108997" sldId="405"/>
            <ac:graphicFrameMk id="59" creationId="{81860057-9F31-AC15-DF1F-A8C9D96BE24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45.355" v="189142"/>
          <ac:graphicFrameMkLst>
            <pc:docMk/>
            <pc:sldMk cId="764108997" sldId="405"/>
            <ac:graphicFrameMk id="60" creationId="{272EBED2-C513-DB99-D132-F1F7E82A92E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46.199" v="189205"/>
          <ac:graphicFrameMkLst>
            <pc:docMk/>
            <pc:sldMk cId="764108997" sldId="405"/>
            <ac:graphicFrameMk id="61" creationId="{EA3E30E9-A380-0344-5193-8B358819A6D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46.765" v="189258"/>
          <ac:graphicFrameMkLst>
            <pc:docMk/>
            <pc:sldMk cId="764108997" sldId="405"/>
            <ac:graphicFrameMk id="62" creationId="{A535C05B-D393-E181-49B9-58D4ACCC6EF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48.457" v="189345"/>
          <ac:graphicFrameMkLst>
            <pc:docMk/>
            <pc:sldMk cId="764108997" sldId="405"/>
            <ac:graphicFrameMk id="63" creationId="{5B4C67C7-146E-FB0D-EEC5-843E5AC27DB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5:53.006" v="189397"/>
          <ac:graphicFrameMkLst>
            <pc:docMk/>
            <pc:sldMk cId="764108997" sldId="405"/>
            <ac:graphicFrameMk id="72" creationId="{65E98092-6E12-11D4-BE95-67A99B3CACF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6:01.438" v="190064"/>
          <ac:graphicFrameMkLst>
            <pc:docMk/>
            <pc:sldMk cId="764108997" sldId="405"/>
            <ac:graphicFrameMk id="73" creationId="{24AA04AB-8B93-4BF6-29D2-A1D7050A7078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5T00:05:57.047" v="189704"/>
          <ac:graphicFrameMkLst>
            <pc:docMk/>
            <pc:sldMk cId="764108997" sldId="405"/>
            <ac:graphicFrameMk id="76" creationId="{1CD4E738-CD4F-945A-FF9B-1231878B05E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6:06.763" v="190124"/>
          <ac:graphicFrameMkLst>
            <pc:docMk/>
            <pc:sldMk cId="764108997" sldId="405"/>
            <ac:graphicFrameMk id="83" creationId="{E658D5FA-FA86-D849-7FED-9997CE3FFA0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7:56.124" v="190185"/>
          <ac:graphicFrameMkLst>
            <pc:docMk/>
            <pc:sldMk cId="764108997" sldId="405"/>
            <ac:graphicFrameMk id="84" creationId="{06780059-963F-F47B-1698-0CA76B63E28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7:58.477" v="190243"/>
          <ac:graphicFrameMkLst>
            <pc:docMk/>
            <pc:sldMk cId="764108997" sldId="405"/>
            <ac:graphicFrameMk id="86" creationId="{41B74D32-9E71-FA97-782A-5F22771D9F3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01.188" v="190301"/>
          <ac:graphicFrameMkLst>
            <pc:docMk/>
            <pc:sldMk cId="764108997" sldId="405"/>
            <ac:graphicFrameMk id="88" creationId="{B54C8DE0-0743-5CAB-BCF2-70B74508C80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10.293" v="190359"/>
          <ac:graphicFrameMkLst>
            <pc:docMk/>
            <pc:sldMk cId="764108997" sldId="405"/>
            <ac:graphicFrameMk id="89" creationId="{D1708B80-A0EE-75B0-5328-D042BBD8A16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13.464" v="190417"/>
          <ac:graphicFrameMkLst>
            <pc:docMk/>
            <pc:sldMk cId="764108997" sldId="405"/>
            <ac:graphicFrameMk id="90" creationId="{ACD59936-8131-CE5E-6610-B317E8A1D2D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14.048" v="190475"/>
          <ac:graphicFrameMkLst>
            <pc:docMk/>
            <pc:sldMk cId="764108997" sldId="405"/>
            <ac:graphicFrameMk id="91" creationId="{167269EF-F7C9-3F18-D50B-7EE49D612C0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25.177" v="190568"/>
          <ac:graphicFrameMkLst>
            <pc:docMk/>
            <pc:sldMk cId="764108997" sldId="405"/>
            <ac:graphicFrameMk id="92" creationId="{28B94C7F-0401-B92F-C350-F9D68DF7E40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25.678" v="190651"/>
          <ac:graphicFrameMkLst>
            <pc:docMk/>
            <pc:sldMk cId="764108997" sldId="405"/>
            <ac:graphicFrameMk id="93" creationId="{8EDB6200-1AC9-CA4F-8543-FAC658E816F9}"/>
          </ac:graphicFrameMkLst>
        </pc:graphicFrameChg>
        <pc:graphicFrameChg chg="del">
          <ac:chgData name="Merlin Gutter" userId="2abc6f04-74af-430b-bdc8-569c3bfa1dda" providerId="ADAL" clId="{CB1EFBC3-10F5-3048-8961-5969497C0019}" dt="2022-11-24T19:42:27.043" v="132149"/>
          <ac:graphicFrameMkLst>
            <pc:docMk/>
            <pc:sldMk cId="764108997" sldId="405"/>
            <ac:graphicFrameMk id="98" creationId="{12ED620C-6895-C457-ED8B-8233A8B7AD3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26.616" v="190714"/>
          <ac:graphicFrameMkLst>
            <pc:docMk/>
            <pc:sldMk cId="764108997" sldId="405"/>
            <ac:graphicFrameMk id="99" creationId="{EA4EA772-FA79-0F3F-C1DA-FEEA73A12DD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27.211" v="190779"/>
          <ac:graphicFrameMkLst>
            <pc:docMk/>
            <pc:sldMk cId="764108997" sldId="405"/>
            <ac:graphicFrameMk id="100" creationId="{D1AC1BD8-45AD-FB5B-35CC-A4CED771E46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29.515" v="190844"/>
          <ac:graphicFrameMkLst>
            <pc:docMk/>
            <pc:sldMk cId="764108997" sldId="405"/>
            <ac:graphicFrameMk id="101" creationId="{2A77178D-54F5-7298-597D-2BDE288DF3E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30.183" v="190899"/>
          <ac:graphicFrameMkLst>
            <pc:docMk/>
            <pc:sldMk cId="764108997" sldId="405"/>
            <ac:graphicFrameMk id="102" creationId="{BE260A4E-9D19-BD2D-47AC-2C148AC4BEA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31.297" v="190962"/>
          <ac:graphicFrameMkLst>
            <pc:docMk/>
            <pc:sldMk cId="764108997" sldId="405"/>
            <ac:graphicFrameMk id="103" creationId="{DBCC19D2-7864-247E-570E-FBD20BF6393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08:32.394" v="191015"/>
          <ac:graphicFrameMkLst>
            <pc:docMk/>
            <pc:sldMk cId="764108997" sldId="405"/>
            <ac:graphicFrameMk id="104" creationId="{54197E17-F616-5BAC-B526-96D8DD9DA0E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2:53.234" v="207107"/>
          <ac:graphicFrameMkLst>
            <pc:docMk/>
            <pc:sldMk cId="764108997" sldId="405"/>
            <ac:graphicFrameMk id="105" creationId="{B520CBD7-A9B3-8972-A7CE-E576B5E92D38}"/>
          </ac:graphicFrameMkLst>
        </pc:graphicFrameChg>
        <pc:graphicFrameChg chg="add mod modGraphic">
          <ac:chgData name="Merlin Gutter" userId="2abc6f04-74af-430b-bdc8-569c3bfa1dda" providerId="ADAL" clId="{CB1EFBC3-10F5-3048-8961-5969497C0019}" dt="2022-11-25T00:34:00.243" v="208186"/>
          <ac:graphicFrameMkLst>
            <pc:docMk/>
            <pc:sldMk cId="764108997" sldId="405"/>
            <ac:graphicFrameMk id="106" creationId="{E66C2E99-0798-F9D4-6281-67116FDC7C5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2:55.033" v="207483"/>
          <ac:graphicFrameMkLst>
            <pc:docMk/>
            <pc:sldMk cId="764108997" sldId="405"/>
            <ac:graphicFrameMk id="107" creationId="{72E4C451-A0E6-7A90-3A86-8302D04D107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3:15.368" v="207550"/>
          <ac:graphicFrameMkLst>
            <pc:docMk/>
            <pc:sldMk cId="764108997" sldId="405"/>
            <ac:graphicFrameMk id="113" creationId="{EDB41C10-0185-AF20-1D2B-793E4E22D41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3:30.516" v="207605"/>
          <ac:graphicFrameMkLst>
            <pc:docMk/>
            <pc:sldMk cId="764108997" sldId="405"/>
            <ac:graphicFrameMk id="114" creationId="{502E056B-469B-F5DD-4828-76EABAD7C8E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3:32.765" v="207656"/>
          <ac:graphicFrameMkLst>
            <pc:docMk/>
            <pc:sldMk cId="764108997" sldId="405"/>
            <ac:graphicFrameMk id="115" creationId="{0EC698A2-290F-0089-6CD5-C46C17F2E9F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3:41.219" v="207745"/>
          <ac:graphicFrameMkLst>
            <pc:docMk/>
            <pc:sldMk cId="764108997" sldId="405"/>
            <ac:graphicFrameMk id="116" creationId="{4281A47F-BAD1-F0AD-DF46-2B35D329E7F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3:44.719" v="207836"/>
          <ac:graphicFrameMkLst>
            <pc:docMk/>
            <pc:sldMk cId="764108997" sldId="405"/>
            <ac:graphicFrameMk id="118" creationId="{47214775-4218-E23D-62BF-172808FC813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3:52.235" v="207987"/>
          <ac:graphicFrameMkLst>
            <pc:docMk/>
            <pc:sldMk cId="764108997" sldId="405"/>
            <ac:graphicFrameMk id="120" creationId="{D30A5072-57BD-F1EE-4CA3-5DAC1166BA2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3:54.609" v="208043"/>
          <ac:graphicFrameMkLst>
            <pc:docMk/>
            <pc:sldMk cId="764108997" sldId="405"/>
            <ac:graphicFrameMk id="123" creationId="{8E5CC4D4-530C-0D23-A318-A7434A1C30F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34:00.200" v="208147"/>
          <ac:graphicFrameMkLst>
            <pc:docMk/>
            <pc:sldMk cId="764108997" sldId="405"/>
            <ac:graphicFrameMk id="124" creationId="{54977B91-AE77-8F5A-5E8B-D8C07D1C293B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5T00:34:00.239" v="208172"/>
          <ac:graphicFrameMkLst>
            <pc:docMk/>
            <pc:sldMk cId="764108997" sldId="405"/>
            <ac:graphicFrameMk id="126" creationId="{D26FCB8E-623F-441E-4511-F2CBE68E54AF}"/>
          </ac:graphicFrameMkLst>
        </pc:graphicFrameChg>
        <pc:cxnChg chg="add del mod replST delST">
          <ac:chgData name="Merlin Gutter" userId="2abc6f04-74af-430b-bdc8-569c3bfa1dda" providerId="ADAL" clId="{CB1EFBC3-10F5-3048-8961-5969497C0019}" dt="2022-11-25T00:05:57.047" v="189704"/>
          <ac:cxnSpMkLst>
            <pc:docMk/>
            <pc:sldMk cId="764108997" sldId="405"/>
            <ac:cxnSpMk id="75" creationId="{1EBD2FC2-1C9B-E19D-5160-F56A0D124F40}"/>
          </ac:cxnSpMkLst>
        </pc:cxnChg>
        <pc:cxnChg chg="mod">
          <ac:chgData name="Merlin Gutter" userId="2abc6f04-74af-430b-bdc8-569c3bfa1dda" providerId="ADAL" clId="{CB1EFBC3-10F5-3048-8961-5969497C0019}" dt="2022-11-25T00:34:00.238" v="208169"/>
          <ac:cxnSpMkLst>
            <pc:docMk/>
            <pc:sldMk cId="764108997" sldId="405"/>
            <ac:cxnSpMk id="2163" creationId="{D2E3680C-EE73-FA16-D1C8-9E284486153E}"/>
          </ac:cxnSpMkLst>
        </pc:cxnChg>
        <pc:cxnChg chg="mod">
          <ac:chgData name="Merlin Gutter" userId="2abc6f04-74af-430b-bdc8-569c3bfa1dda" providerId="ADAL" clId="{CB1EFBC3-10F5-3048-8961-5969497C0019}" dt="2022-11-25T00:34:00.239" v="208170"/>
          <ac:cxnSpMkLst>
            <pc:docMk/>
            <pc:sldMk cId="764108997" sldId="405"/>
            <ac:cxnSpMk id="2164" creationId="{F46FF639-6C44-4124-9E58-15ACC22A28B4}"/>
          </ac:cxnSpMkLst>
        </pc:cxnChg>
      </pc:sldChg>
      <pc:sldChg chg="addSp delSp modSp new add mod modClrScheme chgLayout">
        <pc:chgData name="Merlin Gutter" userId="2abc6f04-74af-430b-bdc8-569c3bfa1dda" providerId="ADAL" clId="{CB1EFBC3-10F5-3048-8961-5969497C0019}" dt="2022-11-25T00:17:13.252" v="205393"/>
        <pc:sldMkLst>
          <pc:docMk/>
          <pc:sldMk cId="2192655461" sldId="406"/>
        </pc:sldMkLst>
        <pc:spChg chg="del">
          <ac:chgData name="Merlin Gutter" userId="2abc6f04-74af-430b-bdc8-569c3bfa1dda" providerId="ADAL" clId="{CB1EFBC3-10F5-3048-8961-5969497C0019}" dt="2022-11-24T19:52:47.490" v="132226"/>
          <ac:spMkLst>
            <pc:docMk/>
            <pc:sldMk cId="2192655461" sldId="406"/>
            <ac:spMk id="2" creationId="{3BC226E0-4178-F97D-2A08-8ABFA42BE906}"/>
          </ac:spMkLst>
        </pc:spChg>
        <pc:spChg chg="del mod ord">
          <ac:chgData name="Merlin Gutter" userId="2abc6f04-74af-430b-bdc8-569c3bfa1dda" providerId="ADAL" clId="{CB1EFBC3-10F5-3048-8961-5969497C0019}" dt="2022-11-24T19:52:47.490" v="132226"/>
          <ac:spMkLst>
            <pc:docMk/>
            <pc:sldMk cId="2192655461" sldId="406"/>
            <ac:spMk id="3" creationId="{6CBDD4B1-59D9-725F-DC52-69CCCEA1C2FC}"/>
          </ac:spMkLst>
        </pc:spChg>
        <pc:spChg chg="del">
          <ac:chgData name="Merlin Gutter" userId="2abc6f04-74af-430b-bdc8-569c3bfa1dda" providerId="ADAL" clId="{CB1EFBC3-10F5-3048-8961-5969497C0019}" dt="2022-11-24T19:52:47.490" v="132226"/>
          <ac:spMkLst>
            <pc:docMk/>
            <pc:sldMk cId="2192655461" sldId="406"/>
            <ac:spMk id="4" creationId="{22CC31D5-50C9-BC4C-6305-5DEDFB84CBD5}"/>
          </ac:spMkLst>
        </pc:spChg>
        <pc:spChg chg="del mod ord">
          <ac:chgData name="Merlin Gutter" userId="2abc6f04-74af-430b-bdc8-569c3bfa1dda" providerId="ADAL" clId="{CB1EFBC3-10F5-3048-8961-5969497C0019}" dt="2022-11-24T19:52:47.490" v="132226"/>
          <ac:spMkLst>
            <pc:docMk/>
            <pc:sldMk cId="2192655461" sldId="406"/>
            <ac:spMk id="5" creationId="{124E62E5-06D9-31B0-A5AF-8605ADDE3897}"/>
          </ac:spMkLst>
        </pc:spChg>
        <pc:spChg chg="del mod ord">
          <ac:chgData name="Merlin Gutter" userId="2abc6f04-74af-430b-bdc8-569c3bfa1dda" providerId="ADAL" clId="{CB1EFBC3-10F5-3048-8961-5969497C0019}" dt="2022-11-24T19:52:47.490" v="132226"/>
          <ac:spMkLst>
            <pc:docMk/>
            <pc:sldMk cId="2192655461" sldId="406"/>
            <ac:spMk id="6" creationId="{93A697F3-47CA-BFFB-967C-211BD44A6BF7}"/>
          </ac:spMkLst>
        </pc:spChg>
        <pc:spChg chg="mod ord">
          <ac:chgData name="Merlin Gutter" userId="2abc6f04-74af-430b-bdc8-569c3bfa1dda" providerId="ADAL" clId="{CB1EFBC3-10F5-3048-8961-5969497C0019}" dt="2022-11-25T00:17:13.126" v="205283"/>
          <ac:spMkLst>
            <pc:docMk/>
            <pc:sldMk cId="2192655461" sldId="406"/>
            <ac:spMk id="7" creationId="{A3B75CFF-8241-49EF-6927-1019D6AC9966}"/>
          </ac:spMkLst>
        </pc:spChg>
        <pc:spChg chg="mod ord">
          <ac:chgData name="Merlin Gutter" userId="2abc6f04-74af-430b-bdc8-569c3bfa1dda" providerId="ADAL" clId="{CB1EFBC3-10F5-3048-8961-5969497C0019}" dt="2022-11-25T00:17:13.127" v="205284"/>
          <ac:spMkLst>
            <pc:docMk/>
            <pc:sldMk cId="2192655461" sldId="406"/>
            <ac:spMk id="8" creationId="{E6296648-C104-EBB8-4B29-4829A39AFA52}"/>
          </ac:spMkLst>
        </pc:spChg>
        <pc:spChg chg="add mod ord">
          <ac:chgData name="Merlin Gutter" userId="2abc6f04-74af-430b-bdc8-569c3bfa1dda" providerId="ADAL" clId="{CB1EFBC3-10F5-3048-8961-5969497C0019}" dt="2022-11-25T00:17:13.124" v="205281"/>
          <ac:spMkLst>
            <pc:docMk/>
            <pc:sldMk cId="2192655461" sldId="406"/>
            <ac:spMk id="9" creationId="{5409C1E2-7367-D40E-29C2-54FEC9F45F86}"/>
          </ac:spMkLst>
        </pc:spChg>
        <pc:spChg chg="add mod ord">
          <ac:chgData name="Merlin Gutter" userId="2abc6f04-74af-430b-bdc8-569c3bfa1dda" providerId="ADAL" clId="{CB1EFBC3-10F5-3048-8961-5969497C0019}" dt="2022-11-25T00:17:13.125" v="205282"/>
          <ac:spMkLst>
            <pc:docMk/>
            <pc:sldMk cId="2192655461" sldId="406"/>
            <ac:spMk id="10" creationId="{A7901634-7532-3902-6749-AB6CCA74B406}"/>
          </ac:spMkLst>
        </pc:spChg>
        <pc:spChg chg="add mod ord">
          <ac:chgData name="Merlin Gutter" userId="2abc6f04-74af-430b-bdc8-569c3bfa1dda" providerId="ADAL" clId="{CB1EFBC3-10F5-3048-8961-5969497C0019}" dt="2022-11-25T00:17:13.123" v="205280"/>
          <ac:spMkLst>
            <pc:docMk/>
            <pc:sldMk cId="2192655461" sldId="406"/>
            <ac:spMk id="11" creationId="{801BA18B-9FA0-D062-21C9-FBC484534BB1}"/>
          </ac:spMkLst>
        </pc:spChg>
        <pc:spChg chg="add del mod modVis">
          <ac:chgData name="Merlin Gutter" userId="2abc6f04-74af-430b-bdc8-569c3bfa1dda" providerId="ADAL" clId="{CB1EFBC3-10F5-3048-8961-5969497C0019}" dt="2022-11-24T19:53:08.444" v="132939"/>
          <ac:spMkLst>
            <pc:docMk/>
            <pc:sldMk cId="2192655461" sldId="406"/>
            <ac:spMk id="12" creationId="{2E5AF6AF-AE31-54B5-3F3E-3A9CF6650B7F}"/>
          </ac:spMkLst>
        </pc:spChg>
        <pc:spChg chg="add mod replST">
          <ac:chgData name="Merlin Gutter" userId="2abc6f04-74af-430b-bdc8-569c3bfa1dda" providerId="ADAL" clId="{CB1EFBC3-10F5-3048-8961-5969497C0019}" dt="2022-11-25T00:17:13.149" v="205303"/>
          <ac:spMkLst>
            <pc:docMk/>
            <pc:sldMk cId="2192655461" sldId="406"/>
            <ac:spMk id="13" creationId="{876B2BC4-F43D-2820-FA93-E9067B085B6C}"/>
          </ac:spMkLst>
        </pc:spChg>
        <pc:spChg chg="add mod replST">
          <ac:chgData name="Merlin Gutter" userId="2abc6f04-74af-430b-bdc8-569c3bfa1dda" providerId="ADAL" clId="{CB1EFBC3-10F5-3048-8961-5969497C0019}" dt="2022-11-25T00:17:13.154" v="205308"/>
          <ac:spMkLst>
            <pc:docMk/>
            <pc:sldMk cId="2192655461" sldId="406"/>
            <ac:spMk id="14" creationId="{82AC1B6D-D73A-07C3-8428-BF34F06908EA}"/>
          </ac:spMkLst>
        </pc:spChg>
        <pc:spChg chg="add del mod replST">
          <ac:chgData name="Merlin Gutter" userId="2abc6f04-74af-430b-bdc8-569c3bfa1dda" providerId="ADAL" clId="{CB1EFBC3-10F5-3048-8961-5969497C0019}" dt="2022-11-24T19:58:55.213" v="133146"/>
          <ac:spMkLst>
            <pc:docMk/>
            <pc:sldMk cId="2192655461" sldId="406"/>
            <ac:spMk id="15" creationId="{14F18F72-D5B2-15AC-04B6-F512F118C24A}"/>
          </ac:spMkLst>
        </pc:spChg>
        <pc:spChg chg="add del mod replST">
          <ac:chgData name="Merlin Gutter" userId="2abc6f04-74af-430b-bdc8-569c3bfa1dda" providerId="ADAL" clId="{CB1EFBC3-10F5-3048-8961-5969497C0019}" dt="2022-11-24T19:58:55.215" v="133148"/>
          <ac:spMkLst>
            <pc:docMk/>
            <pc:sldMk cId="2192655461" sldId="406"/>
            <ac:spMk id="16" creationId="{54B8AF4F-E308-885B-67B1-B5C64118417C}"/>
          </ac:spMkLst>
        </pc:spChg>
        <pc:spChg chg="add del mod replST">
          <ac:chgData name="Merlin Gutter" userId="2abc6f04-74af-430b-bdc8-569c3bfa1dda" providerId="ADAL" clId="{CB1EFBC3-10F5-3048-8961-5969497C0019}" dt="2022-11-24T19:58:55.217" v="133150"/>
          <ac:spMkLst>
            <pc:docMk/>
            <pc:sldMk cId="2192655461" sldId="406"/>
            <ac:spMk id="17" creationId="{7DDB7684-DB0E-9B5B-E515-B3A81FCDAB21}"/>
          </ac:spMkLst>
        </pc:spChg>
        <pc:spChg chg="add del mod replST">
          <ac:chgData name="Merlin Gutter" userId="2abc6f04-74af-430b-bdc8-569c3bfa1dda" providerId="ADAL" clId="{CB1EFBC3-10F5-3048-8961-5969497C0019}" dt="2022-11-24T19:58:55.218" v="133152"/>
          <ac:spMkLst>
            <pc:docMk/>
            <pc:sldMk cId="2192655461" sldId="406"/>
            <ac:spMk id="18" creationId="{F283AA6D-0BF5-5B52-3761-3C9FF3F4862D}"/>
          </ac:spMkLst>
        </pc:spChg>
        <pc:spChg chg="add del mod replST">
          <ac:chgData name="Merlin Gutter" userId="2abc6f04-74af-430b-bdc8-569c3bfa1dda" providerId="ADAL" clId="{CB1EFBC3-10F5-3048-8961-5969497C0019}" dt="2022-11-24T19:58:55.219" v="133154"/>
          <ac:spMkLst>
            <pc:docMk/>
            <pc:sldMk cId="2192655461" sldId="406"/>
            <ac:spMk id="19" creationId="{A59DDB94-98A1-4853-5134-5AB12C7876D9}"/>
          </ac:spMkLst>
        </pc:spChg>
        <pc:spChg chg="add del mod replST">
          <ac:chgData name="Merlin Gutter" userId="2abc6f04-74af-430b-bdc8-569c3bfa1dda" providerId="ADAL" clId="{CB1EFBC3-10F5-3048-8961-5969497C0019}" dt="2022-11-24T19:58:55.220" v="133156"/>
          <ac:spMkLst>
            <pc:docMk/>
            <pc:sldMk cId="2192655461" sldId="406"/>
            <ac:spMk id="20" creationId="{122E0B11-8ED5-463A-6048-39AC70BBAD00}"/>
          </ac:spMkLst>
        </pc:spChg>
        <pc:spChg chg="add del mod modVis">
          <ac:chgData name="Merlin Gutter" userId="2abc6f04-74af-430b-bdc8-569c3bfa1dda" providerId="ADAL" clId="{CB1EFBC3-10F5-3048-8961-5969497C0019}" dt="2022-11-24T19:53:08.710" v="133085"/>
          <ac:spMkLst>
            <pc:docMk/>
            <pc:sldMk cId="2192655461" sldId="406"/>
            <ac:spMk id="23" creationId="{3E3742C6-2242-342A-127D-9C4B650F16CB}"/>
          </ac:spMkLst>
        </pc:spChg>
        <pc:spChg chg="add del mod modVis">
          <ac:chgData name="Merlin Gutter" userId="2abc6f04-74af-430b-bdc8-569c3bfa1dda" providerId="ADAL" clId="{CB1EFBC3-10F5-3048-8961-5969497C0019}" dt="2022-11-24T19:58:55.321" v="133176"/>
          <ac:spMkLst>
            <pc:docMk/>
            <pc:sldMk cId="2192655461" sldId="406"/>
            <ac:spMk id="25" creationId="{374CEA13-9233-6D75-AB1E-E0099A3AD613}"/>
          </ac:spMkLst>
        </pc:spChg>
        <pc:spChg chg="add del mod modVis">
          <ac:chgData name="Merlin Gutter" userId="2abc6f04-74af-430b-bdc8-569c3bfa1dda" providerId="ADAL" clId="{CB1EFBC3-10F5-3048-8961-5969497C0019}" dt="2022-11-24T19:58:57.467" v="133249"/>
          <ac:spMkLst>
            <pc:docMk/>
            <pc:sldMk cId="2192655461" sldId="406"/>
            <ac:spMk id="27" creationId="{D53A722A-3799-EF69-0CD8-CCBAB80C6151}"/>
          </ac:spMkLst>
        </pc:spChg>
        <pc:spChg chg="add del mod modVis">
          <ac:chgData name="Merlin Gutter" userId="2abc6f04-74af-430b-bdc8-569c3bfa1dda" providerId="ADAL" clId="{CB1EFBC3-10F5-3048-8961-5969497C0019}" dt="2022-11-24T19:58:59.826" v="133354"/>
          <ac:spMkLst>
            <pc:docMk/>
            <pc:sldMk cId="2192655461" sldId="406"/>
            <ac:spMk id="29" creationId="{DC19CE78-A767-FD22-9A41-D06B658B4E84}"/>
          </ac:spMkLst>
        </pc:spChg>
        <pc:spChg chg="add del mod modVis">
          <ac:chgData name="Merlin Gutter" userId="2abc6f04-74af-430b-bdc8-569c3bfa1dda" providerId="ADAL" clId="{CB1EFBC3-10F5-3048-8961-5969497C0019}" dt="2022-11-24T19:59:13.780" v="133435"/>
          <ac:spMkLst>
            <pc:docMk/>
            <pc:sldMk cId="2192655461" sldId="406"/>
            <ac:spMk id="31" creationId="{734BADE6-EFA6-BB30-F964-D64C182399CD}"/>
          </ac:spMkLst>
        </pc:spChg>
        <pc:spChg chg="add del mod modVis">
          <ac:chgData name="Merlin Gutter" userId="2abc6f04-74af-430b-bdc8-569c3bfa1dda" providerId="ADAL" clId="{CB1EFBC3-10F5-3048-8961-5969497C0019}" dt="2022-11-24T19:59:36.173" v="133536"/>
          <ac:spMkLst>
            <pc:docMk/>
            <pc:sldMk cId="2192655461" sldId="406"/>
            <ac:spMk id="33" creationId="{1B654A52-513B-8CD4-4EA4-03D97C2A1747}"/>
          </ac:spMkLst>
        </pc:spChg>
        <pc:spChg chg="add del mod modVis">
          <ac:chgData name="Merlin Gutter" userId="2abc6f04-74af-430b-bdc8-569c3bfa1dda" providerId="ADAL" clId="{CB1EFBC3-10F5-3048-8961-5969497C0019}" dt="2022-11-24T19:59:52.519" v="133980"/>
          <ac:spMkLst>
            <pc:docMk/>
            <pc:sldMk cId="2192655461" sldId="406"/>
            <ac:spMk id="35" creationId="{B479BF47-3B2D-3391-FE6E-DC4B8A8B0D41}"/>
          </ac:spMkLst>
        </pc:spChg>
        <pc:spChg chg="add del mod replST">
          <ac:chgData name="Merlin Gutter" userId="2abc6f04-74af-430b-bdc8-569c3bfa1dda" providerId="ADAL" clId="{CB1EFBC3-10F5-3048-8961-5969497C0019}" dt="2022-11-24T20:00:50.545" v="134972"/>
          <ac:spMkLst>
            <pc:docMk/>
            <pc:sldMk cId="2192655461" sldId="406"/>
            <ac:spMk id="36" creationId="{1C614121-599F-EE86-7D57-8D6557FEABB0}"/>
          </ac:spMkLst>
        </pc:spChg>
        <pc:spChg chg="add del mod replST">
          <ac:chgData name="Merlin Gutter" userId="2abc6f04-74af-430b-bdc8-569c3bfa1dda" providerId="ADAL" clId="{CB1EFBC3-10F5-3048-8961-5969497C0019}" dt="2022-11-24T20:00:50.553" v="134973"/>
          <ac:spMkLst>
            <pc:docMk/>
            <pc:sldMk cId="2192655461" sldId="406"/>
            <ac:spMk id="37" creationId="{C727D2A0-E873-32EC-A54F-7ABE1F114E9F}"/>
          </ac:spMkLst>
        </pc:spChg>
        <pc:spChg chg="add del mod replST">
          <ac:chgData name="Merlin Gutter" userId="2abc6f04-74af-430b-bdc8-569c3bfa1dda" providerId="ADAL" clId="{CB1EFBC3-10F5-3048-8961-5969497C0019}" dt="2022-11-24T20:00:50.554" v="134974"/>
          <ac:spMkLst>
            <pc:docMk/>
            <pc:sldMk cId="2192655461" sldId="406"/>
            <ac:spMk id="38" creationId="{8A391D8A-DE16-53C6-8C62-C41938E59FCA}"/>
          </ac:spMkLst>
        </pc:spChg>
        <pc:spChg chg="add del mod replST">
          <ac:chgData name="Merlin Gutter" userId="2abc6f04-74af-430b-bdc8-569c3bfa1dda" providerId="ADAL" clId="{CB1EFBC3-10F5-3048-8961-5969497C0019}" dt="2022-11-24T20:00:50.556" v="134977"/>
          <ac:spMkLst>
            <pc:docMk/>
            <pc:sldMk cId="2192655461" sldId="406"/>
            <ac:spMk id="39" creationId="{4521EB68-A7CD-F1A0-8956-02F2632C66D3}"/>
          </ac:spMkLst>
        </pc:spChg>
        <pc:spChg chg="add del mod replST">
          <ac:chgData name="Merlin Gutter" userId="2abc6f04-74af-430b-bdc8-569c3bfa1dda" providerId="ADAL" clId="{CB1EFBC3-10F5-3048-8961-5969497C0019}" dt="2022-11-24T20:00:50.557" v="134978"/>
          <ac:spMkLst>
            <pc:docMk/>
            <pc:sldMk cId="2192655461" sldId="406"/>
            <ac:spMk id="40" creationId="{CF3466CD-696C-D8B2-520B-939A4B66270D}"/>
          </ac:spMkLst>
        </pc:spChg>
        <pc:spChg chg="add del mod modVis">
          <ac:chgData name="Merlin Gutter" userId="2abc6f04-74af-430b-bdc8-569c3bfa1dda" providerId="ADAL" clId="{CB1EFBC3-10F5-3048-8961-5969497C0019}" dt="2022-11-24T19:59:52.623" v="134131"/>
          <ac:spMkLst>
            <pc:docMk/>
            <pc:sldMk cId="2192655461" sldId="406"/>
            <ac:spMk id="42" creationId="{1A73CAEB-7C1B-27C0-4EE2-F721739CADAD}"/>
          </ac:spMkLst>
        </pc:spChg>
        <pc:spChg chg="add del mod modVis">
          <ac:chgData name="Merlin Gutter" userId="2abc6f04-74af-430b-bdc8-569c3bfa1dda" providerId="ADAL" clId="{CB1EFBC3-10F5-3048-8961-5969497C0019}" dt="2022-11-24T20:00:03.531" v="134235"/>
          <ac:spMkLst>
            <pc:docMk/>
            <pc:sldMk cId="2192655461" sldId="406"/>
            <ac:spMk id="45" creationId="{ED0C75A9-2343-FA66-9CE8-CAF2B6736D2F}"/>
          </ac:spMkLst>
        </pc:spChg>
        <pc:spChg chg="add del mod modVis">
          <ac:chgData name="Merlin Gutter" userId="2abc6f04-74af-430b-bdc8-569c3bfa1dda" providerId="ADAL" clId="{CB1EFBC3-10F5-3048-8961-5969497C0019}" dt="2022-11-24T20:00:03.627" v="134321"/>
          <ac:spMkLst>
            <pc:docMk/>
            <pc:sldMk cId="2192655461" sldId="406"/>
            <ac:spMk id="47" creationId="{7C3816DE-9B9A-7631-5D2E-D589552379C1}"/>
          </ac:spMkLst>
        </pc:spChg>
        <pc:spChg chg="add del mod modVis">
          <ac:chgData name="Merlin Gutter" userId="2abc6f04-74af-430b-bdc8-569c3bfa1dda" providerId="ADAL" clId="{CB1EFBC3-10F5-3048-8961-5969497C0019}" dt="2022-11-24T20:00:05.855" v="134443"/>
          <ac:spMkLst>
            <pc:docMk/>
            <pc:sldMk cId="2192655461" sldId="406"/>
            <ac:spMk id="49" creationId="{36F6D62C-99BF-0378-62CE-78D1E74EC6FA}"/>
          </ac:spMkLst>
        </pc:spChg>
        <pc:spChg chg="add del mod modVis">
          <ac:chgData name="Merlin Gutter" userId="2abc6f04-74af-430b-bdc8-569c3bfa1dda" providerId="ADAL" clId="{CB1EFBC3-10F5-3048-8961-5969497C0019}" dt="2022-11-24T20:00:05.949" v="134529"/>
          <ac:spMkLst>
            <pc:docMk/>
            <pc:sldMk cId="2192655461" sldId="406"/>
            <ac:spMk id="51" creationId="{29838A1C-CDA9-2C7A-D917-199186B64C82}"/>
          </ac:spMkLst>
        </pc:spChg>
        <pc:spChg chg="add del mod modVis">
          <ac:chgData name="Merlin Gutter" userId="2abc6f04-74af-430b-bdc8-569c3bfa1dda" providerId="ADAL" clId="{CB1EFBC3-10F5-3048-8961-5969497C0019}" dt="2022-11-24T20:00:25.284" v="134663"/>
          <ac:spMkLst>
            <pc:docMk/>
            <pc:sldMk cId="2192655461" sldId="406"/>
            <ac:spMk id="53" creationId="{E4025B21-ED13-1273-6234-1C430C7F6DF7}"/>
          </ac:spMkLst>
        </pc:spChg>
        <pc:spChg chg="add del mod modVis">
          <ac:chgData name="Merlin Gutter" userId="2abc6f04-74af-430b-bdc8-569c3bfa1dda" providerId="ADAL" clId="{CB1EFBC3-10F5-3048-8961-5969497C0019}" dt="2022-11-24T20:00:25.363" v="134749"/>
          <ac:spMkLst>
            <pc:docMk/>
            <pc:sldMk cId="2192655461" sldId="406"/>
            <ac:spMk id="55" creationId="{B1AF2CD2-D202-AE5B-1802-645C9D82B594}"/>
          </ac:spMkLst>
        </pc:spChg>
        <pc:spChg chg="add del mod modVis">
          <ac:chgData name="Merlin Gutter" userId="2abc6f04-74af-430b-bdc8-569c3bfa1dda" providerId="ADAL" clId="{CB1EFBC3-10F5-3048-8961-5969497C0019}" dt="2022-11-24T20:00:41.148" v="134883"/>
          <ac:spMkLst>
            <pc:docMk/>
            <pc:sldMk cId="2192655461" sldId="406"/>
            <ac:spMk id="57" creationId="{AC14B5E7-F0B3-B4DF-52BC-ED42214D70C0}"/>
          </ac:spMkLst>
        </pc:spChg>
        <pc:spChg chg="add del mod modVis">
          <ac:chgData name="Merlin Gutter" userId="2abc6f04-74af-430b-bdc8-569c3bfa1dda" providerId="ADAL" clId="{CB1EFBC3-10F5-3048-8961-5969497C0019}" dt="2022-11-24T20:00:41.231" v="134969"/>
          <ac:spMkLst>
            <pc:docMk/>
            <pc:sldMk cId="2192655461" sldId="406"/>
            <ac:spMk id="59" creationId="{2EEEFEBF-5739-BF2C-D24F-E570F8934B44}"/>
          </ac:spMkLst>
        </pc:spChg>
        <pc:spChg chg="add del mod modVis">
          <ac:chgData name="Merlin Gutter" userId="2abc6f04-74af-430b-bdc8-569c3bfa1dda" providerId="ADAL" clId="{CB1EFBC3-10F5-3048-8961-5969497C0019}" dt="2022-11-24T20:00:50.658" v="135091"/>
          <ac:spMkLst>
            <pc:docMk/>
            <pc:sldMk cId="2192655461" sldId="406"/>
            <ac:spMk id="61" creationId="{857C07D9-C0A1-60F8-DB65-9B55634492B1}"/>
          </ac:spMkLst>
        </pc:spChg>
        <pc:spChg chg="add del mod modVis">
          <ac:chgData name="Merlin Gutter" userId="2abc6f04-74af-430b-bdc8-569c3bfa1dda" providerId="ADAL" clId="{CB1EFBC3-10F5-3048-8961-5969497C0019}" dt="2022-11-24T20:00:57.555" v="135547"/>
          <ac:spMkLst>
            <pc:docMk/>
            <pc:sldMk cId="2192655461" sldId="406"/>
            <ac:spMk id="63" creationId="{D8C71F40-30E3-01DB-5677-4634E9292FAD}"/>
          </ac:spMkLst>
        </pc:spChg>
        <pc:spChg chg="add del mod replST">
          <ac:chgData name="Merlin Gutter" userId="2abc6f04-74af-430b-bdc8-569c3bfa1dda" providerId="ADAL" clId="{CB1EFBC3-10F5-3048-8961-5969497C0019}" dt="2022-11-24T20:01:45.856" v="137486"/>
          <ac:spMkLst>
            <pc:docMk/>
            <pc:sldMk cId="2192655461" sldId="406"/>
            <ac:spMk id="64" creationId="{27D29655-E172-1313-B1DA-AAB36D5B677F}"/>
          </ac:spMkLst>
        </pc:spChg>
        <pc:spChg chg="add del mod replST">
          <ac:chgData name="Merlin Gutter" userId="2abc6f04-74af-430b-bdc8-569c3bfa1dda" providerId="ADAL" clId="{CB1EFBC3-10F5-3048-8961-5969497C0019}" dt="2022-11-24T20:01:45.855" v="137482"/>
          <ac:spMkLst>
            <pc:docMk/>
            <pc:sldMk cId="2192655461" sldId="406"/>
            <ac:spMk id="65" creationId="{FEEE08A6-B072-8C60-6BF5-7CB8AE877FD1}"/>
          </ac:spMkLst>
        </pc:spChg>
        <pc:spChg chg="add del mod replST">
          <ac:chgData name="Merlin Gutter" userId="2abc6f04-74af-430b-bdc8-569c3bfa1dda" providerId="ADAL" clId="{CB1EFBC3-10F5-3048-8961-5969497C0019}" dt="2022-11-24T20:01:45.854" v="137477"/>
          <ac:spMkLst>
            <pc:docMk/>
            <pc:sldMk cId="2192655461" sldId="406"/>
            <ac:spMk id="66" creationId="{89120705-E3C0-BC4E-6217-E1203C71894F}"/>
          </ac:spMkLst>
        </pc:spChg>
        <pc:spChg chg="add del mod replST">
          <ac:chgData name="Merlin Gutter" userId="2abc6f04-74af-430b-bdc8-569c3bfa1dda" providerId="ADAL" clId="{CB1EFBC3-10F5-3048-8961-5969497C0019}" dt="2022-11-24T20:01:45.853" v="137473"/>
          <ac:spMkLst>
            <pc:docMk/>
            <pc:sldMk cId="2192655461" sldId="406"/>
            <ac:spMk id="67" creationId="{8C24A457-8B1E-1D52-8C29-A0E87C0FA77F}"/>
          </ac:spMkLst>
        </pc:spChg>
        <pc:spChg chg="add del mod replST">
          <ac:chgData name="Merlin Gutter" userId="2abc6f04-74af-430b-bdc8-569c3bfa1dda" providerId="ADAL" clId="{CB1EFBC3-10F5-3048-8961-5969497C0019}" dt="2022-11-24T20:01:45.849" v="137469"/>
          <ac:spMkLst>
            <pc:docMk/>
            <pc:sldMk cId="2192655461" sldId="406"/>
            <ac:spMk id="68" creationId="{FD5518C9-7E0C-B633-8AF0-7E18278A970B}"/>
          </ac:spMkLst>
        </pc:spChg>
        <pc:spChg chg="add del mod modVis">
          <ac:chgData name="Merlin Gutter" userId="2abc6f04-74af-430b-bdc8-569c3bfa1dda" providerId="ADAL" clId="{CB1EFBC3-10F5-3048-8961-5969497C0019}" dt="2022-11-24T20:00:57.650" v="135696"/>
          <ac:spMkLst>
            <pc:docMk/>
            <pc:sldMk cId="2192655461" sldId="406"/>
            <ac:spMk id="70" creationId="{2CF762B5-8E9D-B0C9-9548-1B84C6E22A6B}"/>
          </ac:spMkLst>
        </pc:spChg>
        <pc:spChg chg="add del mod modVis">
          <ac:chgData name="Merlin Gutter" userId="2abc6f04-74af-430b-bdc8-569c3bfa1dda" providerId="ADAL" clId="{CB1EFBC3-10F5-3048-8961-5969497C0019}" dt="2022-11-24T20:01:10.171" v="135794"/>
          <ac:spMkLst>
            <pc:docMk/>
            <pc:sldMk cId="2192655461" sldId="406"/>
            <ac:spMk id="73" creationId="{0542966A-C77C-F1FA-5937-76A540099E28}"/>
          </ac:spMkLst>
        </pc:spChg>
        <pc:spChg chg="add del mod modVis">
          <ac:chgData name="Merlin Gutter" userId="2abc6f04-74af-430b-bdc8-569c3bfa1dda" providerId="ADAL" clId="{CB1EFBC3-10F5-3048-8961-5969497C0019}" dt="2022-11-24T20:01:10.336" v="135879"/>
          <ac:spMkLst>
            <pc:docMk/>
            <pc:sldMk cId="2192655461" sldId="406"/>
            <ac:spMk id="76" creationId="{57CA4C62-B2F9-4270-4EB9-D0A8D0109687}"/>
          </ac:spMkLst>
        </pc:spChg>
        <pc:spChg chg="add del mod modVis">
          <ac:chgData name="Merlin Gutter" userId="2abc6f04-74af-430b-bdc8-569c3bfa1dda" providerId="ADAL" clId="{CB1EFBC3-10F5-3048-8961-5969497C0019}" dt="2022-11-24T20:01:17.467" v="135972"/>
          <ac:spMkLst>
            <pc:docMk/>
            <pc:sldMk cId="2192655461" sldId="406"/>
            <ac:spMk id="78" creationId="{B8275B2B-1072-85F2-4086-9E8156CB2DAD}"/>
          </ac:spMkLst>
        </pc:spChg>
        <pc:spChg chg="add del mod modVis">
          <ac:chgData name="Merlin Gutter" userId="2abc6f04-74af-430b-bdc8-569c3bfa1dda" providerId="ADAL" clId="{CB1EFBC3-10F5-3048-8961-5969497C0019}" dt="2022-11-24T20:01:17.558" v="136057"/>
          <ac:spMkLst>
            <pc:docMk/>
            <pc:sldMk cId="2192655461" sldId="406"/>
            <ac:spMk id="80" creationId="{72DEE447-297A-DCC1-D6D9-F00A823AF54D}"/>
          </ac:spMkLst>
        </pc:spChg>
        <pc:spChg chg="add del mod modVis">
          <ac:chgData name="Merlin Gutter" userId="2abc6f04-74af-430b-bdc8-569c3bfa1dda" providerId="ADAL" clId="{CB1EFBC3-10F5-3048-8961-5969497C0019}" dt="2022-11-24T20:01:22.200" v="136146"/>
          <ac:spMkLst>
            <pc:docMk/>
            <pc:sldMk cId="2192655461" sldId="406"/>
            <ac:spMk id="82" creationId="{A0DB0AD2-F0FF-8C66-7E75-E5F72C1E73CE}"/>
          </ac:spMkLst>
        </pc:spChg>
        <pc:spChg chg="add del mod modVis">
          <ac:chgData name="Merlin Gutter" userId="2abc6f04-74af-430b-bdc8-569c3bfa1dda" providerId="ADAL" clId="{CB1EFBC3-10F5-3048-8961-5969497C0019}" dt="2022-11-24T20:01:22.289" v="136231"/>
          <ac:spMkLst>
            <pc:docMk/>
            <pc:sldMk cId="2192655461" sldId="406"/>
            <ac:spMk id="84" creationId="{5F3D24F3-0B0C-B2F8-8F10-41A9E2E73DFD}"/>
          </ac:spMkLst>
        </pc:spChg>
        <pc:spChg chg="add del mod modVis">
          <ac:chgData name="Merlin Gutter" userId="2abc6f04-74af-430b-bdc8-569c3bfa1dda" providerId="ADAL" clId="{CB1EFBC3-10F5-3048-8961-5969497C0019}" dt="2022-11-24T20:01:25.130" v="136317"/>
          <ac:spMkLst>
            <pc:docMk/>
            <pc:sldMk cId="2192655461" sldId="406"/>
            <ac:spMk id="86" creationId="{E4FFB7F4-EB38-A9A3-F2CE-D3E6BB26ACA9}"/>
          </ac:spMkLst>
        </pc:spChg>
        <pc:spChg chg="add del mod modVis">
          <ac:chgData name="Merlin Gutter" userId="2abc6f04-74af-430b-bdc8-569c3bfa1dda" providerId="ADAL" clId="{CB1EFBC3-10F5-3048-8961-5969497C0019}" dt="2022-11-24T20:01:25.216" v="136401"/>
          <ac:spMkLst>
            <pc:docMk/>
            <pc:sldMk cId="2192655461" sldId="406"/>
            <ac:spMk id="88" creationId="{4F82AD4F-9D87-5C67-55A5-1B0A6CE5015B}"/>
          </ac:spMkLst>
        </pc:spChg>
        <pc:spChg chg="add del mod modVis">
          <ac:chgData name="Merlin Gutter" userId="2abc6f04-74af-430b-bdc8-569c3bfa1dda" providerId="ADAL" clId="{CB1EFBC3-10F5-3048-8961-5969497C0019}" dt="2022-11-24T20:01:37.760" v="137029"/>
          <ac:spMkLst>
            <pc:docMk/>
            <pc:sldMk cId="2192655461" sldId="406"/>
            <ac:spMk id="90" creationId="{BDFD63E4-96AD-EEC1-D5DC-E6453EDE93D3}"/>
          </ac:spMkLst>
        </pc:spChg>
        <pc:spChg chg="add del mod replST">
          <ac:chgData name="Merlin Gutter" userId="2abc6f04-74af-430b-bdc8-569c3bfa1dda" providerId="ADAL" clId="{CB1EFBC3-10F5-3048-8961-5969497C0019}" dt="2022-11-24T20:01:45.855" v="137483"/>
          <ac:spMkLst>
            <pc:docMk/>
            <pc:sldMk cId="2192655461" sldId="406"/>
            <ac:spMk id="91" creationId="{7DDDFAFF-2CF9-9673-358E-2502BF0A44AC}"/>
          </ac:spMkLst>
        </pc:spChg>
        <pc:spChg chg="add del mod replST">
          <ac:chgData name="Merlin Gutter" userId="2abc6f04-74af-430b-bdc8-569c3bfa1dda" providerId="ADAL" clId="{CB1EFBC3-10F5-3048-8961-5969497C0019}" dt="2022-11-24T20:01:45.854" v="137478"/>
          <ac:spMkLst>
            <pc:docMk/>
            <pc:sldMk cId="2192655461" sldId="406"/>
            <ac:spMk id="92" creationId="{E90436B3-10C8-7E1A-2259-405B6DCF427A}"/>
          </ac:spMkLst>
        </pc:spChg>
        <pc:spChg chg="add del mod replST">
          <ac:chgData name="Merlin Gutter" userId="2abc6f04-74af-430b-bdc8-569c3bfa1dda" providerId="ADAL" clId="{CB1EFBC3-10F5-3048-8961-5969497C0019}" dt="2022-11-24T20:01:45.854" v="137475"/>
          <ac:spMkLst>
            <pc:docMk/>
            <pc:sldMk cId="2192655461" sldId="406"/>
            <ac:spMk id="93" creationId="{43199014-AAB5-A62B-9541-B2FC30B9B2C1}"/>
          </ac:spMkLst>
        </pc:spChg>
        <pc:spChg chg="add del mod replST">
          <ac:chgData name="Merlin Gutter" userId="2abc6f04-74af-430b-bdc8-569c3bfa1dda" providerId="ADAL" clId="{CB1EFBC3-10F5-3048-8961-5969497C0019}" dt="2022-11-24T20:01:45.852" v="137470"/>
          <ac:spMkLst>
            <pc:docMk/>
            <pc:sldMk cId="2192655461" sldId="406"/>
            <ac:spMk id="94" creationId="{E90D7E95-D7ED-CD7B-A7B4-684249A4C13D}"/>
          </ac:spMkLst>
        </pc:spChg>
        <pc:spChg chg="add del mod replST">
          <ac:chgData name="Merlin Gutter" userId="2abc6f04-74af-430b-bdc8-569c3bfa1dda" providerId="ADAL" clId="{CB1EFBC3-10F5-3048-8961-5969497C0019}" dt="2022-11-24T20:01:45.854" v="137479"/>
          <ac:spMkLst>
            <pc:docMk/>
            <pc:sldMk cId="2192655461" sldId="406"/>
            <ac:spMk id="95" creationId="{F69618E4-3F99-B2FE-06D6-E5039F2A6970}"/>
          </ac:spMkLst>
        </pc:spChg>
        <pc:spChg chg="add del mod modVis">
          <ac:chgData name="Merlin Gutter" userId="2abc6f04-74af-430b-bdc8-569c3bfa1dda" providerId="ADAL" clId="{CB1EFBC3-10F5-3048-8961-5969497C0019}" dt="2022-11-24T20:01:37.902" v="137232"/>
          <ac:spMkLst>
            <pc:docMk/>
            <pc:sldMk cId="2192655461" sldId="406"/>
            <ac:spMk id="97" creationId="{3022CD8B-4CB1-8876-1AF8-051B96DD2ED2}"/>
          </ac:spMkLst>
        </pc:spChg>
        <pc:spChg chg="add del mod modVis">
          <ac:chgData name="Merlin Gutter" userId="2abc6f04-74af-430b-bdc8-569c3bfa1dda" providerId="ADAL" clId="{CB1EFBC3-10F5-3048-8961-5969497C0019}" dt="2022-11-24T20:01:44.073" v="137331"/>
          <ac:spMkLst>
            <pc:docMk/>
            <pc:sldMk cId="2192655461" sldId="406"/>
            <ac:spMk id="101" creationId="{F19E15E1-5329-EF8F-34C2-2BC9C99942EB}"/>
          </ac:spMkLst>
        </pc:spChg>
        <pc:spChg chg="add del mod modVis">
          <ac:chgData name="Merlin Gutter" userId="2abc6f04-74af-430b-bdc8-569c3bfa1dda" providerId="ADAL" clId="{CB1EFBC3-10F5-3048-8961-5969497C0019}" dt="2022-11-24T20:01:44.193" v="137466"/>
          <ac:spMkLst>
            <pc:docMk/>
            <pc:sldMk cId="2192655461" sldId="406"/>
            <ac:spMk id="103" creationId="{B48EF4D7-6856-5A10-408D-375124FD5DA3}"/>
          </ac:spMkLst>
        </pc:spChg>
        <pc:spChg chg="add del mod modVis">
          <ac:chgData name="Merlin Gutter" userId="2abc6f04-74af-430b-bdc8-569c3bfa1dda" providerId="ADAL" clId="{CB1EFBC3-10F5-3048-8961-5969497C0019}" dt="2022-11-24T20:01:45.905" v="137557"/>
          <ac:spMkLst>
            <pc:docMk/>
            <pc:sldMk cId="2192655461" sldId="406"/>
            <ac:spMk id="108" creationId="{A76E466C-F4A3-06EC-1E26-BB450BE6969E}"/>
          </ac:spMkLst>
        </pc:spChg>
        <pc:spChg chg="add del mod modVis">
          <ac:chgData name="Merlin Gutter" userId="2abc6f04-74af-430b-bdc8-569c3bfa1dda" providerId="ADAL" clId="{CB1EFBC3-10F5-3048-8961-5969497C0019}" dt="2022-11-24T20:01:48.626" v="137999"/>
          <ac:spMkLst>
            <pc:docMk/>
            <pc:sldMk cId="2192655461" sldId="406"/>
            <ac:spMk id="110" creationId="{F990BA4D-C2FC-973C-7DCC-DD5059BEA8C0}"/>
          </ac:spMkLst>
        </pc:spChg>
        <pc:spChg chg="add mod replST">
          <ac:chgData name="Merlin Gutter" userId="2abc6f04-74af-430b-bdc8-569c3bfa1dda" providerId="ADAL" clId="{CB1EFBC3-10F5-3048-8961-5969497C0019}" dt="2022-11-25T00:17:13.152" v="205306"/>
          <ac:spMkLst>
            <pc:docMk/>
            <pc:sldMk cId="2192655461" sldId="406"/>
            <ac:spMk id="111" creationId="{A5C2468F-4CD1-D0CE-8449-5B8321AAA353}"/>
          </ac:spMkLst>
        </pc:spChg>
        <pc:spChg chg="add mod replST">
          <ac:chgData name="Merlin Gutter" userId="2abc6f04-74af-430b-bdc8-569c3bfa1dda" providerId="ADAL" clId="{CB1EFBC3-10F5-3048-8961-5969497C0019}" dt="2022-11-25T00:17:13.150" v="205304"/>
          <ac:spMkLst>
            <pc:docMk/>
            <pc:sldMk cId="2192655461" sldId="406"/>
            <ac:spMk id="112" creationId="{51676865-6A63-FDB2-01BE-A8039663284E}"/>
          </ac:spMkLst>
        </pc:spChg>
        <pc:spChg chg="add mod replST">
          <ac:chgData name="Merlin Gutter" userId="2abc6f04-74af-430b-bdc8-569c3bfa1dda" providerId="ADAL" clId="{CB1EFBC3-10F5-3048-8961-5969497C0019}" dt="2022-11-25T00:17:13.151" v="205305"/>
          <ac:spMkLst>
            <pc:docMk/>
            <pc:sldMk cId="2192655461" sldId="406"/>
            <ac:spMk id="113" creationId="{877BF9B6-8FDF-43CE-3D52-A43682AB7789}"/>
          </ac:spMkLst>
        </pc:spChg>
        <pc:spChg chg="add mod replST">
          <ac:chgData name="Merlin Gutter" userId="2abc6f04-74af-430b-bdc8-569c3bfa1dda" providerId="ADAL" clId="{CB1EFBC3-10F5-3048-8961-5969497C0019}" dt="2022-11-25T00:17:13.153" v="205307"/>
          <ac:spMkLst>
            <pc:docMk/>
            <pc:sldMk cId="2192655461" sldId="406"/>
            <ac:spMk id="114" creationId="{C66DC188-DA06-A1B8-4F5F-59B4DF04D553}"/>
          </ac:spMkLst>
        </pc:spChg>
        <pc:spChg chg="add del mod replST">
          <ac:chgData name="Merlin Gutter" userId="2abc6f04-74af-430b-bdc8-569c3bfa1dda" providerId="ADAL" clId="{CB1EFBC3-10F5-3048-8961-5969497C0019}" dt="2022-11-24T22:36:14.179" v="163420"/>
          <ac:spMkLst>
            <pc:docMk/>
            <pc:sldMk cId="2192655461" sldId="406"/>
            <ac:spMk id="115" creationId="{EC414975-6A8B-8116-AFD7-F03763BAFB2E}"/>
          </ac:spMkLst>
        </pc:spChg>
        <pc:spChg chg="add del mod modVis">
          <ac:chgData name="Merlin Gutter" userId="2abc6f04-74af-430b-bdc8-569c3bfa1dda" providerId="ADAL" clId="{CB1EFBC3-10F5-3048-8961-5969497C0019}" dt="2022-11-24T20:01:48.747" v="138148"/>
          <ac:spMkLst>
            <pc:docMk/>
            <pc:sldMk cId="2192655461" sldId="406"/>
            <ac:spMk id="117" creationId="{2B7E6F45-4EEC-7887-17D9-B16435158039}"/>
          </ac:spMkLst>
        </pc:spChg>
        <pc:spChg chg="add del mod replST">
          <ac:chgData name="Merlin Gutter" userId="2abc6f04-74af-430b-bdc8-569c3bfa1dda" providerId="ADAL" clId="{CB1EFBC3-10F5-3048-8961-5969497C0019}" dt="2022-11-24T20:01:56.996" v="138284"/>
          <ac:spMkLst>
            <pc:docMk/>
            <pc:sldMk cId="2192655461" sldId="406"/>
            <ac:spMk id="120" creationId="{26D5AE9F-0246-4AD8-1315-54DF3343EBE5}"/>
          </ac:spMkLst>
        </pc:spChg>
        <pc:spChg chg="add del mod modVis">
          <ac:chgData name="Merlin Gutter" userId="2abc6f04-74af-430b-bdc8-569c3bfa1dda" providerId="ADAL" clId="{CB1EFBC3-10F5-3048-8961-5969497C0019}" dt="2022-11-24T20:01:54.111" v="138279"/>
          <ac:spMkLst>
            <pc:docMk/>
            <pc:sldMk cId="2192655461" sldId="406"/>
            <ac:spMk id="121" creationId="{848FBDC9-3B88-A9F6-E2FE-B129F7ECC908}"/>
          </ac:spMkLst>
        </pc:spChg>
        <pc:spChg chg="add del mod replST">
          <ac:chgData name="Merlin Gutter" userId="2abc6f04-74af-430b-bdc8-569c3bfa1dda" providerId="ADAL" clId="{CB1EFBC3-10F5-3048-8961-5969497C0019}" dt="2022-11-24T20:01:56.990" v="138283"/>
          <ac:spMkLst>
            <pc:docMk/>
            <pc:sldMk cId="2192655461" sldId="406"/>
            <ac:spMk id="122" creationId="{C6A45FD6-64FE-EA26-F3D6-99D6D7B82DE5}"/>
          </ac:spMkLst>
        </pc:spChg>
        <pc:spChg chg="add del mod modVis">
          <ac:chgData name="Merlin Gutter" userId="2abc6f04-74af-430b-bdc8-569c3bfa1dda" providerId="ADAL" clId="{CB1EFBC3-10F5-3048-8961-5969497C0019}" dt="2022-11-24T20:02:11.758" v="138520"/>
          <ac:spMkLst>
            <pc:docMk/>
            <pc:sldMk cId="2192655461" sldId="406"/>
            <ac:spMk id="123" creationId="{896DBEC7-3E9F-997D-F1A8-E258E0D7353B}"/>
          </ac:spMkLst>
        </pc:spChg>
        <pc:spChg chg="add del mod modVis">
          <ac:chgData name="Merlin Gutter" userId="2abc6f04-74af-430b-bdc8-569c3bfa1dda" providerId="ADAL" clId="{CB1EFBC3-10F5-3048-8961-5969497C0019}" dt="2022-11-24T20:02:11.874" v="138605"/>
          <ac:spMkLst>
            <pc:docMk/>
            <pc:sldMk cId="2192655461" sldId="406"/>
            <ac:spMk id="125" creationId="{61164BA9-99FE-FA34-9ED6-02A8ACC6F97D}"/>
          </ac:spMkLst>
        </pc:spChg>
        <pc:spChg chg="add del mod modVis">
          <ac:chgData name="Merlin Gutter" userId="2abc6f04-74af-430b-bdc8-569c3bfa1dda" providerId="ADAL" clId="{CB1EFBC3-10F5-3048-8961-5969497C0019}" dt="2022-11-24T20:02:13.474" v="138956"/>
          <ac:spMkLst>
            <pc:docMk/>
            <pc:sldMk cId="2192655461" sldId="406"/>
            <ac:spMk id="127" creationId="{AA1FBD83-7F1B-504F-65AC-AC45B7852CDF}"/>
          </ac:spMkLst>
        </pc:spChg>
        <pc:spChg chg="add del mod modVis">
          <ac:chgData name="Merlin Gutter" userId="2abc6f04-74af-430b-bdc8-569c3bfa1dda" providerId="ADAL" clId="{CB1EFBC3-10F5-3048-8961-5969497C0019}" dt="2022-11-24T20:02:13.608" v="139083"/>
          <ac:spMkLst>
            <pc:docMk/>
            <pc:sldMk cId="2192655461" sldId="406"/>
            <ac:spMk id="134" creationId="{E0C4E425-83F5-2F73-7069-60B6BAD0CB88}"/>
          </ac:spMkLst>
        </pc:spChg>
        <pc:spChg chg="add del mod modVis">
          <ac:chgData name="Merlin Gutter" userId="2abc6f04-74af-430b-bdc8-569c3bfa1dda" providerId="ADAL" clId="{CB1EFBC3-10F5-3048-8961-5969497C0019}" dt="2022-11-24T20:02:38.251" v="139210"/>
          <ac:spMkLst>
            <pc:docMk/>
            <pc:sldMk cId="2192655461" sldId="406"/>
            <ac:spMk id="136" creationId="{1C83731B-7CC0-0C2A-1E94-C4F6B9980CFE}"/>
          </ac:spMkLst>
        </pc:spChg>
        <pc:spChg chg="add del mod modVis">
          <ac:chgData name="Merlin Gutter" userId="2abc6f04-74af-430b-bdc8-569c3bfa1dda" providerId="ADAL" clId="{CB1EFBC3-10F5-3048-8961-5969497C0019}" dt="2022-11-24T20:02:38.352" v="139336"/>
          <ac:spMkLst>
            <pc:docMk/>
            <pc:sldMk cId="2192655461" sldId="406"/>
            <ac:spMk id="138" creationId="{49C98764-AE5E-8684-EA8C-C0F587A26EE4}"/>
          </ac:spMkLst>
        </pc:spChg>
        <pc:spChg chg="add del mod modVis">
          <ac:chgData name="Merlin Gutter" userId="2abc6f04-74af-430b-bdc8-569c3bfa1dda" providerId="ADAL" clId="{CB1EFBC3-10F5-3048-8961-5969497C0019}" dt="2022-11-24T20:02:40.171" v="139903"/>
          <ac:spMkLst>
            <pc:docMk/>
            <pc:sldMk cId="2192655461" sldId="406"/>
            <ac:spMk id="141" creationId="{39282F2E-4F6E-A2BF-5078-D56EC660685B}"/>
          </ac:spMkLst>
        </pc:spChg>
        <pc:spChg chg="add del mod replST">
          <ac:chgData name="Merlin Gutter" userId="2abc6f04-74af-430b-bdc8-569c3bfa1dda" providerId="ADAL" clId="{CB1EFBC3-10F5-3048-8961-5969497C0019}" dt="2022-11-24T20:02:42.339" v="140182"/>
          <ac:spMkLst>
            <pc:docMk/>
            <pc:sldMk cId="2192655461" sldId="406"/>
            <ac:spMk id="142" creationId="{86573C7A-363C-02DA-94CD-3B4CA10D8CE6}"/>
          </ac:spMkLst>
        </pc:spChg>
        <pc:spChg chg="add del mod replST">
          <ac:chgData name="Merlin Gutter" userId="2abc6f04-74af-430b-bdc8-569c3bfa1dda" providerId="ADAL" clId="{CB1EFBC3-10F5-3048-8961-5969497C0019}" dt="2022-11-24T20:02:42.339" v="140183"/>
          <ac:spMkLst>
            <pc:docMk/>
            <pc:sldMk cId="2192655461" sldId="406"/>
            <ac:spMk id="143" creationId="{84D77C1E-FC0E-BA0C-85E1-CE2BF08077BA}"/>
          </ac:spMkLst>
        </pc:spChg>
        <pc:spChg chg="add del mod replST">
          <ac:chgData name="Merlin Gutter" userId="2abc6f04-74af-430b-bdc8-569c3bfa1dda" providerId="ADAL" clId="{CB1EFBC3-10F5-3048-8961-5969497C0019}" dt="2022-11-24T20:02:42.340" v="140184"/>
          <ac:spMkLst>
            <pc:docMk/>
            <pc:sldMk cId="2192655461" sldId="406"/>
            <ac:spMk id="144" creationId="{B2F6C2E6-107D-3BD6-DA19-E419BFC20B70}"/>
          </ac:spMkLst>
        </pc:spChg>
        <pc:spChg chg="add del mod replST">
          <ac:chgData name="Merlin Gutter" userId="2abc6f04-74af-430b-bdc8-569c3bfa1dda" providerId="ADAL" clId="{CB1EFBC3-10F5-3048-8961-5969497C0019}" dt="2022-11-24T20:02:42.340" v="140185"/>
          <ac:spMkLst>
            <pc:docMk/>
            <pc:sldMk cId="2192655461" sldId="406"/>
            <ac:spMk id="145" creationId="{325E11B4-2017-95C3-A886-636F772EF6ED}"/>
          </ac:spMkLst>
        </pc:spChg>
        <pc:spChg chg="add del mod replST">
          <ac:chgData name="Merlin Gutter" userId="2abc6f04-74af-430b-bdc8-569c3bfa1dda" providerId="ADAL" clId="{CB1EFBC3-10F5-3048-8961-5969497C0019}" dt="2022-11-24T20:02:42.341" v="140186"/>
          <ac:spMkLst>
            <pc:docMk/>
            <pc:sldMk cId="2192655461" sldId="406"/>
            <ac:spMk id="146" creationId="{3182C38E-D347-6E8F-67BF-B85464EE4CDC}"/>
          </ac:spMkLst>
        </pc:spChg>
        <pc:spChg chg="add del mod replST">
          <ac:chgData name="Merlin Gutter" userId="2abc6f04-74af-430b-bdc8-569c3bfa1dda" providerId="ADAL" clId="{CB1EFBC3-10F5-3048-8961-5969497C0019}" dt="2022-11-24T20:02:42.342" v="140187"/>
          <ac:spMkLst>
            <pc:docMk/>
            <pc:sldMk cId="2192655461" sldId="406"/>
            <ac:spMk id="147" creationId="{9F5FAA8E-753C-A878-7AF0-4EFD28EA5BE1}"/>
          </ac:spMkLst>
        </pc:spChg>
        <pc:spChg chg="add del mod replST">
          <ac:chgData name="Merlin Gutter" userId="2abc6f04-74af-430b-bdc8-569c3bfa1dda" providerId="ADAL" clId="{CB1EFBC3-10F5-3048-8961-5969497C0019}" dt="2022-11-24T20:02:42.343" v="140188"/>
          <ac:spMkLst>
            <pc:docMk/>
            <pc:sldMk cId="2192655461" sldId="406"/>
            <ac:spMk id="148" creationId="{A0872CC4-B8B9-9078-73B7-98C12497B989}"/>
          </ac:spMkLst>
        </pc:spChg>
        <pc:spChg chg="add del mod modVis">
          <ac:chgData name="Merlin Gutter" userId="2abc6f04-74af-430b-bdc8-569c3bfa1dda" providerId="ADAL" clId="{CB1EFBC3-10F5-3048-8961-5969497C0019}" dt="2022-11-24T20:02:40.386" v="140049"/>
          <ac:spMkLst>
            <pc:docMk/>
            <pc:sldMk cId="2192655461" sldId="406"/>
            <ac:spMk id="150" creationId="{2A3B9F67-5C19-10A1-4181-CDED626683A3}"/>
          </ac:spMkLst>
        </pc:spChg>
        <pc:spChg chg="add del mod modVis">
          <ac:chgData name="Merlin Gutter" userId="2abc6f04-74af-430b-bdc8-569c3bfa1dda" providerId="ADAL" clId="{CB1EFBC3-10F5-3048-8961-5969497C0019}" dt="2022-11-24T20:02:42.437" v="140255"/>
          <ac:spMkLst>
            <pc:docMk/>
            <pc:sldMk cId="2192655461" sldId="406"/>
            <ac:spMk id="152" creationId="{B3C6054A-5672-6F40-B302-1DBB3C972C1B}"/>
          </ac:spMkLst>
        </pc:spChg>
        <pc:spChg chg="add del mod modVis">
          <ac:chgData name="Merlin Gutter" userId="2abc6f04-74af-430b-bdc8-569c3bfa1dda" providerId="ADAL" clId="{CB1EFBC3-10F5-3048-8961-5969497C0019}" dt="2022-11-24T20:02:42.743" v="140447"/>
          <ac:spMkLst>
            <pc:docMk/>
            <pc:sldMk cId="2192655461" sldId="406"/>
            <ac:spMk id="154" creationId="{6FA266A2-80C2-C8C6-20E2-CCEF9F0974F0}"/>
          </ac:spMkLst>
        </pc:spChg>
        <pc:spChg chg="add del mod modVis">
          <ac:chgData name="Merlin Gutter" userId="2abc6f04-74af-430b-bdc8-569c3bfa1dda" providerId="ADAL" clId="{CB1EFBC3-10F5-3048-8961-5969497C0019}" dt="2022-11-24T20:02:42.825" v="140535"/>
          <ac:spMkLst>
            <pc:docMk/>
            <pc:sldMk cId="2192655461" sldId="406"/>
            <ac:spMk id="156" creationId="{A1C2348B-39C4-CFF6-CFA6-4D00B04CEF16}"/>
          </ac:spMkLst>
        </pc:spChg>
        <pc:spChg chg="add del mod modVis">
          <ac:chgData name="Merlin Gutter" userId="2abc6f04-74af-430b-bdc8-569c3bfa1dda" providerId="ADAL" clId="{CB1EFBC3-10F5-3048-8961-5969497C0019}" dt="2022-11-24T20:02:42.923" v="140621"/>
          <ac:spMkLst>
            <pc:docMk/>
            <pc:sldMk cId="2192655461" sldId="406"/>
            <ac:spMk id="158" creationId="{92BF855E-8A86-921F-7049-25A3A6BAB588}"/>
          </ac:spMkLst>
        </pc:spChg>
        <pc:spChg chg="add del mod modVis">
          <ac:chgData name="Merlin Gutter" userId="2abc6f04-74af-430b-bdc8-569c3bfa1dda" providerId="ADAL" clId="{CB1EFBC3-10F5-3048-8961-5969497C0019}" dt="2022-11-24T20:02:44.449" v="140848"/>
          <ac:spMkLst>
            <pc:docMk/>
            <pc:sldMk cId="2192655461" sldId="406"/>
            <ac:spMk id="160" creationId="{9DEFDF36-9E27-64A3-CE0E-63940937C038}"/>
          </ac:spMkLst>
        </pc:spChg>
        <pc:spChg chg="add del mod replST">
          <ac:chgData name="Merlin Gutter" userId="2abc6f04-74af-430b-bdc8-569c3bfa1dda" providerId="ADAL" clId="{CB1EFBC3-10F5-3048-8961-5969497C0019}" dt="2022-11-24T20:02:49.136" v="141304"/>
          <ac:spMkLst>
            <pc:docMk/>
            <pc:sldMk cId="2192655461" sldId="406"/>
            <ac:spMk id="161" creationId="{162D7CA7-0928-4F1A-A470-CC5CB13DEDEB}"/>
          </ac:spMkLst>
        </pc:spChg>
        <pc:spChg chg="add del mod replST">
          <ac:chgData name="Merlin Gutter" userId="2abc6f04-74af-430b-bdc8-569c3bfa1dda" providerId="ADAL" clId="{CB1EFBC3-10F5-3048-8961-5969497C0019}" dt="2022-11-24T20:02:49.136" v="141305"/>
          <ac:spMkLst>
            <pc:docMk/>
            <pc:sldMk cId="2192655461" sldId="406"/>
            <ac:spMk id="162" creationId="{F17178F2-7959-6FDB-9E12-C2035DF15ED3}"/>
          </ac:spMkLst>
        </pc:spChg>
        <pc:spChg chg="add del mod modVis">
          <ac:chgData name="Merlin Gutter" userId="2abc6f04-74af-430b-bdc8-569c3bfa1dda" providerId="ADAL" clId="{CB1EFBC3-10F5-3048-8961-5969497C0019}" dt="2022-11-24T20:02:44.623" v="140964"/>
          <ac:spMkLst>
            <pc:docMk/>
            <pc:sldMk cId="2192655461" sldId="406"/>
            <ac:spMk id="164" creationId="{D6E24B24-8155-7FAB-9B94-8FC2E8522401}"/>
          </ac:spMkLst>
        </pc:spChg>
        <pc:spChg chg="add del mod modVis">
          <ac:chgData name="Merlin Gutter" userId="2abc6f04-74af-430b-bdc8-569c3bfa1dda" providerId="ADAL" clId="{CB1EFBC3-10F5-3048-8961-5969497C0019}" dt="2022-11-24T20:02:46.908" v="141080"/>
          <ac:spMkLst>
            <pc:docMk/>
            <pc:sldMk cId="2192655461" sldId="406"/>
            <ac:spMk id="166" creationId="{ABE06BBC-28EA-9511-3C04-5BFF1585D0DA}"/>
          </ac:spMkLst>
        </pc:spChg>
        <pc:spChg chg="add del mod modVis">
          <ac:chgData name="Merlin Gutter" userId="2abc6f04-74af-430b-bdc8-569c3bfa1dda" providerId="ADAL" clId="{CB1EFBC3-10F5-3048-8961-5969497C0019}" dt="2022-11-24T20:02:47.024" v="141196"/>
          <ac:spMkLst>
            <pc:docMk/>
            <pc:sldMk cId="2192655461" sldId="406"/>
            <ac:spMk id="168" creationId="{8E0A38F7-8A20-08D4-3A81-BC9C74C213B5}"/>
          </ac:spMkLst>
        </pc:spChg>
        <pc:spChg chg="add del mod modVis">
          <ac:chgData name="Merlin Gutter" userId="2abc6f04-74af-430b-bdc8-569c3bfa1dda" providerId="ADAL" clId="{CB1EFBC3-10F5-3048-8961-5969497C0019}" dt="2022-11-24T20:02:49.172" v="141332"/>
          <ac:spMkLst>
            <pc:docMk/>
            <pc:sldMk cId="2192655461" sldId="406"/>
            <ac:spMk id="170" creationId="{7553E25B-D2F0-79E2-EFD8-90A753AA2037}"/>
          </ac:spMkLst>
        </pc:spChg>
        <pc:spChg chg="add del mod modVis">
          <ac:chgData name="Merlin Gutter" userId="2abc6f04-74af-430b-bdc8-569c3bfa1dda" providerId="ADAL" clId="{CB1EFBC3-10F5-3048-8961-5969497C0019}" dt="2022-11-24T20:02:49.341" v="141464"/>
          <ac:spMkLst>
            <pc:docMk/>
            <pc:sldMk cId="2192655461" sldId="406"/>
            <ac:spMk id="172" creationId="{EEA243E4-8534-ACA4-11E4-7AA72506500A}"/>
          </ac:spMkLst>
        </pc:spChg>
        <pc:spChg chg="add del mod modVis">
          <ac:chgData name="Merlin Gutter" userId="2abc6f04-74af-430b-bdc8-569c3bfa1dda" providerId="ADAL" clId="{CB1EFBC3-10F5-3048-8961-5969497C0019}" dt="2022-11-24T20:02:49.424" v="141550"/>
          <ac:spMkLst>
            <pc:docMk/>
            <pc:sldMk cId="2192655461" sldId="406"/>
            <ac:spMk id="174" creationId="{8B991129-1021-F56A-6BF3-BAFD5E3CDDBE}"/>
          </ac:spMkLst>
        </pc:spChg>
        <pc:spChg chg="add del mod modVis">
          <ac:chgData name="Merlin Gutter" userId="2abc6f04-74af-430b-bdc8-569c3bfa1dda" providerId="ADAL" clId="{CB1EFBC3-10F5-3048-8961-5969497C0019}" dt="2022-11-24T20:02:49.510" v="141636"/>
          <ac:spMkLst>
            <pc:docMk/>
            <pc:sldMk cId="2192655461" sldId="406"/>
            <ac:spMk id="176" creationId="{D1B7F8E3-9CBB-0B28-9E55-A5A1E3AB8326}"/>
          </ac:spMkLst>
        </pc:spChg>
        <pc:spChg chg="add del mod modVis">
          <ac:chgData name="Merlin Gutter" userId="2abc6f04-74af-430b-bdc8-569c3bfa1dda" providerId="ADAL" clId="{CB1EFBC3-10F5-3048-8961-5969497C0019}" dt="2022-11-24T20:02:52.746" v="141728"/>
          <ac:spMkLst>
            <pc:docMk/>
            <pc:sldMk cId="2192655461" sldId="406"/>
            <ac:spMk id="178" creationId="{7B292820-F860-A981-5C19-BFAA9C9461A3}"/>
          </ac:spMkLst>
        </pc:spChg>
        <pc:spChg chg="add del mod modVis">
          <ac:chgData name="Merlin Gutter" userId="2abc6f04-74af-430b-bdc8-569c3bfa1dda" providerId="ADAL" clId="{CB1EFBC3-10F5-3048-8961-5969497C0019}" dt="2022-11-24T20:02:52.836" v="141814"/>
          <ac:spMkLst>
            <pc:docMk/>
            <pc:sldMk cId="2192655461" sldId="406"/>
            <ac:spMk id="180" creationId="{2245BCE7-E1D6-8063-2D45-72CCC0FE19E1}"/>
          </ac:spMkLst>
        </pc:spChg>
        <pc:spChg chg="add del mod modVis">
          <ac:chgData name="Merlin Gutter" userId="2abc6f04-74af-430b-bdc8-569c3bfa1dda" providerId="ADAL" clId="{CB1EFBC3-10F5-3048-8961-5969497C0019}" dt="2022-11-24T20:02:56.112" v="141906"/>
          <ac:spMkLst>
            <pc:docMk/>
            <pc:sldMk cId="2192655461" sldId="406"/>
            <ac:spMk id="182" creationId="{116AD825-FC50-6F72-147A-93418B3B6B87}"/>
          </ac:spMkLst>
        </pc:spChg>
        <pc:spChg chg="add del mod modVis">
          <ac:chgData name="Merlin Gutter" userId="2abc6f04-74af-430b-bdc8-569c3bfa1dda" providerId="ADAL" clId="{CB1EFBC3-10F5-3048-8961-5969497C0019}" dt="2022-11-24T20:02:56.202" v="141992"/>
          <ac:spMkLst>
            <pc:docMk/>
            <pc:sldMk cId="2192655461" sldId="406"/>
            <ac:spMk id="184" creationId="{0CCA693D-C16E-7CFF-E8CB-48B93C4B9B85}"/>
          </ac:spMkLst>
        </pc:spChg>
        <pc:spChg chg="add del mod modVis">
          <ac:chgData name="Merlin Gutter" userId="2abc6f04-74af-430b-bdc8-569c3bfa1dda" providerId="ADAL" clId="{CB1EFBC3-10F5-3048-8961-5969497C0019}" dt="2022-11-24T20:03:00.696" v="142101"/>
          <ac:spMkLst>
            <pc:docMk/>
            <pc:sldMk cId="2192655461" sldId="406"/>
            <ac:spMk id="186" creationId="{1862ED11-326E-DDD2-80E9-1B147DAE94E2}"/>
          </ac:spMkLst>
        </pc:spChg>
        <pc:spChg chg="add del mod modVis">
          <ac:chgData name="Merlin Gutter" userId="2abc6f04-74af-430b-bdc8-569c3bfa1dda" providerId="ADAL" clId="{CB1EFBC3-10F5-3048-8961-5969497C0019}" dt="2022-11-24T20:03:00.835" v="142187"/>
          <ac:spMkLst>
            <pc:docMk/>
            <pc:sldMk cId="2192655461" sldId="406"/>
            <ac:spMk id="188" creationId="{C7444771-4057-C441-BDE3-DD8055D0639D}"/>
          </ac:spMkLst>
        </pc:spChg>
        <pc:spChg chg="add del mod modVis">
          <ac:chgData name="Merlin Gutter" userId="2abc6f04-74af-430b-bdc8-569c3bfa1dda" providerId="ADAL" clId="{CB1EFBC3-10F5-3048-8961-5969497C0019}" dt="2022-11-24T20:03:03.903" v="142317"/>
          <ac:spMkLst>
            <pc:docMk/>
            <pc:sldMk cId="2192655461" sldId="406"/>
            <ac:spMk id="190" creationId="{2D818C97-DB9C-1B71-08D1-D84E25FCBAA4}"/>
          </ac:spMkLst>
        </pc:spChg>
        <pc:spChg chg="add del mod modVis">
          <ac:chgData name="Merlin Gutter" userId="2abc6f04-74af-430b-bdc8-569c3bfa1dda" providerId="ADAL" clId="{CB1EFBC3-10F5-3048-8961-5969497C0019}" dt="2022-11-24T20:03:04.002" v="142403"/>
          <ac:spMkLst>
            <pc:docMk/>
            <pc:sldMk cId="2192655461" sldId="406"/>
            <ac:spMk id="192" creationId="{3F3A97F5-5470-3772-5BBB-CC8E9E150AC4}"/>
          </ac:spMkLst>
        </pc:spChg>
        <pc:spChg chg="add mod replST">
          <ac:chgData name="Merlin Gutter" userId="2abc6f04-74af-430b-bdc8-569c3bfa1dda" providerId="ADAL" clId="{CB1EFBC3-10F5-3048-8961-5969497C0019}" dt="2022-11-25T00:17:13.172" v="205323"/>
          <ac:spMkLst>
            <pc:docMk/>
            <pc:sldMk cId="2192655461" sldId="406"/>
            <ac:spMk id="197" creationId="{0B9CF22E-D322-5FD9-2EC4-16CDBA3B4441}"/>
          </ac:spMkLst>
        </pc:spChg>
        <pc:spChg chg="add del mod replST">
          <ac:chgData name="Merlin Gutter" userId="2abc6f04-74af-430b-bdc8-569c3bfa1dda" providerId="ADAL" clId="{CB1EFBC3-10F5-3048-8961-5969497C0019}" dt="2022-11-24T22:37:13.315" v="166851"/>
          <ac:spMkLst>
            <pc:docMk/>
            <pc:sldMk cId="2192655461" sldId="406"/>
            <ac:spMk id="198" creationId="{BB51B44A-5677-6B2D-3C9D-39A5EF10B32A}"/>
          </ac:spMkLst>
        </pc:spChg>
        <pc:spChg chg="add mod replST">
          <ac:chgData name="Merlin Gutter" userId="2abc6f04-74af-430b-bdc8-569c3bfa1dda" providerId="ADAL" clId="{CB1EFBC3-10F5-3048-8961-5969497C0019}" dt="2022-11-25T00:17:13.173" v="205324"/>
          <ac:spMkLst>
            <pc:docMk/>
            <pc:sldMk cId="2192655461" sldId="406"/>
            <ac:spMk id="199" creationId="{C2647A23-3944-2E48-A0B7-80164F38B5CD}"/>
          </ac:spMkLst>
        </pc:spChg>
        <pc:spChg chg="add mod replST">
          <ac:chgData name="Merlin Gutter" userId="2abc6f04-74af-430b-bdc8-569c3bfa1dda" providerId="ADAL" clId="{CB1EFBC3-10F5-3048-8961-5969497C0019}" dt="2022-11-25T00:17:13.178" v="205328"/>
          <ac:spMkLst>
            <pc:docMk/>
            <pc:sldMk cId="2192655461" sldId="406"/>
            <ac:spMk id="200" creationId="{600F12AE-AC5E-25D9-7905-86A4BC4A0CBD}"/>
          </ac:spMkLst>
        </pc:spChg>
        <pc:spChg chg="add mod replST">
          <ac:chgData name="Merlin Gutter" userId="2abc6f04-74af-430b-bdc8-569c3bfa1dda" providerId="ADAL" clId="{CB1EFBC3-10F5-3048-8961-5969497C0019}" dt="2022-11-25T00:17:13.176" v="205327"/>
          <ac:spMkLst>
            <pc:docMk/>
            <pc:sldMk cId="2192655461" sldId="406"/>
            <ac:spMk id="201" creationId="{D0812E38-082E-C56E-0570-11550BC44C96}"/>
          </ac:spMkLst>
        </pc:spChg>
        <pc:spChg chg="add del mod replST">
          <ac:chgData name="Merlin Gutter" userId="2abc6f04-74af-430b-bdc8-569c3bfa1dda" providerId="ADAL" clId="{CB1EFBC3-10F5-3048-8961-5969497C0019}" dt="2022-11-25T00:17:13.175" v="205326"/>
          <ac:spMkLst>
            <pc:docMk/>
            <pc:sldMk cId="2192655461" sldId="406"/>
            <ac:spMk id="202" creationId="{0C5D58BB-A65C-1319-9FA9-A111269ECBF6}"/>
          </ac:spMkLst>
        </pc:spChg>
        <pc:spChg chg="add mod replST">
          <ac:chgData name="Merlin Gutter" userId="2abc6f04-74af-430b-bdc8-569c3bfa1dda" providerId="ADAL" clId="{CB1EFBC3-10F5-3048-8961-5969497C0019}" dt="2022-11-25T00:17:13.180" v="205330"/>
          <ac:spMkLst>
            <pc:docMk/>
            <pc:sldMk cId="2192655461" sldId="406"/>
            <ac:spMk id="203" creationId="{10E60917-FE40-B308-9CD1-EC77D986EC4F}"/>
          </ac:spMkLst>
        </pc:spChg>
        <pc:spChg chg="add del mod modVis">
          <ac:chgData name="Merlin Gutter" userId="2abc6f04-74af-430b-bdc8-569c3bfa1dda" providerId="ADAL" clId="{CB1EFBC3-10F5-3048-8961-5969497C0019}" dt="2022-11-24T20:03:20.453" v="142653"/>
          <ac:spMkLst>
            <pc:docMk/>
            <pc:sldMk cId="2192655461" sldId="406"/>
            <ac:spMk id="204" creationId="{329D156E-F763-EAF2-5C83-FCB0D084D6C8}"/>
          </ac:spMkLst>
        </pc:spChg>
        <pc:spChg chg="add del mod modVis">
          <ac:chgData name="Merlin Gutter" userId="2abc6f04-74af-430b-bdc8-569c3bfa1dda" providerId="ADAL" clId="{CB1EFBC3-10F5-3048-8961-5969497C0019}" dt="2022-11-24T20:03:20.568" v="142749"/>
          <ac:spMkLst>
            <pc:docMk/>
            <pc:sldMk cId="2192655461" sldId="406"/>
            <ac:spMk id="206" creationId="{C4433237-47CD-46AB-CFDE-D0AB5136D9E6}"/>
          </ac:spMkLst>
        </pc:spChg>
        <pc:spChg chg="add del mod modVis">
          <ac:chgData name="Merlin Gutter" userId="2abc6f04-74af-430b-bdc8-569c3bfa1dda" providerId="ADAL" clId="{CB1EFBC3-10F5-3048-8961-5969497C0019}" dt="2022-11-24T20:03:43.287" v="142907"/>
          <ac:spMkLst>
            <pc:docMk/>
            <pc:sldMk cId="2192655461" sldId="406"/>
            <ac:spMk id="208" creationId="{EA9B46A0-13B2-6CBC-E450-4CF71A0E735C}"/>
          </ac:spMkLst>
        </pc:spChg>
        <pc:spChg chg="add del mod modVis">
          <ac:chgData name="Merlin Gutter" userId="2abc6f04-74af-430b-bdc8-569c3bfa1dda" providerId="ADAL" clId="{CB1EFBC3-10F5-3048-8961-5969497C0019}" dt="2022-11-24T20:03:43.368" v="143035"/>
          <ac:spMkLst>
            <pc:docMk/>
            <pc:sldMk cId="2192655461" sldId="406"/>
            <ac:spMk id="213" creationId="{B7BD24D9-3902-CDC1-CFCC-7FF5337E964A}"/>
          </ac:spMkLst>
        </pc:spChg>
        <pc:spChg chg="add del mod modVis">
          <ac:chgData name="Merlin Gutter" userId="2abc6f04-74af-430b-bdc8-569c3bfa1dda" providerId="ADAL" clId="{CB1EFBC3-10F5-3048-8961-5969497C0019}" dt="2022-11-24T20:03:56.817" v="143157"/>
          <ac:spMkLst>
            <pc:docMk/>
            <pc:sldMk cId="2192655461" sldId="406"/>
            <ac:spMk id="215" creationId="{58FFF258-4319-FD3A-6F29-CD4191C88B39}"/>
          </ac:spMkLst>
        </pc:spChg>
        <pc:spChg chg="add del mod modVis">
          <ac:chgData name="Merlin Gutter" userId="2abc6f04-74af-430b-bdc8-569c3bfa1dda" providerId="ADAL" clId="{CB1EFBC3-10F5-3048-8961-5969497C0019}" dt="2022-11-24T20:03:56.902" v="143252"/>
          <ac:spMkLst>
            <pc:docMk/>
            <pc:sldMk cId="2192655461" sldId="406"/>
            <ac:spMk id="217" creationId="{83ED1170-78B2-D239-1C46-C001A636AF34}"/>
          </ac:spMkLst>
        </pc:spChg>
        <pc:spChg chg="add del mod replST">
          <ac:chgData name="Merlin Gutter" userId="2abc6f04-74af-430b-bdc8-569c3bfa1dda" providerId="ADAL" clId="{CB1EFBC3-10F5-3048-8961-5969497C0019}" dt="2022-11-24T22:38:41.630" v="171910"/>
          <ac:spMkLst>
            <pc:docMk/>
            <pc:sldMk cId="2192655461" sldId="406"/>
            <ac:spMk id="221" creationId="{66ECC5CB-F9E9-F027-8869-191EF5E05F6F}"/>
          </ac:spMkLst>
        </pc:spChg>
        <pc:spChg chg="add mod replST">
          <ac:chgData name="Merlin Gutter" userId="2abc6f04-74af-430b-bdc8-569c3bfa1dda" providerId="ADAL" clId="{CB1EFBC3-10F5-3048-8961-5969497C0019}" dt="2022-11-25T00:17:13.231" v="205375"/>
          <ac:spMkLst>
            <pc:docMk/>
            <pc:sldMk cId="2192655461" sldId="406"/>
            <ac:spMk id="222" creationId="{0A0778E1-7336-E6C1-37A4-77C72B504B55}"/>
          </ac:spMkLst>
        </pc:spChg>
        <pc:spChg chg="add mod replST">
          <ac:chgData name="Merlin Gutter" userId="2abc6f04-74af-430b-bdc8-569c3bfa1dda" providerId="ADAL" clId="{CB1EFBC3-10F5-3048-8961-5969497C0019}" dt="2022-11-25T00:17:13.224" v="205369"/>
          <ac:spMkLst>
            <pc:docMk/>
            <pc:sldMk cId="2192655461" sldId="406"/>
            <ac:spMk id="223" creationId="{E4D4EFB6-E4B2-B13C-FFC3-957D8CCCCABF}"/>
          </ac:spMkLst>
        </pc:spChg>
        <pc:spChg chg="add mod replST">
          <ac:chgData name="Merlin Gutter" userId="2abc6f04-74af-430b-bdc8-569c3bfa1dda" providerId="ADAL" clId="{CB1EFBC3-10F5-3048-8961-5969497C0019}" dt="2022-11-25T00:17:13.230" v="205374"/>
          <ac:spMkLst>
            <pc:docMk/>
            <pc:sldMk cId="2192655461" sldId="406"/>
            <ac:spMk id="224" creationId="{D88B42CE-D34D-0CC1-9CA5-5741ECA87825}"/>
          </ac:spMkLst>
        </pc:spChg>
        <pc:spChg chg="add mod replST">
          <ac:chgData name="Merlin Gutter" userId="2abc6f04-74af-430b-bdc8-569c3bfa1dda" providerId="ADAL" clId="{CB1EFBC3-10F5-3048-8961-5969497C0019}" dt="2022-11-25T00:17:13.228" v="205372"/>
          <ac:spMkLst>
            <pc:docMk/>
            <pc:sldMk cId="2192655461" sldId="406"/>
            <ac:spMk id="225" creationId="{AFADD62C-B706-1BE1-224A-F8F9EBB092AB}"/>
          </ac:spMkLst>
        </pc:spChg>
        <pc:spChg chg="add del mod replST">
          <ac:chgData name="Merlin Gutter" userId="2abc6f04-74af-430b-bdc8-569c3bfa1dda" providerId="ADAL" clId="{CB1EFBC3-10F5-3048-8961-5969497C0019}" dt="2022-11-25T00:17:13.227" v="205371"/>
          <ac:spMkLst>
            <pc:docMk/>
            <pc:sldMk cId="2192655461" sldId="406"/>
            <ac:spMk id="226" creationId="{1786186A-D6AA-58E6-3A22-18B31A1D8542}"/>
          </ac:spMkLst>
        </pc:spChg>
        <pc:spChg chg="add mod replST">
          <ac:chgData name="Merlin Gutter" userId="2abc6f04-74af-430b-bdc8-569c3bfa1dda" providerId="ADAL" clId="{CB1EFBC3-10F5-3048-8961-5969497C0019}" dt="2022-11-25T00:17:13.225" v="205370"/>
          <ac:spMkLst>
            <pc:docMk/>
            <pc:sldMk cId="2192655461" sldId="406"/>
            <ac:spMk id="227" creationId="{69164B6F-18D6-6BB9-95EE-A092447EFAA6}"/>
          </ac:spMkLst>
        </pc:spChg>
        <pc:spChg chg="add del mod modVis">
          <ac:chgData name="Merlin Gutter" userId="2abc6f04-74af-430b-bdc8-569c3bfa1dda" providerId="ADAL" clId="{CB1EFBC3-10F5-3048-8961-5969497C0019}" dt="2022-11-24T20:04:09.540" v="143501"/>
          <ac:spMkLst>
            <pc:docMk/>
            <pc:sldMk cId="2192655461" sldId="406"/>
            <ac:spMk id="228" creationId="{CA5CF54D-F1AC-3133-778D-70EE236AD49B}"/>
          </ac:spMkLst>
        </pc:spChg>
        <pc:spChg chg="add del mod modVis">
          <ac:chgData name="Merlin Gutter" userId="2abc6f04-74af-430b-bdc8-569c3bfa1dda" providerId="ADAL" clId="{CB1EFBC3-10F5-3048-8961-5969497C0019}" dt="2022-11-24T20:04:09.647" v="143605"/>
          <ac:spMkLst>
            <pc:docMk/>
            <pc:sldMk cId="2192655461" sldId="406"/>
            <ac:spMk id="230" creationId="{2ABBBBAB-BB1B-D4AE-4BE7-8B0FD63C99CA}"/>
          </ac:spMkLst>
        </pc:spChg>
        <pc:spChg chg="add del mod modVis">
          <ac:chgData name="Merlin Gutter" userId="2abc6f04-74af-430b-bdc8-569c3bfa1dda" providerId="ADAL" clId="{CB1EFBC3-10F5-3048-8961-5969497C0019}" dt="2022-11-24T20:04:43.834" v="143741"/>
          <ac:spMkLst>
            <pc:docMk/>
            <pc:sldMk cId="2192655461" sldId="406"/>
            <ac:spMk id="232" creationId="{FA9BA066-F6D0-62A7-C5E0-F7A133E94DB7}"/>
          </ac:spMkLst>
        </pc:spChg>
        <pc:spChg chg="add del mod modVis">
          <ac:chgData name="Merlin Gutter" userId="2abc6f04-74af-430b-bdc8-569c3bfa1dda" providerId="ADAL" clId="{CB1EFBC3-10F5-3048-8961-5969497C0019}" dt="2022-11-24T20:04:43.924" v="143888"/>
          <ac:spMkLst>
            <pc:docMk/>
            <pc:sldMk cId="2192655461" sldId="406"/>
            <ac:spMk id="235" creationId="{3D4EB178-11C9-F03F-6118-2BB574810DB5}"/>
          </ac:spMkLst>
        </pc:spChg>
        <pc:spChg chg="add del mod modVis">
          <ac:chgData name="Merlin Gutter" userId="2abc6f04-74af-430b-bdc8-569c3bfa1dda" providerId="ADAL" clId="{CB1EFBC3-10F5-3048-8961-5969497C0019}" dt="2022-11-24T20:04:54.330" v="144019"/>
          <ac:spMkLst>
            <pc:docMk/>
            <pc:sldMk cId="2192655461" sldId="406"/>
            <ac:spMk id="238" creationId="{2A0CDAC5-4359-4140-288A-17B953C3978A}"/>
          </ac:spMkLst>
        </pc:spChg>
        <pc:spChg chg="add del mod modVis">
          <ac:chgData name="Merlin Gutter" userId="2abc6f04-74af-430b-bdc8-569c3bfa1dda" providerId="ADAL" clId="{CB1EFBC3-10F5-3048-8961-5969497C0019}" dt="2022-11-24T20:04:54.404" v="144123"/>
          <ac:spMkLst>
            <pc:docMk/>
            <pc:sldMk cId="2192655461" sldId="406"/>
            <ac:spMk id="240" creationId="{7552D693-574A-4FB2-E857-B7FA357FB355}"/>
          </ac:spMkLst>
        </pc:spChg>
        <pc:spChg chg="add del mod modVis">
          <ac:chgData name="Merlin Gutter" userId="2abc6f04-74af-430b-bdc8-569c3bfa1dda" providerId="ADAL" clId="{CB1EFBC3-10F5-3048-8961-5969497C0019}" dt="2022-11-24T20:05:52.840" v="144241"/>
          <ac:spMkLst>
            <pc:docMk/>
            <pc:sldMk cId="2192655461" sldId="406"/>
            <ac:spMk id="242" creationId="{CB1C6018-625B-DA03-09FF-C90858D41E66}"/>
          </ac:spMkLst>
        </pc:spChg>
        <pc:spChg chg="add del mod modVis">
          <ac:chgData name="Merlin Gutter" userId="2abc6f04-74af-430b-bdc8-569c3bfa1dda" providerId="ADAL" clId="{CB1EFBC3-10F5-3048-8961-5969497C0019}" dt="2022-11-24T20:05:53.017" v="144346"/>
          <ac:spMkLst>
            <pc:docMk/>
            <pc:sldMk cId="2192655461" sldId="406"/>
            <ac:spMk id="245" creationId="{8AFF63DB-5BB6-2B14-10A9-C7B071771075}"/>
          </ac:spMkLst>
        </pc:spChg>
        <pc:spChg chg="add del mod modVis">
          <ac:chgData name="Merlin Gutter" userId="2abc6f04-74af-430b-bdc8-569c3bfa1dda" providerId="ADAL" clId="{CB1EFBC3-10F5-3048-8961-5969497C0019}" dt="2022-11-24T20:05:56.903" v="144465"/>
          <ac:spMkLst>
            <pc:docMk/>
            <pc:sldMk cId="2192655461" sldId="406"/>
            <ac:spMk id="247" creationId="{2F2EBA89-1784-1981-F45C-2B110CC472E6}"/>
          </ac:spMkLst>
        </pc:spChg>
        <pc:spChg chg="add del mod modVis">
          <ac:chgData name="Merlin Gutter" userId="2abc6f04-74af-430b-bdc8-569c3bfa1dda" providerId="ADAL" clId="{CB1EFBC3-10F5-3048-8961-5969497C0019}" dt="2022-11-24T20:05:57.062" v="144571"/>
          <ac:spMkLst>
            <pc:docMk/>
            <pc:sldMk cId="2192655461" sldId="406"/>
            <ac:spMk id="250" creationId="{7AC6E878-485A-4834-25D3-43F500593C6A}"/>
          </ac:spMkLst>
        </pc:spChg>
        <pc:spChg chg="add del mod modVis">
          <ac:chgData name="Merlin Gutter" userId="2abc6f04-74af-430b-bdc8-569c3bfa1dda" providerId="ADAL" clId="{CB1EFBC3-10F5-3048-8961-5969497C0019}" dt="2022-11-24T20:05:59.751" v="144691"/>
          <ac:spMkLst>
            <pc:docMk/>
            <pc:sldMk cId="2192655461" sldId="406"/>
            <ac:spMk id="252" creationId="{28F80782-F313-A65D-E5E1-B9791709CE7A}"/>
          </ac:spMkLst>
        </pc:spChg>
        <pc:spChg chg="add del mod modVis">
          <ac:chgData name="Merlin Gutter" userId="2abc6f04-74af-430b-bdc8-569c3bfa1dda" providerId="ADAL" clId="{CB1EFBC3-10F5-3048-8961-5969497C0019}" dt="2022-11-24T20:05:59.900" v="144798"/>
          <ac:spMkLst>
            <pc:docMk/>
            <pc:sldMk cId="2192655461" sldId="406"/>
            <ac:spMk id="255" creationId="{0C6DC8DE-A5E5-BC2B-36F9-A4CDE21B974E}"/>
          </ac:spMkLst>
        </pc:spChg>
        <pc:spChg chg="add del mod modVis">
          <ac:chgData name="Merlin Gutter" userId="2abc6f04-74af-430b-bdc8-569c3bfa1dda" providerId="ADAL" clId="{CB1EFBC3-10F5-3048-8961-5969497C0019}" dt="2022-11-24T20:06:04.454" v="144908"/>
          <ac:spMkLst>
            <pc:docMk/>
            <pc:sldMk cId="2192655461" sldId="406"/>
            <ac:spMk id="257" creationId="{AAE0BDC0-6FAA-289D-11A5-D892B876A78B}"/>
          </ac:spMkLst>
        </pc:spChg>
        <pc:spChg chg="add del mod modVis">
          <ac:chgData name="Merlin Gutter" userId="2abc6f04-74af-430b-bdc8-569c3bfa1dda" providerId="ADAL" clId="{CB1EFBC3-10F5-3048-8961-5969497C0019}" dt="2022-11-24T20:06:04.618" v="145014"/>
          <ac:spMkLst>
            <pc:docMk/>
            <pc:sldMk cId="2192655461" sldId="406"/>
            <ac:spMk id="259" creationId="{F68C8CE8-6B1F-8ADB-E960-DF6003F0730B}"/>
          </ac:spMkLst>
        </pc:spChg>
        <pc:spChg chg="add del mod modVis">
          <ac:chgData name="Merlin Gutter" userId="2abc6f04-74af-430b-bdc8-569c3bfa1dda" providerId="ADAL" clId="{CB1EFBC3-10F5-3048-8961-5969497C0019}" dt="2022-11-24T20:06:07.667" v="145120"/>
          <ac:spMkLst>
            <pc:docMk/>
            <pc:sldMk cId="2192655461" sldId="406"/>
            <ac:spMk id="261" creationId="{C8282A17-7669-7020-24CD-BD74BF475AB5}"/>
          </ac:spMkLst>
        </pc:spChg>
        <pc:spChg chg="add del mod modVis">
          <ac:chgData name="Merlin Gutter" userId="2abc6f04-74af-430b-bdc8-569c3bfa1dda" providerId="ADAL" clId="{CB1EFBC3-10F5-3048-8961-5969497C0019}" dt="2022-11-24T20:06:07.820" v="145226"/>
          <ac:spMkLst>
            <pc:docMk/>
            <pc:sldMk cId="2192655461" sldId="406"/>
            <ac:spMk id="263" creationId="{D46D63A8-36BB-70D7-876E-7B494D9DB2B0}"/>
          </ac:spMkLst>
        </pc:spChg>
        <pc:spChg chg="add del mod modVis">
          <ac:chgData name="Merlin Gutter" userId="2abc6f04-74af-430b-bdc8-569c3bfa1dda" providerId="ADAL" clId="{CB1EFBC3-10F5-3048-8961-5969497C0019}" dt="2022-11-24T20:06:14.464" v="145337"/>
          <ac:spMkLst>
            <pc:docMk/>
            <pc:sldMk cId="2192655461" sldId="406"/>
            <ac:spMk id="265" creationId="{A1F4FB60-F552-5C30-308B-06A8BA42F47B}"/>
          </ac:spMkLst>
        </pc:spChg>
        <pc:spChg chg="add del mod modVis">
          <ac:chgData name="Merlin Gutter" userId="2abc6f04-74af-430b-bdc8-569c3bfa1dda" providerId="ADAL" clId="{CB1EFBC3-10F5-3048-8961-5969497C0019}" dt="2022-11-24T20:06:14.629" v="145442"/>
          <ac:spMkLst>
            <pc:docMk/>
            <pc:sldMk cId="2192655461" sldId="406"/>
            <ac:spMk id="267" creationId="{0B94B173-0BF5-8CA2-3BB5-ACEB70450B29}"/>
          </ac:spMkLst>
        </pc:spChg>
        <pc:spChg chg="add del mod modVis">
          <ac:chgData name="Merlin Gutter" userId="2abc6f04-74af-430b-bdc8-569c3bfa1dda" providerId="ADAL" clId="{CB1EFBC3-10F5-3048-8961-5969497C0019}" dt="2022-11-24T20:06:20.164" v="145548"/>
          <ac:spMkLst>
            <pc:docMk/>
            <pc:sldMk cId="2192655461" sldId="406"/>
            <ac:spMk id="269" creationId="{2516A45D-48B8-D478-082A-07A37C2BA035}"/>
          </ac:spMkLst>
        </pc:spChg>
        <pc:spChg chg="add del mod modVis">
          <ac:chgData name="Merlin Gutter" userId="2abc6f04-74af-430b-bdc8-569c3bfa1dda" providerId="ADAL" clId="{CB1EFBC3-10F5-3048-8961-5969497C0019}" dt="2022-11-24T20:06:20.334" v="145652"/>
          <ac:spMkLst>
            <pc:docMk/>
            <pc:sldMk cId="2192655461" sldId="406"/>
            <ac:spMk id="271" creationId="{ACFA2B44-36D8-3AE1-EC82-635A5BB82FF5}"/>
          </ac:spMkLst>
        </pc:spChg>
        <pc:spChg chg="add del mod modVis">
          <ac:chgData name="Merlin Gutter" userId="2abc6f04-74af-430b-bdc8-569c3bfa1dda" providerId="ADAL" clId="{CB1EFBC3-10F5-3048-8961-5969497C0019}" dt="2022-11-24T20:06:28.320" v="145756"/>
          <ac:spMkLst>
            <pc:docMk/>
            <pc:sldMk cId="2192655461" sldId="406"/>
            <ac:spMk id="273" creationId="{00DC945D-9F50-B988-658F-186BA6E3D1DB}"/>
          </ac:spMkLst>
        </pc:spChg>
        <pc:spChg chg="add del mod modVis">
          <ac:chgData name="Merlin Gutter" userId="2abc6f04-74af-430b-bdc8-569c3bfa1dda" providerId="ADAL" clId="{CB1EFBC3-10F5-3048-8961-5969497C0019}" dt="2022-11-24T20:06:28.488" v="145860"/>
          <ac:spMkLst>
            <pc:docMk/>
            <pc:sldMk cId="2192655461" sldId="406"/>
            <ac:spMk id="275" creationId="{6B36AEF2-9526-8BAA-EB5F-99D90431809F}"/>
          </ac:spMkLst>
        </pc:spChg>
        <pc:spChg chg="add del mod modVis">
          <ac:chgData name="Merlin Gutter" userId="2abc6f04-74af-430b-bdc8-569c3bfa1dda" providerId="ADAL" clId="{CB1EFBC3-10F5-3048-8961-5969497C0019}" dt="2022-11-24T20:06:31.705" v="145964"/>
          <ac:spMkLst>
            <pc:docMk/>
            <pc:sldMk cId="2192655461" sldId="406"/>
            <ac:spMk id="277" creationId="{6BB6F8F5-6EF9-D986-52B4-73EF23E83176}"/>
          </ac:spMkLst>
        </pc:spChg>
        <pc:spChg chg="add del mod modVis">
          <ac:chgData name="Merlin Gutter" userId="2abc6f04-74af-430b-bdc8-569c3bfa1dda" providerId="ADAL" clId="{CB1EFBC3-10F5-3048-8961-5969497C0019}" dt="2022-11-24T20:06:31.868" v="146068"/>
          <ac:spMkLst>
            <pc:docMk/>
            <pc:sldMk cId="2192655461" sldId="406"/>
            <ac:spMk id="279" creationId="{5DB70FD3-AD89-24C6-90BE-04C0B8B8CD44}"/>
          </ac:spMkLst>
        </pc:spChg>
        <pc:spChg chg="add del mod modVis">
          <ac:chgData name="Merlin Gutter" userId="2abc6f04-74af-430b-bdc8-569c3bfa1dda" providerId="ADAL" clId="{CB1EFBC3-10F5-3048-8961-5969497C0019}" dt="2022-11-24T20:06:40.407" v="146172"/>
          <ac:spMkLst>
            <pc:docMk/>
            <pc:sldMk cId="2192655461" sldId="406"/>
            <ac:spMk id="281" creationId="{6E16A529-91C9-EBA1-3BA7-3B3A79BDD1CE}"/>
          </ac:spMkLst>
        </pc:spChg>
        <pc:spChg chg="add del mod modVis">
          <ac:chgData name="Merlin Gutter" userId="2abc6f04-74af-430b-bdc8-569c3bfa1dda" providerId="ADAL" clId="{CB1EFBC3-10F5-3048-8961-5969497C0019}" dt="2022-11-24T20:06:40.622" v="146277"/>
          <ac:spMkLst>
            <pc:docMk/>
            <pc:sldMk cId="2192655461" sldId="406"/>
            <ac:spMk id="283" creationId="{E2DA0ED1-8D5B-7BE2-F4BA-DDC661979CC2}"/>
          </ac:spMkLst>
        </pc:spChg>
        <pc:spChg chg="add del mod modVis">
          <ac:chgData name="Merlin Gutter" userId="2abc6f04-74af-430b-bdc8-569c3bfa1dda" providerId="ADAL" clId="{CB1EFBC3-10F5-3048-8961-5969497C0019}" dt="2022-11-24T20:06:57.250" v="146381"/>
          <ac:spMkLst>
            <pc:docMk/>
            <pc:sldMk cId="2192655461" sldId="406"/>
            <ac:spMk id="285" creationId="{65B0842A-7C69-5ACF-3835-B6B6F5F50DBD}"/>
          </ac:spMkLst>
        </pc:spChg>
        <pc:spChg chg="add del mod modVis">
          <ac:chgData name="Merlin Gutter" userId="2abc6f04-74af-430b-bdc8-569c3bfa1dda" providerId="ADAL" clId="{CB1EFBC3-10F5-3048-8961-5969497C0019}" dt="2022-11-24T20:06:57.450" v="146486"/>
          <ac:spMkLst>
            <pc:docMk/>
            <pc:sldMk cId="2192655461" sldId="406"/>
            <ac:spMk id="287" creationId="{7F5B9794-1082-DDD2-6D68-FE22698A8C84}"/>
          </ac:spMkLst>
        </pc:spChg>
        <pc:spChg chg="add del mod modVis">
          <ac:chgData name="Merlin Gutter" userId="2abc6f04-74af-430b-bdc8-569c3bfa1dda" providerId="ADAL" clId="{CB1EFBC3-10F5-3048-8961-5969497C0019}" dt="2022-11-24T20:07:08.445" v="146590"/>
          <ac:spMkLst>
            <pc:docMk/>
            <pc:sldMk cId="2192655461" sldId="406"/>
            <ac:spMk id="289" creationId="{0D3390D0-A8AF-676F-4D0B-2FA506480F58}"/>
          </ac:spMkLst>
        </pc:spChg>
        <pc:spChg chg="add del mod modVis">
          <ac:chgData name="Merlin Gutter" userId="2abc6f04-74af-430b-bdc8-569c3bfa1dda" providerId="ADAL" clId="{CB1EFBC3-10F5-3048-8961-5969497C0019}" dt="2022-11-24T20:07:08.613" v="146694"/>
          <ac:spMkLst>
            <pc:docMk/>
            <pc:sldMk cId="2192655461" sldId="406"/>
            <ac:spMk id="291" creationId="{0CE74697-A076-1844-21AD-1B489ACF3F15}"/>
          </ac:spMkLst>
        </pc:spChg>
        <pc:spChg chg="add del mod modVis">
          <ac:chgData name="Merlin Gutter" userId="2abc6f04-74af-430b-bdc8-569c3bfa1dda" providerId="ADAL" clId="{CB1EFBC3-10F5-3048-8961-5969497C0019}" dt="2022-11-24T20:07:12.229" v="146798"/>
          <ac:spMkLst>
            <pc:docMk/>
            <pc:sldMk cId="2192655461" sldId="406"/>
            <ac:spMk id="293" creationId="{23C8819E-651C-BB56-6C68-ACF6C52F3BBC}"/>
          </ac:spMkLst>
        </pc:spChg>
        <pc:spChg chg="add del mod modVis">
          <ac:chgData name="Merlin Gutter" userId="2abc6f04-74af-430b-bdc8-569c3bfa1dda" providerId="ADAL" clId="{CB1EFBC3-10F5-3048-8961-5969497C0019}" dt="2022-11-24T20:07:12.448" v="146903"/>
          <ac:spMkLst>
            <pc:docMk/>
            <pc:sldMk cId="2192655461" sldId="406"/>
            <ac:spMk id="295" creationId="{33EC0758-CBEA-55DD-C984-0BAC5C452F8F}"/>
          </ac:spMkLst>
        </pc:spChg>
        <pc:spChg chg="add del mod modVis">
          <ac:chgData name="Merlin Gutter" userId="2abc6f04-74af-430b-bdc8-569c3bfa1dda" providerId="ADAL" clId="{CB1EFBC3-10F5-3048-8961-5969497C0019}" dt="2022-11-24T20:07:19.542" v="147007"/>
          <ac:spMkLst>
            <pc:docMk/>
            <pc:sldMk cId="2192655461" sldId="406"/>
            <ac:spMk id="297" creationId="{88FF0DE1-8360-BF64-E7BE-A4259EEB1AC3}"/>
          </ac:spMkLst>
        </pc:spChg>
        <pc:spChg chg="add del mod modVis">
          <ac:chgData name="Merlin Gutter" userId="2abc6f04-74af-430b-bdc8-569c3bfa1dda" providerId="ADAL" clId="{CB1EFBC3-10F5-3048-8961-5969497C0019}" dt="2022-11-24T20:07:19.705" v="147112"/>
          <ac:spMkLst>
            <pc:docMk/>
            <pc:sldMk cId="2192655461" sldId="406"/>
            <ac:spMk id="299" creationId="{078A190B-46EA-FE0E-0185-89A7FC7076BB}"/>
          </ac:spMkLst>
        </pc:spChg>
        <pc:spChg chg="add del mod modVis">
          <ac:chgData name="Merlin Gutter" userId="2abc6f04-74af-430b-bdc8-569c3bfa1dda" providerId="ADAL" clId="{CB1EFBC3-10F5-3048-8961-5969497C0019}" dt="2022-11-24T20:07:22.672" v="147216"/>
          <ac:spMkLst>
            <pc:docMk/>
            <pc:sldMk cId="2192655461" sldId="406"/>
            <ac:spMk id="301" creationId="{87D1F89B-494C-D029-6C0E-2E36026BB45A}"/>
          </ac:spMkLst>
        </pc:spChg>
        <pc:spChg chg="add del mod modVis">
          <ac:chgData name="Merlin Gutter" userId="2abc6f04-74af-430b-bdc8-569c3bfa1dda" providerId="ADAL" clId="{CB1EFBC3-10F5-3048-8961-5969497C0019}" dt="2022-11-24T20:07:22.829" v="147320"/>
          <ac:spMkLst>
            <pc:docMk/>
            <pc:sldMk cId="2192655461" sldId="406"/>
            <ac:spMk id="303" creationId="{ACE6B025-7436-DC43-9488-DAB25048CF98}"/>
          </ac:spMkLst>
        </pc:spChg>
        <pc:spChg chg="add del mod modVis">
          <ac:chgData name="Merlin Gutter" userId="2abc6f04-74af-430b-bdc8-569c3bfa1dda" providerId="ADAL" clId="{CB1EFBC3-10F5-3048-8961-5969497C0019}" dt="2022-11-24T20:07:36.149" v="147424"/>
          <ac:spMkLst>
            <pc:docMk/>
            <pc:sldMk cId="2192655461" sldId="406"/>
            <ac:spMk id="305" creationId="{61DF3D78-572A-E512-2A31-AC89EB50061C}"/>
          </ac:spMkLst>
        </pc:spChg>
        <pc:spChg chg="add del mod modVis">
          <ac:chgData name="Merlin Gutter" userId="2abc6f04-74af-430b-bdc8-569c3bfa1dda" providerId="ADAL" clId="{CB1EFBC3-10F5-3048-8961-5969497C0019}" dt="2022-11-24T20:07:36.312" v="147529"/>
          <ac:spMkLst>
            <pc:docMk/>
            <pc:sldMk cId="2192655461" sldId="406"/>
            <ac:spMk id="307" creationId="{C3F367E0-7061-311D-4A43-9FF09F42C6EF}"/>
          </ac:spMkLst>
        </pc:spChg>
        <pc:spChg chg="add del mod modVis">
          <ac:chgData name="Merlin Gutter" userId="2abc6f04-74af-430b-bdc8-569c3bfa1dda" providerId="ADAL" clId="{CB1EFBC3-10F5-3048-8961-5969497C0019}" dt="2022-11-24T20:07:45.621" v="147633"/>
          <ac:spMkLst>
            <pc:docMk/>
            <pc:sldMk cId="2192655461" sldId="406"/>
            <ac:spMk id="309" creationId="{7A682A3E-FF02-118B-663E-A83E2F4ED964}"/>
          </ac:spMkLst>
        </pc:spChg>
        <pc:spChg chg="add del mod modVis">
          <ac:chgData name="Merlin Gutter" userId="2abc6f04-74af-430b-bdc8-569c3bfa1dda" providerId="ADAL" clId="{CB1EFBC3-10F5-3048-8961-5969497C0019}" dt="2022-11-24T20:07:45.812" v="147738"/>
          <ac:spMkLst>
            <pc:docMk/>
            <pc:sldMk cId="2192655461" sldId="406"/>
            <ac:spMk id="311" creationId="{90F0B954-6F58-1AC8-FA2C-A52F0063DE19}"/>
          </ac:spMkLst>
        </pc:spChg>
        <pc:spChg chg="add del mod modVis">
          <ac:chgData name="Merlin Gutter" userId="2abc6f04-74af-430b-bdc8-569c3bfa1dda" providerId="ADAL" clId="{CB1EFBC3-10F5-3048-8961-5969497C0019}" dt="2022-11-24T20:08:19.544" v="147842"/>
          <ac:spMkLst>
            <pc:docMk/>
            <pc:sldMk cId="2192655461" sldId="406"/>
            <ac:spMk id="313" creationId="{9280419A-3EE3-06B1-254D-D0DF237F7B4A}"/>
          </ac:spMkLst>
        </pc:spChg>
        <pc:spChg chg="add del mod modVis">
          <ac:chgData name="Merlin Gutter" userId="2abc6f04-74af-430b-bdc8-569c3bfa1dda" providerId="ADAL" clId="{CB1EFBC3-10F5-3048-8961-5969497C0019}" dt="2022-11-24T20:08:19.717" v="147947"/>
          <ac:spMkLst>
            <pc:docMk/>
            <pc:sldMk cId="2192655461" sldId="406"/>
            <ac:spMk id="315" creationId="{1069EA15-AE44-025E-FC0D-6C5F74C39C01}"/>
          </ac:spMkLst>
        </pc:spChg>
        <pc:spChg chg="add del mod modVis">
          <ac:chgData name="Merlin Gutter" userId="2abc6f04-74af-430b-bdc8-569c3bfa1dda" providerId="ADAL" clId="{CB1EFBC3-10F5-3048-8961-5969497C0019}" dt="2022-11-24T20:08:29.706" v="148051"/>
          <ac:spMkLst>
            <pc:docMk/>
            <pc:sldMk cId="2192655461" sldId="406"/>
            <ac:spMk id="317" creationId="{FF5221DA-E761-162D-E052-2DE3B3C82D9C}"/>
          </ac:spMkLst>
        </pc:spChg>
        <pc:spChg chg="add del mod modVis">
          <ac:chgData name="Merlin Gutter" userId="2abc6f04-74af-430b-bdc8-569c3bfa1dda" providerId="ADAL" clId="{CB1EFBC3-10F5-3048-8961-5969497C0019}" dt="2022-11-24T20:08:29.915" v="148156"/>
          <ac:spMkLst>
            <pc:docMk/>
            <pc:sldMk cId="2192655461" sldId="406"/>
            <ac:spMk id="319" creationId="{BA69B6A0-BB04-8BE8-7D50-D8E1F8D6CC26}"/>
          </ac:spMkLst>
        </pc:spChg>
        <pc:spChg chg="add del mod modVis">
          <ac:chgData name="Merlin Gutter" userId="2abc6f04-74af-430b-bdc8-569c3bfa1dda" providerId="ADAL" clId="{CB1EFBC3-10F5-3048-8961-5969497C0019}" dt="2022-11-24T20:09:11.263" v="149499"/>
          <ac:spMkLst>
            <pc:docMk/>
            <pc:sldMk cId="2192655461" sldId="406"/>
            <ac:spMk id="321" creationId="{EDF78973-DB9D-44DF-AA87-819B2869B593}"/>
          </ac:spMkLst>
        </pc:spChg>
        <pc:spChg chg="add del mod modVis">
          <ac:chgData name="Merlin Gutter" userId="2abc6f04-74af-430b-bdc8-569c3bfa1dda" providerId="ADAL" clId="{CB1EFBC3-10F5-3048-8961-5969497C0019}" dt="2022-11-24T20:09:11.263" v="149499"/>
          <ac:spMkLst>
            <pc:docMk/>
            <pc:sldMk cId="2192655461" sldId="406"/>
            <ac:spMk id="323" creationId="{AD9D7F03-C27E-0E5A-4CAC-117CE73C9724}"/>
          </ac:spMkLst>
        </pc:spChg>
        <pc:spChg chg="add del mod modVis">
          <ac:chgData name="Merlin Gutter" userId="2abc6f04-74af-430b-bdc8-569c3bfa1dda" providerId="ADAL" clId="{CB1EFBC3-10F5-3048-8961-5969497C0019}" dt="2022-11-24T20:09:10.515" v="149373"/>
          <ac:spMkLst>
            <pc:docMk/>
            <pc:sldMk cId="2192655461" sldId="406"/>
            <ac:spMk id="325" creationId="{004D059B-7EB6-35FE-6EE9-122F43B9FBB0}"/>
          </ac:spMkLst>
        </pc:spChg>
        <pc:spChg chg="add del mod modVis">
          <ac:chgData name="Merlin Gutter" userId="2abc6f04-74af-430b-bdc8-569c3bfa1dda" providerId="ADAL" clId="{CB1EFBC3-10F5-3048-8961-5969497C0019}" dt="2022-11-24T20:09:10.515" v="149373"/>
          <ac:spMkLst>
            <pc:docMk/>
            <pc:sldMk cId="2192655461" sldId="406"/>
            <ac:spMk id="327" creationId="{7B32885E-493D-344C-4F8D-FADC3C73261C}"/>
          </ac:spMkLst>
        </pc:spChg>
        <pc:spChg chg="add del mod modVis">
          <ac:chgData name="Merlin Gutter" userId="2abc6f04-74af-430b-bdc8-569c3bfa1dda" providerId="ADAL" clId="{CB1EFBC3-10F5-3048-8961-5969497C0019}" dt="2022-11-24T20:09:10.110" v="149253"/>
          <ac:spMkLst>
            <pc:docMk/>
            <pc:sldMk cId="2192655461" sldId="406"/>
            <ac:spMk id="329" creationId="{79660D03-2115-9FBB-2AB4-8629190D922C}"/>
          </ac:spMkLst>
        </pc:spChg>
        <pc:spChg chg="add del mod modVis">
          <ac:chgData name="Merlin Gutter" userId="2abc6f04-74af-430b-bdc8-569c3bfa1dda" providerId="ADAL" clId="{CB1EFBC3-10F5-3048-8961-5969497C0019}" dt="2022-11-24T20:09:10.110" v="149253"/>
          <ac:spMkLst>
            <pc:docMk/>
            <pc:sldMk cId="2192655461" sldId="406"/>
            <ac:spMk id="331" creationId="{F2588F56-BBA9-BDD5-34D9-7FE50708AB62}"/>
          </ac:spMkLst>
        </pc:spChg>
        <pc:spChg chg="add del mod modVis">
          <ac:chgData name="Merlin Gutter" userId="2abc6f04-74af-430b-bdc8-569c3bfa1dda" providerId="ADAL" clId="{CB1EFBC3-10F5-3048-8961-5969497C0019}" dt="2022-11-24T20:09:09.652" v="149135"/>
          <ac:spMkLst>
            <pc:docMk/>
            <pc:sldMk cId="2192655461" sldId="406"/>
            <ac:spMk id="333" creationId="{F60EF40D-DC8A-3DC0-32F7-38B4D4093F7B}"/>
          </ac:spMkLst>
        </pc:spChg>
        <pc:spChg chg="add del mod modVis">
          <ac:chgData name="Merlin Gutter" userId="2abc6f04-74af-430b-bdc8-569c3bfa1dda" providerId="ADAL" clId="{CB1EFBC3-10F5-3048-8961-5969497C0019}" dt="2022-11-24T20:09:09.652" v="149135"/>
          <ac:spMkLst>
            <pc:docMk/>
            <pc:sldMk cId="2192655461" sldId="406"/>
            <ac:spMk id="335" creationId="{A1D73D77-8415-DD73-2762-4C99CC779AAA}"/>
          </ac:spMkLst>
        </pc:spChg>
        <pc:spChg chg="add del mod modVis">
          <ac:chgData name="Merlin Gutter" userId="2abc6f04-74af-430b-bdc8-569c3bfa1dda" providerId="ADAL" clId="{CB1EFBC3-10F5-3048-8961-5969497C0019}" dt="2022-11-24T20:09:15.843" v="149654"/>
          <ac:spMkLst>
            <pc:docMk/>
            <pc:sldMk cId="2192655461" sldId="406"/>
            <ac:spMk id="337" creationId="{2CE9013D-7A26-7346-CC5E-EA5B8AC1FBF4}"/>
          </ac:spMkLst>
        </pc:spChg>
        <pc:spChg chg="add del mod modVis">
          <ac:chgData name="Merlin Gutter" userId="2abc6f04-74af-430b-bdc8-569c3bfa1dda" providerId="ADAL" clId="{CB1EFBC3-10F5-3048-8961-5969497C0019}" dt="2022-11-24T20:09:15.954" v="149758"/>
          <ac:spMkLst>
            <pc:docMk/>
            <pc:sldMk cId="2192655461" sldId="406"/>
            <ac:spMk id="339" creationId="{257BBDC8-8DB3-BAAD-4D6E-56D6F11C1C43}"/>
          </ac:spMkLst>
        </pc:spChg>
        <pc:spChg chg="add del mod modVis">
          <ac:chgData name="Merlin Gutter" userId="2abc6f04-74af-430b-bdc8-569c3bfa1dda" providerId="ADAL" clId="{CB1EFBC3-10F5-3048-8961-5969497C0019}" dt="2022-11-24T20:09:18.146" v="149911"/>
          <ac:spMkLst>
            <pc:docMk/>
            <pc:sldMk cId="2192655461" sldId="406"/>
            <ac:spMk id="341" creationId="{E5F5DE7C-1339-E6F2-5D31-718B978B072F}"/>
          </ac:spMkLst>
        </pc:spChg>
        <pc:spChg chg="add del mod modVis">
          <ac:chgData name="Merlin Gutter" userId="2abc6f04-74af-430b-bdc8-569c3bfa1dda" providerId="ADAL" clId="{CB1EFBC3-10F5-3048-8961-5969497C0019}" dt="2022-11-24T20:09:18.245" v="150015"/>
          <ac:spMkLst>
            <pc:docMk/>
            <pc:sldMk cId="2192655461" sldId="406"/>
            <ac:spMk id="343" creationId="{F18597A4-1339-60D6-9649-0CFF3C971795}"/>
          </ac:spMkLst>
        </pc:spChg>
        <pc:spChg chg="add del mod modVis">
          <ac:chgData name="Merlin Gutter" userId="2abc6f04-74af-430b-bdc8-569c3bfa1dda" providerId="ADAL" clId="{CB1EFBC3-10F5-3048-8961-5969497C0019}" dt="2022-11-24T20:09:23.130" v="150141"/>
          <ac:spMkLst>
            <pc:docMk/>
            <pc:sldMk cId="2192655461" sldId="406"/>
            <ac:spMk id="345" creationId="{2D4B12D0-5681-3F31-3C51-4FBC08356F8F}"/>
          </ac:spMkLst>
        </pc:spChg>
        <pc:spChg chg="add del mod modVis">
          <ac:chgData name="Merlin Gutter" userId="2abc6f04-74af-430b-bdc8-569c3bfa1dda" providerId="ADAL" clId="{CB1EFBC3-10F5-3048-8961-5969497C0019}" dt="2022-11-24T20:09:23.236" v="150245"/>
          <ac:spMkLst>
            <pc:docMk/>
            <pc:sldMk cId="2192655461" sldId="406"/>
            <ac:spMk id="347" creationId="{F1530283-75A8-5662-1BCA-2DCA078497B1}"/>
          </ac:spMkLst>
        </pc:spChg>
        <pc:spChg chg="add del mod replST">
          <ac:chgData name="Merlin Gutter" userId="2abc6f04-74af-430b-bdc8-569c3bfa1dda" providerId="ADAL" clId="{CB1EFBC3-10F5-3048-8961-5969497C0019}" dt="2022-11-24T20:11:17.172" v="150415"/>
          <ac:spMkLst>
            <pc:docMk/>
            <pc:sldMk cId="2192655461" sldId="406"/>
            <ac:spMk id="349" creationId="{918858CE-9BB0-A316-F9BB-ECCA9544CF35}"/>
          </ac:spMkLst>
        </pc:spChg>
        <pc:spChg chg="add del mod modVis">
          <ac:chgData name="Merlin Gutter" userId="2abc6f04-74af-430b-bdc8-569c3bfa1dda" providerId="ADAL" clId="{CB1EFBC3-10F5-3048-8961-5969497C0019}" dt="2022-11-24T20:11:13.641" v="150410"/>
          <ac:spMkLst>
            <pc:docMk/>
            <pc:sldMk cId="2192655461" sldId="406"/>
            <ac:spMk id="350" creationId="{39928C41-C663-7711-4295-F4739087A1F0}"/>
          </ac:spMkLst>
        </pc:spChg>
        <pc:spChg chg="add del mod replST">
          <ac:chgData name="Merlin Gutter" userId="2abc6f04-74af-430b-bdc8-569c3bfa1dda" providerId="ADAL" clId="{CB1EFBC3-10F5-3048-8961-5969497C0019}" dt="2022-11-24T20:11:17.165" v="150414"/>
          <ac:spMkLst>
            <pc:docMk/>
            <pc:sldMk cId="2192655461" sldId="406"/>
            <ac:spMk id="351" creationId="{5CB7F4F1-F357-CD90-0207-EA555D880488}"/>
          </ac:spMkLst>
        </pc:spChg>
        <pc:spChg chg="add mod">
          <ac:chgData name="Merlin Gutter" userId="2abc6f04-74af-430b-bdc8-569c3bfa1dda" providerId="ADAL" clId="{CB1EFBC3-10F5-3048-8961-5969497C0019}" dt="2022-11-25T00:17:13.233" v="205377"/>
          <ac:spMkLst>
            <pc:docMk/>
            <pc:sldMk cId="2192655461" sldId="406"/>
            <ac:spMk id="352" creationId="{CD61A87E-A3DF-1472-BE32-3048D0AB2CD2}"/>
          </ac:spMkLst>
        </pc:spChg>
        <pc:spChg chg="add mod">
          <ac:chgData name="Merlin Gutter" userId="2abc6f04-74af-430b-bdc8-569c3bfa1dda" providerId="ADAL" clId="{CB1EFBC3-10F5-3048-8961-5969497C0019}" dt="2022-11-25T00:17:13.234" v="205378"/>
          <ac:spMkLst>
            <pc:docMk/>
            <pc:sldMk cId="2192655461" sldId="406"/>
            <ac:spMk id="353" creationId="{7F769EEE-5490-ECEB-F96D-48B6BA0790AE}"/>
          </ac:spMkLst>
        </pc:spChg>
        <pc:spChg chg="add mod">
          <ac:chgData name="Merlin Gutter" userId="2abc6f04-74af-430b-bdc8-569c3bfa1dda" providerId="ADAL" clId="{CB1EFBC3-10F5-3048-8961-5969497C0019}" dt="2022-11-25T00:17:13.235" v="205379"/>
          <ac:spMkLst>
            <pc:docMk/>
            <pc:sldMk cId="2192655461" sldId="406"/>
            <ac:spMk id="354" creationId="{7ECF5716-10CB-9DF5-75C1-AAB7B3F7D438}"/>
          </ac:spMkLst>
        </pc:spChg>
        <pc:spChg chg="add mod topLvl">
          <ac:chgData name="Merlin Gutter" userId="2abc6f04-74af-430b-bdc8-569c3bfa1dda" providerId="ADAL" clId="{CB1EFBC3-10F5-3048-8961-5969497C0019}" dt="2022-11-25T00:17:13.239" v="205382"/>
          <ac:spMkLst>
            <pc:docMk/>
            <pc:sldMk cId="2192655461" sldId="406"/>
            <ac:spMk id="355" creationId="{81EB648B-DE43-C0BD-8EE3-8CEFA8C208B7}"/>
          </ac:spMkLst>
        </pc:spChg>
        <pc:spChg chg="add mod topLvl">
          <ac:chgData name="Merlin Gutter" userId="2abc6f04-74af-430b-bdc8-569c3bfa1dda" providerId="ADAL" clId="{CB1EFBC3-10F5-3048-8961-5969497C0019}" dt="2022-11-25T00:17:13.240" v="205383"/>
          <ac:spMkLst>
            <pc:docMk/>
            <pc:sldMk cId="2192655461" sldId="406"/>
            <ac:spMk id="356" creationId="{E085A9F8-E066-9125-30F4-897C8187518B}"/>
          </ac:spMkLst>
        </pc:spChg>
        <pc:spChg chg="add mod topLvl">
          <ac:chgData name="Merlin Gutter" userId="2abc6f04-74af-430b-bdc8-569c3bfa1dda" providerId="ADAL" clId="{CB1EFBC3-10F5-3048-8961-5969497C0019}" dt="2022-11-25T00:17:13.241" v="205384"/>
          <ac:spMkLst>
            <pc:docMk/>
            <pc:sldMk cId="2192655461" sldId="406"/>
            <ac:spMk id="359" creationId="{60A7F39B-8945-6F8C-4B04-7E7CA51742FA}"/>
          </ac:spMkLst>
        </pc:spChg>
        <pc:spChg chg="add mod topLvl">
          <ac:chgData name="Merlin Gutter" userId="2abc6f04-74af-430b-bdc8-569c3bfa1dda" providerId="ADAL" clId="{CB1EFBC3-10F5-3048-8961-5969497C0019}" dt="2022-11-25T00:17:13.242" v="205385"/>
          <ac:spMkLst>
            <pc:docMk/>
            <pc:sldMk cId="2192655461" sldId="406"/>
            <ac:spMk id="360" creationId="{9FD53A50-51CE-32B8-7975-A361798A7EBF}"/>
          </ac:spMkLst>
        </pc:spChg>
        <pc:spChg chg="mod topLvl">
          <ac:chgData name="Merlin Gutter" userId="2abc6f04-74af-430b-bdc8-569c3bfa1dda" providerId="ADAL" clId="{CB1EFBC3-10F5-3048-8961-5969497C0019}" dt="2022-11-25T00:17:13.243" v="205386"/>
          <ac:spMkLst>
            <pc:docMk/>
            <pc:sldMk cId="2192655461" sldId="406"/>
            <ac:spMk id="364" creationId="{04E034F4-C8E8-3CF4-F856-720D14BEB145}"/>
          </ac:spMkLst>
        </pc:spChg>
        <pc:spChg chg="mod topLvl">
          <ac:chgData name="Merlin Gutter" userId="2abc6f04-74af-430b-bdc8-569c3bfa1dda" providerId="ADAL" clId="{CB1EFBC3-10F5-3048-8961-5969497C0019}" dt="2022-11-25T00:17:13.245" v="205387"/>
          <ac:spMkLst>
            <pc:docMk/>
            <pc:sldMk cId="2192655461" sldId="406"/>
            <ac:spMk id="365" creationId="{872C9940-5838-8009-F4EC-64E4A5A1BA5E}"/>
          </ac:spMkLst>
        </pc:spChg>
        <pc:spChg chg="add del mod modVis">
          <ac:chgData name="Merlin Gutter" userId="2abc6f04-74af-430b-bdc8-569c3bfa1dda" providerId="ADAL" clId="{CB1EFBC3-10F5-3048-8961-5969497C0019}" dt="2022-11-24T22:09:41.124" v="150729"/>
          <ac:spMkLst>
            <pc:docMk/>
            <pc:sldMk cId="2192655461" sldId="406"/>
            <ac:spMk id="367" creationId="{566D8CA1-82D9-5F0B-2C70-AEE466BFF747}"/>
          </ac:spMkLst>
        </pc:spChg>
        <pc:spChg chg="add del mod modVis">
          <ac:chgData name="Merlin Gutter" userId="2abc6f04-74af-430b-bdc8-569c3bfa1dda" providerId="ADAL" clId="{CB1EFBC3-10F5-3048-8961-5969497C0019}" dt="2022-11-24T22:09:41.254" v="150844"/>
          <ac:spMkLst>
            <pc:docMk/>
            <pc:sldMk cId="2192655461" sldId="406"/>
            <ac:spMk id="369" creationId="{9FBEF5D8-7547-8BEF-3F37-A41EC08343AB}"/>
          </ac:spMkLst>
        </pc:spChg>
        <pc:spChg chg="add del mod modVis">
          <ac:chgData name="Merlin Gutter" userId="2abc6f04-74af-430b-bdc8-569c3bfa1dda" providerId="ADAL" clId="{CB1EFBC3-10F5-3048-8961-5969497C0019}" dt="2022-11-24T22:09:44.161" v="150979"/>
          <ac:spMkLst>
            <pc:docMk/>
            <pc:sldMk cId="2192655461" sldId="406"/>
            <ac:spMk id="371" creationId="{71E8E16B-8ADE-1F59-4FFB-537D082B9AAA}"/>
          </ac:spMkLst>
        </pc:spChg>
        <pc:spChg chg="add del mod modVis">
          <ac:chgData name="Merlin Gutter" userId="2abc6f04-74af-430b-bdc8-569c3bfa1dda" providerId="ADAL" clId="{CB1EFBC3-10F5-3048-8961-5969497C0019}" dt="2022-11-24T22:09:44.267" v="151094"/>
          <ac:spMkLst>
            <pc:docMk/>
            <pc:sldMk cId="2192655461" sldId="406"/>
            <ac:spMk id="373" creationId="{8F9C3063-1A09-35FF-B5E8-4AE4B644E5E4}"/>
          </ac:spMkLst>
        </pc:spChg>
        <pc:spChg chg="add del mod modVis">
          <ac:chgData name="Merlin Gutter" userId="2abc6f04-74af-430b-bdc8-569c3bfa1dda" providerId="ADAL" clId="{CB1EFBC3-10F5-3048-8961-5969497C0019}" dt="2022-11-24T22:09:48.822" v="151231"/>
          <ac:spMkLst>
            <pc:docMk/>
            <pc:sldMk cId="2192655461" sldId="406"/>
            <ac:spMk id="375" creationId="{7CA71F50-4E3E-90CA-29C6-9EBBC37A89A4}"/>
          </ac:spMkLst>
        </pc:spChg>
        <pc:spChg chg="add del mod modVis">
          <ac:chgData name="Merlin Gutter" userId="2abc6f04-74af-430b-bdc8-569c3bfa1dda" providerId="ADAL" clId="{CB1EFBC3-10F5-3048-8961-5969497C0019}" dt="2022-11-24T22:09:48.948" v="151346"/>
          <ac:spMkLst>
            <pc:docMk/>
            <pc:sldMk cId="2192655461" sldId="406"/>
            <ac:spMk id="377" creationId="{B6608B80-3105-9628-51C0-B44E652B8C5E}"/>
          </ac:spMkLst>
        </pc:spChg>
        <pc:spChg chg="add del mod modVis">
          <ac:chgData name="Merlin Gutter" userId="2abc6f04-74af-430b-bdc8-569c3bfa1dda" providerId="ADAL" clId="{CB1EFBC3-10F5-3048-8961-5969497C0019}" dt="2022-11-24T22:09:52.466" v="151512"/>
          <ac:spMkLst>
            <pc:docMk/>
            <pc:sldMk cId="2192655461" sldId="406"/>
            <ac:spMk id="379" creationId="{2D79DFD5-F056-B3AB-2825-C9D0A0773370}"/>
          </ac:spMkLst>
        </pc:spChg>
        <pc:spChg chg="add del mod modVis">
          <ac:chgData name="Merlin Gutter" userId="2abc6f04-74af-430b-bdc8-569c3bfa1dda" providerId="ADAL" clId="{CB1EFBC3-10F5-3048-8961-5969497C0019}" dt="2022-11-24T22:09:52.586" v="151627"/>
          <ac:spMkLst>
            <pc:docMk/>
            <pc:sldMk cId="2192655461" sldId="406"/>
            <ac:spMk id="381" creationId="{96497BD0-BBA8-0B00-1438-8A0AE21C86FD}"/>
          </ac:spMkLst>
        </pc:spChg>
        <pc:spChg chg="add del mod modVis">
          <ac:chgData name="Merlin Gutter" userId="2abc6f04-74af-430b-bdc8-569c3bfa1dda" providerId="ADAL" clId="{CB1EFBC3-10F5-3048-8961-5969497C0019}" dt="2022-11-24T22:10:25.024" v="151772"/>
          <ac:spMkLst>
            <pc:docMk/>
            <pc:sldMk cId="2192655461" sldId="406"/>
            <ac:spMk id="383" creationId="{E7029D77-EE4D-8399-B83B-E3AF1215E709}"/>
          </ac:spMkLst>
        </pc:spChg>
        <pc:spChg chg="add del mod modVis">
          <ac:chgData name="Merlin Gutter" userId="2abc6f04-74af-430b-bdc8-569c3bfa1dda" providerId="ADAL" clId="{CB1EFBC3-10F5-3048-8961-5969497C0019}" dt="2022-11-24T22:10:25.154" v="151887"/>
          <ac:spMkLst>
            <pc:docMk/>
            <pc:sldMk cId="2192655461" sldId="406"/>
            <ac:spMk id="385" creationId="{6F671E0F-314A-27D3-E00E-254B6D9CE72A}"/>
          </ac:spMkLst>
        </pc:spChg>
        <pc:spChg chg="add del mod modVis">
          <ac:chgData name="Merlin Gutter" userId="2abc6f04-74af-430b-bdc8-569c3bfa1dda" providerId="ADAL" clId="{CB1EFBC3-10F5-3048-8961-5969497C0019}" dt="2022-11-24T22:10:48.539" v="152047"/>
          <ac:spMkLst>
            <pc:docMk/>
            <pc:sldMk cId="2192655461" sldId="406"/>
            <ac:spMk id="387" creationId="{8AD8BADD-B7EC-0912-D26D-02944732603B}"/>
          </ac:spMkLst>
        </pc:spChg>
        <pc:spChg chg="add del mod modVis">
          <ac:chgData name="Merlin Gutter" userId="2abc6f04-74af-430b-bdc8-569c3bfa1dda" providerId="ADAL" clId="{CB1EFBC3-10F5-3048-8961-5969497C0019}" dt="2022-11-24T22:10:48.663" v="152162"/>
          <ac:spMkLst>
            <pc:docMk/>
            <pc:sldMk cId="2192655461" sldId="406"/>
            <ac:spMk id="389" creationId="{0484D6E0-D73B-16F2-A439-A990530A82E5}"/>
          </ac:spMkLst>
        </pc:spChg>
        <pc:spChg chg="add del mod modVis">
          <ac:chgData name="Merlin Gutter" userId="2abc6f04-74af-430b-bdc8-569c3bfa1dda" providerId="ADAL" clId="{CB1EFBC3-10F5-3048-8961-5969497C0019}" dt="2022-11-24T22:33:19.346" v="152460"/>
          <ac:spMkLst>
            <pc:docMk/>
            <pc:sldMk cId="2192655461" sldId="406"/>
            <ac:spMk id="391" creationId="{AE193176-A445-1B3A-17B9-EBD2D70F2FF1}"/>
          </ac:spMkLst>
        </pc:spChg>
        <pc:spChg chg="add del mod modVis">
          <ac:chgData name="Merlin Gutter" userId="2abc6f04-74af-430b-bdc8-569c3bfa1dda" providerId="ADAL" clId="{CB1EFBC3-10F5-3048-8961-5969497C0019}" dt="2022-11-24T22:33:19.504" v="152575"/>
          <ac:spMkLst>
            <pc:docMk/>
            <pc:sldMk cId="2192655461" sldId="406"/>
            <ac:spMk id="393" creationId="{1A92630C-B4F7-CBA3-C2DF-8A5D9EDFCAA8}"/>
          </ac:spMkLst>
        </pc:spChg>
        <pc:spChg chg="add del mod modVis">
          <ac:chgData name="Merlin Gutter" userId="2abc6f04-74af-430b-bdc8-569c3bfa1dda" providerId="ADAL" clId="{CB1EFBC3-10F5-3048-8961-5969497C0019}" dt="2022-11-24T22:33:22.805" v="152698"/>
          <ac:spMkLst>
            <pc:docMk/>
            <pc:sldMk cId="2192655461" sldId="406"/>
            <ac:spMk id="395" creationId="{533600A9-9B4E-D1FC-1EBA-D64AC5C1E434}"/>
          </ac:spMkLst>
        </pc:spChg>
        <pc:spChg chg="add del mod modVis">
          <ac:chgData name="Merlin Gutter" userId="2abc6f04-74af-430b-bdc8-569c3bfa1dda" providerId="ADAL" clId="{CB1EFBC3-10F5-3048-8961-5969497C0019}" dt="2022-11-24T22:33:22.941" v="152813"/>
          <ac:spMkLst>
            <pc:docMk/>
            <pc:sldMk cId="2192655461" sldId="406"/>
            <ac:spMk id="397" creationId="{CC09BD57-3B14-1F22-E33E-61EF76D2CF98}"/>
          </ac:spMkLst>
        </pc:spChg>
        <pc:spChg chg="add del mod modVis">
          <ac:chgData name="Merlin Gutter" userId="2abc6f04-74af-430b-bdc8-569c3bfa1dda" providerId="ADAL" clId="{CB1EFBC3-10F5-3048-8961-5969497C0019}" dt="2022-11-24T22:33:58.835" v="152942"/>
          <ac:spMkLst>
            <pc:docMk/>
            <pc:sldMk cId="2192655461" sldId="406"/>
            <ac:spMk id="399" creationId="{76C4D27D-0DA2-A98D-28BD-B2AF1E61709E}"/>
          </ac:spMkLst>
        </pc:spChg>
        <pc:spChg chg="add del mod modVis">
          <ac:chgData name="Merlin Gutter" userId="2abc6f04-74af-430b-bdc8-569c3bfa1dda" providerId="ADAL" clId="{CB1EFBC3-10F5-3048-8961-5969497C0019}" dt="2022-11-24T22:33:58.956" v="153057"/>
          <ac:spMkLst>
            <pc:docMk/>
            <pc:sldMk cId="2192655461" sldId="406"/>
            <ac:spMk id="401" creationId="{F21A9B43-71C4-1FCA-B168-1207AC95CCA5}"/>
          </ac:spMkLst>
        </pc:spChg>
        <pc:spChg chg="add del mod modVis">
          <ac:chgData name="Merlin Gutter" userId="2abc6f04-74af-430b-bdc8-569c3bfa1dda" providerId="ADAL" clId="{CB1EFBC3-10F5-3048-8961-5969497C0019}" dt="2022-11-24T22:34:06.220" v="153182"/>
          <ac:spMkLst>
            <pc:docMk/>
            <pc:sldMk cId="2192655461" sldId="406"/>
            <ac:spMk id="403" creationId="{7A5B7F06-78DE-588E-C943-BC7A05D127FD}"/>
          </ac:spMkLst>
        </pc:spChg>
        <pc:spChg chg="add del mod modVis">
          <ac:chgData name="Merlin Gutter" userId="2abc6f04-74af-430b-bdc8-569c3bfa1dda" providerId="ADAL" clId="{CB1EFBC3-10F5-3048-8961-5969497C0019}" dt="2022-11-24T22:34:06.328" v="153297"/>
          <ac:spMkLst>
            <pc:docMk/>
            <pc:sldMk cId="2192655461" sldId="406"/>
            <ac:spMk id="405" creationId="{7175628E-326A-A11D-ED80-3653246411C3}"/>
          </ac:spMkLst>
        </pc:spChg>
        <pc:spChg chg="add del mod modVis">
          <ac:chgData name="Merlin Gutter" userId="2abc6f04-74af-430b-bdc8-569c3bfa1dda" providerId="ADAL" clId="{CB1EFBC3-10F5-3048-8961-5969497C0019}" dt="2022-11-24T22:34:11.310" v="153416"/>
          <ac:spMkLst>
            <pc:docMk/>
            <pc:sldMk cId="2192655461" sldId="406"/>
            <ac:spMk id="407" creationId="{A5539A7D-7F35-227D-7460-4188E64C6FD8}"/>
          </ac:spMkLst>
        </pc:spChg>
        <pc:spChg chg="add del mod modVis">
          <ac:chgData name="Merlin Gutter" userId="2abc6f04-74af-430b-bdc8-569c3bfa1dda" providerId="ADAL" clId="{CB1EFBC3-10F5-3048-8961-5969497C0019}" dt="2022-11-24T22:34:11.433" v="153531"/>
          <ac:spMkLst>
            <pc:docMk/>
            <pc:sldMk cId="2192655461" sldId="406"/>
            <ac:spMk id="409" creationId="{FEBB1531-06AC-24B6-3CF2-C980D01A8DB8}"/>
          </ac:spMkLst>
        </pc:spChg>
        <pc:spChg chg="add del mod modVis">
          <ac:chgData name="Merlin Gutter" userId="2abc6f04-74af-430b-bdc8-569c3bfa1dda" providerId="ADAL" clId="{CB1EFBC3-10F5-3048-8961-5969497C0019}" dt="2022-11-24T22:34:14.322" v="153660"/>
          <ac:spMkLst>
            <pc:docMk/>
            <pc:sldMk cId="2192655461" sldId="406"/>
            <ac:spMk id="411" creationId="{2DB91496-C00F-0DB7-0B67-11D6A88F52EF}"/>
          </ac:spMkLst>
        </pc:spChg>
        <pc:spChg chg="add del mod modVis">
          <ac:chgData name="Merlin Gutter" userId="2abc6f04-74af-430b-bdc8-569c3bfa1dda" providerId="ADAL" clId="{CB1EFBC3-10F5-3048-8961-5969497C0019}" dt="2022-11-24T22:34:14.453" v="153775"/>
          <ac:spMkLst>
            <pc:docMk/>
            <pc:sldMk cId="2192655461" sldId="406"/>
            <ac:spMk id="413" creationId="{B005F5B3-1C61-CE6A-1E6B-3ED93B2CA674}"/>
          </ac:spMkLst>
        </pc:spChg>
        <pc:spChg chg="add del mod modVis">
          <ac:chgData name="Merlin Gutter" userId="2abc6f04-74af-430b-bdc8-569c3bfa1dda" providerId="ADAL" clId="{CB1EFBC3-10F5-3048-8961-5969497C0019}" dt="2022-11-24T22:34:22.328" v="154371"/>
          <ac:spMkLst>
            <pc:docMk/>
            <pc:sldMk cId="2192655461" sldId="406"/>
            <ac:spMk id="415" creationId="{8DECE12D-0DB6-511A-5499-8BCC4ED045F4}"/>
          </ac:spMkLst>
        </pc:spChg>
        <pc:spChg chg="add del mod replST">
          <ac:chgData name="Merlin Gutter" userId="2abc6f04-74af-430b-bdc8-569c3bfa1dda" providerId="ADAL" clId="{CB1EFBC3-10F5-3048-8961-5969497C0019}" dt="2022-11-24T22:34:24.290" v="154679"/>
          <ac:spMkLst>
            <pc:docMk/>
            <pc:sldMk cId="2192655461" sldId="406"/>
            <ac:spMk id="416" creationId="{6DE12CD2-5DC6-1BA9-D223-CD0BCB763609}"/>
          </ac:spMkLst>
        </pc:spChg>
        <pc:spChg chg="add del mod replST">
          <ac:chgData name="Merlin Gutter" userId="2abc6f04-74af-430b-bdc8-569c3bfa1dda" providerId="ADAL" clId="{CB1EFBC3-10F5-3048-8961-5969497C0019}" dt="2022-11-24T22:34:24.290" v="154680"/>
          <ac:spMkLst>
            <pc:docMk/>
            <pc:sldMk cId="2192655461" sldId="406"/>
            <ac:spMk id="417" creationId="{885BB540-987E-6BF3-9D44-8232C762C71E}"/>
          </ac:spMkLst>
        </pc:spChg>
        <pc:spChg chg="add del mod replST">
          <ac:chgData name="Merlin Gutter" userId="2abc6f04-74af-430b-bdc8-569c3bfa1dda" providerId="ADAL" clId="{CB1EFBC3-10F5-3048-8961-5969497C0019}" dt="2022-11-24T22:34:24.291" v="154681"/>
          <ac:spMkLst>
            <pc:docMk/>
            <pc:sldMk cId="2192655461" sldId="406"/>
            <ac:spMk id="418" creationId="{8A7B3F5E-16F3-8064-15D5-CC253FE14F13}"/>
          </ac:spMkLst>
        </pc:spChg>
        <pc:spChg chg="add del mod replST">
          <ac:chgData name="Merlin Gutter" userId="2abc6f04-74af-430b-bdc8-569c3bfa1dda" providerId="ADAL" clId="{CB1EFBC3-10F5-3048-8961-5969497C0019}" dt="2022-11-24T22:34:24.292" v="154682"/>
          <ac:spMkLst>
            <pc:docMk/>
            <pc:sldMk cId="2192655461" sldId="406"/>
            <ac:spMk id="419" creationId="{6F542DD2-8774-AD25-B3D0-5788A64D595A}"/>
          </ac:spMkLst>
        </pc:spChg>
        <pc:spChg chg="add del mod replST">
          <ac:chgData name="Merlin Gutter" userId="2abc6f04-74af-430b-bdc8-569c3bfa1dda" providerId="ADAL" clId="{CB1EFBC3-10F5-3048-8961-5969497C0019}" dt="2022-11-24T22:34:24.293" v="154683"/>
          <ac:spMkLst>
            <pc:docMk/>
            <pc:sldMk cId="2192655461" sldId="406"/>
            <ac:spMk id="420" creationId="{DE0F41F9-8F1D-A9B4-0E7A-FA35BAE38ECF}"/>
          </ac:spMkLst>
        </pc:spChg>
        <pc:spChg chg="add del mod replST">
          <ac:chgData name="Merlin Gutter" userId="2abc6f04-74af-430b-bdc8-569c3bfa1dda" providerId="ADAL" clId="{CB1EFBC3-10F5-3048-8961-5969497C0019}" dt="2022-11-24T22:34:24.293" v="154684"/>
          <ac:spMkLst>
            <pc:docMk/>
            <pc:sldMk cId="2192655461" sldId="406"/>
            <ac:spMk id="421" creationId="{7CA11425-7648-7A6E-3A1C-E8FFC3758186}"/>
          </ac:spMkLst>
        </pc:spChg>
        <pc:spChg chg="add del mod replST">
          <ac:chgData name="Merlin Gutter" userId="2abc6f04-74af-430b-bdc8-569c3bfa1dda" providerId="ADAL" clId="{CB1EFBC3-10F5-3048-8961-5969497C0019}" dt="2022-11-24T22:34:24.294" v="154685"/>
          <ac:spMkLst>
            <pc:docMk/>
            <pc:sldMk cId="2192655461" sldId="406"/>
            <ac:spMk id="422" creationId="{44A8875E-6B22-9B12-565C-FFD20CEE1F31}"/>
          </ac:spMkLst>
        </pc:spChg>
        <pc:spChg chg="add del mod modVis">
          <ac:chgData name="Merlin Gutter" userId="2abc6f04-74af-430b-bdc8-569c3bfa1dda" providerId="ADAL" clId="{CB1EFBC3-10F5-3048-8961-5969497C0019}" dt="2022-11-24T22:34:22.638" v="154546"/>
          <ac:spMkLst>
            <pc:docMk/>
            <pc:sldMk cId="2192655461" sldId="406"/>
            <ac:spMk id="424" creationId="{EE6F6EC2-7732-674F-58EF-BA00827F5651}"/>
          </ac:spMkLst>
        </pc:spChg>
        <pc:spChg chg="add del mod modVis">
          <ac:chgData name="Merlin Gutter" userId="2abc6f04-74af-430b-bdc8-569c3bfa1dda" providerId="ADAL" clId="{CB1EFBC3-10F5-3048-8961-5969497C0019}" dt="2022-11-24T22:34:24.429" v="154781"/>
          <ac:spMkLst>
            <pc:docMk/>
            <pc:sldMk cId="2192655461" sldId="406"/>
            <ac:spMk id="426" creationId="{A9D918EA-BC8C-F970-0A7F-AED1E7FEE56F}"/>
          </ac:spMkLst>
        </pc:spChg>
        <pc:spChg chg="add del mod modVis">
          <ac:chgData name="Merlin Gutter" userId="2abc6f04-74af-430b-bdc8-569c3bfa1dda" providerId="ADAL" clId="{CB1EFBC3-10F5-3048-8961-5969497C0019}" dt="2022-11-24T22:34:24.803" v="155002"/>
          <ac:spMkLst>
            <pc:docMk/>
            <pc:sldMk cId="2192655461" sldId="406"/>
            <ac:spMk id="428" creationId="{55168BE7-4982-6FBF-C0DB-6C7E3E0D89C3}"/>
          </ac:spMkLst>
        </pc:spChg>
        <pc:spChg chg="add del mod modVis">
          <ac:chgData name="Merlin Gutter" userId="2abc6f04-74af-430b-bdc8-569c3bfa1dda" providerId="ADAL" clId="{CB1EFBC3-10F5-3048-8961-5969497C0019}" dt="2022-11-24T22:34:33.734" v="155651"/>
          <ac:spMkLst>
            <pc:docMk/>
            <pc:sldMk cId="2192655461" sldId="406"/>
            <ac:spMk id="430" creationId="{659AA474-3B71-6CAE-CDD1-67CFD4E87D66}"/>
          </ac:spMkLst>
        </pc:spChg>
        <pc:spChg chg="add mod replST">
          <ac:chgData name="Merlin Gutter" userId="2abc6f04-74af-430b-bdc8-569c3bfa1dda" providerId="ADAL" clId="{CB1EFBC3-10F5-3048-8961-5969497C0019}" dt="2022-11-25T00:17:13.139" v="205294"/>
          <ac:spMkLst>
            <pc:docMk/>
            <pc:sldMk cId="2192655461" sldId="406"/>
            <ac:spMk id="431" creationId="{8A1B8E35-8EA9-993B-FA5D-0E1B879CB025}"/>
          </ac:spMkLst>
        </pc:spChg>
        <pc:spChg chg="add del mod replST">
          <ac:chgData name="Merlin Gutter" userId="2abc6f04-74af-430b-bdc8-569c3bfa1dda" providerId="ADAL" clId="{CB1EFBC3-10F5-3048-8961-5969497C0019}" dt="2022-11-24T22:36:14.252" v="163482"/>
          <ac:spMkLst>
            <pc:docMk/>
            <pc:sldMk cId="2192655461" sldId="406"/>
            <ac:spMk id="432" creationId="{E0BC596C-822F-18E9-889F-6DB938A63C7B}"/>
          </ac:spMkLst>
        </pc:spChg>
        <pc:spChg chg="add del mod replST">
          <ac:chgData name="Merlin Gutter" userId="2abc6f04-74af-430b-bdc8-569c3bfa1dda" providerId="ADAL" clId="{CB1EFBC3-10F5-3048-8961-5969497C0019}" dt="2022-11-24T22:36:14.252" v="163481"/>
          <ac:spMkLst>
            <pc:docMk/>
            <pc:sldMk cId="2192655461" sldId="406"/>
            <ac:spMk id="433" creationId="{822B6508-74E2-CE7D-6247-CF51AD8B4975}"/>
          </ac:spMkLst>
        </pc:spChg>
        <pc:spChg chg="add del mod replST">
          <ac:chgData name="Merlin Gutter" userId="2abc6f04-74af-430b-bdc8-569c3bfa1dda" providerId="ADAL" clId="{CB1EFBC3-10F5-3048-8961-5969497C0019}" dt="2022-11-24T22:36:14.252" v="163480"/>
          <ac:spMkLst>
            <pc:docMk/>
            <pc:sldMk cId="2192655461" sldId="406"/>
            <ac:spMk id="434" creationId="{53EC308B-284E-2EC7-9938-2970EDF0EEC2}"/>
          </ac:spMkLst>
        </pc:spChg>
        <pc:spChg chg="add del mod replST">
          <ac:chgData name="Merlin Gutter" userId="2abc6f04-74af-430b-bdc8-569c3bfa1dda" providerId="ADAL" clId="{CB1EFBC3-10F5-3048-8961-5969497C0019}" dt="2022-11-24T22:36:14.252" v="163479"/>
          <ac:spMkLst>
            <pc:docMk/>
            <pc:sldMk cId="2192655461" sldId="406"/>
            <ac:spMk id="435" creationId="{60F84CC0-6161-9583-B9F9-91F6F9DFA2CA}"/>
          </ac:spMkLst>
        </pc:spChg>
        <pc:spChg chg="add del mod replST">
          <ac:chgData name="Merlin Gutter" userId="2abc6f04-74af-430b-bdc8-569c3bfa1dda" providerId="ADAL" clId="{CB1EFBC3-10F5-3048-8961-5969497C0019}" dt="2022-11-24T22:36:14.252" v="163478"/>
          <ac:spMkLst>
            <pc:docMk/>
            <pc:sldMk cId="2192655461" sldId="406"/>
            <ac:spMk id="436" creationId="{37CDA112-60C9-C3D1-37D0-9E6D513964F7}"/>
          </ac:spMkLst>
        </pc:spChg>
        <pc:spChg chg="add del mod replST">
          <ac:chgData name="Merlin Gutter" userId="2abc6f04-74af-430b-bdc8-569c3bfa1dda" providerId="ADAL" clId="{CB1EFBC3-10F5-3048-8961-5969497C0019}" dt="2022-11-24T22:36:14.251" v="163477"/>
          <ac:spMkLst>
            <pc:docMk/>
            <pc:sldMk cId="2192655461" sldId="406"/>
            <ac:spMk id="437" creationId="{D53E7EA4-7F67-9CA4-40B5-4F2406C0EF6C}"/>
          </ac:spMkLst>
        </pc:spChg>
        <pc:spChg chg="add del mod modVis">
          <ac:chgData name="Merlin Gutter" userId="2abc6f04-74af-430b-bdc8-569c3bfa1dda" providerId="ADAL" clId="{CB1EFBC3-10F5-3048-8961-5969497C0019}" dt="2022-11-24T22:34:33.966" v="155826"/>
          <ac:spMkLst>
            <pc:docMk/>
            <pc:sldMk cId="2192655461" sldId="406"/>
            <ac:spMk id="439" creationId="{58A2B7BB-DC1C-68B6-64A4-A52CA226A55D}"/>
          </ac:spMkLst>
        </pc:spChg>
        <pc:spChg chg="add del mod modVis">
          <ac:chgData name="Merlin Gutter" userId="2abc6f04-74af-430b-bdc8-569c3bfa1dda" providerId="ADAL" clId="{CB1EFBC3-10F5-3048-8961-5969497C0019}" dt="2022-11-24T22:34:41.887" v="156021"/>
          <ac:spMkLst>
            <pc:docMk/>
            <pc:sldMk cId="2192655461" sldId="406"/>
            <ac:spMk id="441" creationId="{AD75048F-4C40-EA89-DE7A-79718538B126}"/>
          </ac:spMkLst>
        </pc:spChg>
        <pc:spChg chg="add del mod modVis">
          <ac:chgData name="Merlin Gutter" userId="2abc6f04-74af-430b-bdc8-569c3bfa1dda" providerId="ADAL" clId="{CB1EFBC3-10F5-3048-8961-5969497C0019}" dt="2022-11-24T22:34:42.007" v="156196"/>
          <ac:spMkLst>
            <pc:docMk/>
            <pc:sldMk cId="2192655461" sldId="406"/>
            <ac:spMk id="443" creationId="{25C18DA9-CDDE-5552-A565-E0C2D3816F71}"/>
          </ac:spMkLst>
        </pc:spChg>
        <pc:spChg chg="add del mod modVis">
          <ac:chgData name="Merlin Gutter" userId="2abc6f04-74af-430b-bdc8-569c3bfa1dda" providerId="ADAL" clId="{CB1EFBC3-10F5-3048-8961-5969497C0019}" dt="2022-11-24T22:34:44.071" v="156393"/>
          <ac:spMkLst>
            <pc:docMk/>
            <pc:sldMk cId="2192655461" sldId="406"/>
            <ac:spMk id="445" creationId="{E20A217A-B327-962E-DCF1-D67967DCCD7C}"/>
          </ac:spMkLst>
        </pc:spChg>
        <pc:spChg chg="add del mod modVis">
          <ac:chgData name="Merlin Gutter" userId="2abc6f04-74af-430b-bdc8-569c3bfa1dda" providerId="ADAL" clId="{CB1EFBC3-10F5-3048-8961-5969497C0019}" dt="2022-11-24T22:34:44.193" v="156568"/>
          <ac:spMkLst>
            <pc:docMk/>
            <pc:sldMk cId="2192655461" sldId="406"/>
            <ac:spMk id="447" creationId="{0B4988D1-A938-DF56-3392-121B193D956A}"/>
          </ac:spMkLst>
        </pc:spChg>
        <pc:spChg chg="add del mod modVis">
          <ac:chgData name="Merlin Gutter" userId="2abc6f04-74af-430b-bdc8-569c3bfa1dda" providerId="ADAL" clId="{CB1EFBC3-10F5-3048-8961-5969497C0019}" dt="2022-11-24T22:34:47.115" v="156765"/>
          <ac:spMkLst>
            <pc:docMk/>
            <pc:sldMk cId="2192655461" sldId="406"/>
            <ac:spMk id="449" creationId="{43F64505-4083-3A3A-C83B-F0D03DE05D7E}"/>
          </ac:spMkLst>
        </pc:spChg>
        <pc:spChg chg="add del mod modVis">
          <ac:chgData name="Merlin Gutter" userId="2abc6f04-74af-430b-bdc8-569c3bfa1dda" providerId="ADAL" clId="{CB1EFBC3-10F5-3048-8961-5969497C0019}" dt="2022-11-24T22:34:47.234" v="156940"/>
          <ac:spMkLst>
            <pc:docMk/>
            <pc:sldMk cId="2192655461" sldId="406"/>
            <ac:spMk id="451" creationId="{C42FAC23-812B-26F0-3E18-FBC0AFAB64A7}"/>
          </ac:spMkLst>
        </pc:spChg>
        <pc:spChg chg="add del mod modVis">
          <ac:chgData name="Merlin Gutter" userId="2abc6f04-74af-430b-bdc8-569c3bfa1dda" providerId="ADAL" clId="{CB1EFBC3-10F5-3048-8961-5969497C0019}" dt="2022-11-24T22:34:59.860" v="157520"/>
          <ac:spMkLst>
            <pc:docMk/>
            <pc:sldMk cId="2192655461" sldId="406"/>
            <ac:spMk id="453" creationId="{72301632-DB92-BAC1-114C-E120E603E953}"/>
          </ac:spMkLst>
        </pc:spChg>
        <pc:spChg chg="add mod replST">
          <ac:chgData name="Merlin Gutter" userId="2abc6f04-74af-430b-bdc8-569c3bfa1dda" providerId="ADAL" clId="{CB1EFBC3-10F5-3048-8961-5969497C0019}" dt="2022-11-25T00:17:13.131" v="205287"/>
          <ac:spMkLst>
            <pc:docMk/>
            <pc:sldMk cId="2192655461" sldId="406"/>
            <ac:spMk id="454" creationId="{3ABC0024-C083-2ED1-83A5-A63BF4417B8C}"/>
          </ac:spMkLst>
        </pc:spChg>
        <pc:spChg chg="add mod replST">
          <ac:chgData name="Merlin Gutter" userId="2abc6f04-74af-430b-bdc8-569c3bfa1dda" providerId="ADAL" clId="{CB1EFBC3-10F5-3048-8961-5969497C0019}" dt="2022-11-25T00:17:13.142" v="205297"/>
          <ac:spMkLst>
            <pc:docMk/>
            <pc:sldMk cId="2192655461" sldId="406"/>
            <ac:spMk id="455" creationId="{BDEF7E5E-AF2D-8440-3862-ABEF4445B469}"/>
          </ac:spMkLst>
        </pc:spChg>
        <pc:spChg chg="add mod replST">
          <ac:chgData name="Merlin Gutter" userId="2abc6f04-74af-430b-bdc8-569c3bfa1dda" providerId="ADAL" clId="{CB1EFBC3-10F5-3048-8961-5969497C0019}" dt="2022-11-25T00:17:13.132" v="205288"/>
          <ac:spMkLst>
            <pc:docMk/>
            <pc:sldMk cId="2192655461" sldId="406"/>
            <ac:spMk id="456" creationId="{78480057-3273-2A41-B9B1-D2E35D63AD8F}"/>
          </ac:spMkLst>
        </pc:spChg>
        <pc:spChg chg="add mod replST">
          <ac:chgData name="Merlin Gutter" userId="2abc6f04-74af-430b-bdc8-569c3bfa1dda" providerId="ADAL" clId="{CB1EFBC3-10F5-3048-8961-5969497C0019}" dt="2022-11-25T00:17:13.135" v="205291"/>
          <ac:spMkLst>
            <pc:docMk/>
            <pc:sldMk cId="2192655461" sldId="406"/>
            <ac:spMk id="457" creationId="{E02997C6-131C-E4ED-8DBD-798E61891091}"/>
          </ac:spMkLst>
        </pc:spChg>
        <pc:spChg chg="add mod replST">
          <ac:chgData name="Merlin Gutter" userId="2abc6f04-74af-430b-bdc8-569c3bfa1dda" providerId="ADAL" clId="{CB1EFBC3-10F5-3048-8961-5969497C0019}" dt="2022-11-25T00:17:13.133" v="205289"/>
          <ac:spMkLst>
            <pc:docMk/>
            <pc:sldMk cId="2192655461" sldId="406"/>
            <ac:spMk id="458" creationId="{1DC1D10B-51AF-5D0D-425B-CCE959E0637B}"/>
          </ac:spMkLst>
        </pc:spChg>
        <pc:spChg chg="add mod replST">
          <ac:chgData name="Merlin Gutter" userId="2abc6f04-74af-430b-bdc8-569c3bfa1dda" providerId="ADAL" clId="{CB1EFBC3-10F5-3048-8961-5969497C0019}" dt="2022-11-25T00:17:13.134" v="205290"/>
          <ac:spMkLst>
            <pc:docMk/>
            <pc:sldMk cId="2192655461" sldId="406"/>
            <ac:spMk id="459" creationId="{B0F08882-A5AE-9B59-E3CB-FB0419BF5275}"/>
          </ac:spMkLst>
        </pc:spChg>
        <pc:spChg chg="add del mod modVis">
          <ac:chgData name="Merlin Gutter" userId="2abc6f04-74af-430b-bdc8-569c3bfa1dda" providerId="ADAL" clId="{CB1EFBC3-10F5-3048-8961-5969497C0019}" dt="2022-11-24T22:35:00.103" v="157665"/>
          <ac:spMkLst>
            <pc:docMk/>
            <pc:sldMk cId="2192655461" sldId="406"/>
            <ac:spMk id="461" creationId="{E2D9473C-6AB9-310E-9DD5-03ABAB995EB1}"/>
          </ac:spMkLst>
        </pc:spChg>
        <pc:spChg chg="add del mod modVis">
          <ac:chgData name="Merlin Gutter" userId="2abc6f04-74af-430b-bdc8-569c3bfa1dda" providerId="ADAL" clId="{CB1EFBC3-10F5-3048-8961-5969497C0019}" dt="2022-11-24T22:35:04.024" v="157830"/>
          <ac:spMkLst>
            <pc:docMk/>
            <pc:sldMk cId="2192655461" sldId="406"/>
            <ac:spMk id="463" creationId="{7BB954F1-6EF9-92DA-F6F9-AD9C11F2D9C4}"/>
          </ac:spMkLst>
        </pc:spChg>
        <pc:spChg chg="add del mod modVis">
          <ac:chgData name="Merlin Gutter" userId="2abc6f04-74af-430b-bdc8-569c3bfa1dda" providerId="ADAL" clId="{CB1EFBC3-10F5-3048-8961-5969497C0019}" dt="2022-11-24T22:35:04.128" v="157975"/>
          <ac:spMkLst>
            <pc:docMk/>
            <pc:sldMk cId="2192655461" sldId="406"/>
            <ac:spMk id="465" creationId="{B937B4F6-F19E-DF42-C56B-DFBF04B37387}"/>
          </ac:spMkLst>
        </pc:spChg>
        <pc:spChg chg="add del mod modVis">
          <ac:chgData name="Merlin Gutter" userId="2abc6f04-74af-430b-bdc8-569c3bfa1dda" providerId="ADAL" clId="{CB1EFBC3-10F5-3048-8961-5969497C0019}" dt="2022-11-24T22:35:05.314" v="158138"/>
          <ac:spMkLst>
            <pc:docMk/>
            <pc:sldMk cId="2192655461" sldId="406"/>
            <ac:spMk id="467" creationId="{915EADE6-A197-3B4E-676B-EC2DB62EAB04}"/>
          </ac:spMkLst>
        </pc:spChg>
        <pc:spChg chg="add del mod modVis">
          <ac:chgData name="Merlin Gutter" userId="2abc6f04-74af-430b-bdc8-569c3bfa1dda" providerId="ADAL" clId="{CB1EFBC3-10F5-3048-8961-5969497C0019}" dt="2022-11-24T22:35:05.420" v="158283"/>
          <ac:spMkLst>
            <pc:docMk/>
            <pc:sldMk cId="2192655461" sldId="406"/>
            <ac:spMk id="469" creationId="{E82B08CE-CF0E-FC76-A531-E83A5619A8B4}"/>
          </ac:spMkLst>
        </pc:spChg>
        <pc:spChg chg="add del mod modVis">
          <ac:chgData name="Merlin Gutter" userId="2abc6f04-74af-430b-bdc8-569c3bfa1dda" providerId="ADAL" clId="{CB1EFBC3-10F5-3048-8961-5969497C0019}" dt="2022-11-24T22:35:06.271" v="158448"/>
          <ac:spMkLst>
            <pc:docMk/>
            <pc:sldMk cId="2192655461" sldId="406"/>
            <ac:spMk id="471" creationId="{4D77658A-219A-501B-FE80-89502F2BA620}"/>
          </ac:spMkLst>
        </pc:spChg>
        <pc:spChg chg="add del mod modVis">
          <ac:chgData name="Merlin Gutter" userId="2abc6f04-74af-430b-bdc8-569c3bfa1dda" providerId="ADAL" clId="{CB1EFBC3-10F5-3048-8961-5969497C0019}" dt="2022-11-24T22:35:06.373" v="158593"/>
          <ac:spMkLst>
            <pc:docMk/>
            <pc:sldMk cId="2192655461" sldId="406"/>
            <ac:spMk id="473" creationId="{CD71AB47-F276-AA88-A418-FA15446F8C08}"/>
          </ac:spMkLst>
        </pc:spChg>
        <pc:spChg chg="add del mod modVis">
          <ac:chgData name="Merlin Gutter" userId="2abc6f04-74af-430b-bdc8-569c3bfa1dda" providerId="ADAL" clId="{CB1EFBC3-10F5-3048-8961-5969497C0019}" dt="2022-11-24T22:35:13.645" v="158771"/>
          <ac:spMkLst>
            <pc:docMk/>
            <pc:sldMk cId="2192655461" sldId="406"/>
            <ac:spMk id="475" creationId="{9310BD4D-A989-0B84-CE63-86BC030587F0}"/>
          </ac:spMkLst>
        </pc:spChg>
        <pc:spChg chg="add del mod modVis">
          <ac:chgData name="Merlin Gutter" userId="2abc6f04-74af-430b-bdc8-569c3bfa1dda" providerId="ADAL" clId="{CB1EFBC3-10F5-3048-8961-5969497C0019}" dt="2022-11-24T22:35:13.734" v="158899"/>
          <ac:spMkLst>
            <pc:docMk/>
            <pc:sldMk cId="2192655461" sldId="406"/>
            <ac:spMk id="477" creationId="{82820971-992B-1F5C-E931-2F9AC67C5CF6}"/>
          </ac:spMkLst>
        </pc:spChg>
        <pc:spChg chg="add del mod modVis">
          <ac:chgData name="Merlin Gutter" userId="2abc6f04-74af-430b-bdc8-569c3bfa1dda" providerId="ADAL" clId="{CB1EFBC3-10F5-3048-8961-5969497C0019}" dt="2022-11-24T22:35:20.899" v="159524"/>
          <ac:spMkLst>
            <pc:docMk/>
            <pc:sldMk cId="2192655461" sldId="406"/>
            <ac:spMk id="479" creationId="{0A168272-B343-3FCC-9197-F22603CCBA6C}"/>
          </ac:spMkLst>
        </pc:spChg>
        <pc:spChg chg="add mod replST">
          <ac:chgData name="Merlin Gutter" userId="2abc6f04-74af-430b-bdc8-569c3bfa1dda" providerId="ADAL" clId="{CB1EFBC3-10F5-3048-8961-5969497C0019}" dt="2022-11-25T00:17:13.157" v="205310"/>
          <ac:spMkLst>
            <pc:docMk/>
            <pc:sldMk cId="2192655461" sldId="406"/>
            <ac:spMk id="480" creationId="{F3B404AF-B747-35AF-1FFA-B7C7043E03BC}"/>
          </ac:spMkLst>
        </pc:spChg>
        <pc:spChg chg="add del mod replST">
          <ac:chgData name="Merlin Gutter" userId="2abc6f04-74af-430b-bdc8-569c3bfa1dda" providerId="ADAL" clId="{CB1EFBC3-10F5-3048-8961-5969497C0019}" dt="2022-11-24T22:37:13.385" v="166915"/>
          <ac:spMkLst>
            <pc:docMk/>
            <pc:sldMk cId="2192655461" sldId="406"/>
            <ac:spMk id="481" creationId="{0D1256DF-4B0D-5A02-1D45-33833C0611F6}"/>
          </ac:spMkLst>
        </pc:spChg>
        <pc:spChg chg="add del mod replST">
          <ac:chgData name="Merlin Gutter" userId="2abc6f04-74af-430b-bdc8-569c3bfa1dda" providerId="ADAL" clId="{CB1EFBC3-10F5-3048-8961-5969497C0019}" dt="2022-11-24T22:37:13.385" v="166914"/>
          <ac:spMkLst>
            <pc:docMk/>
            <pc:sldMk cId="2192655461" sldId="406"/>
            <ac:spMk id="482" creationId="{4EF5DE21-8243-DC0C-7698-0F55FE5EB94C}"/>
          </ac:spMkLst>
        </pc:spChg>
        <pc:spChg chg="add del mod replST">
          <ac:chgData name="Merlin Gutter" userId="2abc6f04-74af-430b-bdc8-569c3bfa1dda" providerId="ADAL" clId="{CB1EFBC3-10F5-3048-8961-5969497C0019}" dt="2022-11-24T22:37:13.384" v="166913"/>
          <ac:spMkLst>
            <pc:docMk/>
            <pc:sldMk cId="2192655461" sldId="406"/>
            <ac:spMk id="483" creationId="{EF75E933-6A67-7384-61E4-B3F0D5AAD1F4}"/>
          </ac:spMkLst>
        </pc:spChg>
        <pc:spChg chg="add del mod replST">
          <ac:chgData name="Merlin Gutter" userId="2abc6f04-74af-430b-bdc8-569c3bfa1dda" providerId="ADAL" clId="{CB1EFBC3-10F5-3048-8961-5969497C0019}" dt="2022-11-24T22:37:13.384" v="166912"/>
          <ac:spMkLst>
            <pc:docMk/>
            <pc:sldMk cId="2192655461" sldId="406"/>
            <ac:spMk id="484" creationId="{10B0530C-DCF8-CEE5-7100-34CB7959AE7C}"/>
          </ac:spMkLst>
        </pc:spChg>
        <pc:spChg chg="add del mod replST">
          <ac:chgData name="Merlin Gutter" userId="2abc6f04-74af-430b-bdc8-569c3bfa1dda" providerId="ADAL" clId="{CB1EFBC3-10F5-3048-8961-5969497C0019}" dt="2022-11-24T22:37:13.384" v="166911"/>
          <ac:spMkLst>
            <pc:docMk/>
            <pc:sldMk cId="2192655461" sldId="406"/>
            <ac:spMk id="485" creationId="{1AA69397-9244-89E4-6946-FC5337B08DB1}"/>
          </ac:spMkLst>
        </pc:spChg>
        <pc:spChg chg="add del mod replST">
          <ac:chgData name="Merlin Gutter" userId="2abc6f04-74af-430b-bdc8-569c3bfa1dda" providerId="ADAL" clId="{CB1EFBC3-10F5-3048-8961-5969497C0019}" dt="2022-11-24T22:37:13.384" v="166910"/>
          <ac:spMkLst>
            <pc:docMk/>
            <pc:sldMk cId="2192655461" sldId="406"/>
            <ac:spMk id="486" creationId="{DCD04C84-AAAC-4FE2-759D-A7B5FD347303}"/>
          </ac:spMkLst>
        </pc:spChg>
        <pc:spChg chg="add del mod modVis">
          <ac:chgData name="Merlin Gutter" userId="2abc6f04-74af-430b-bdc8-569c3bfa1dda" providerId="ADAL" clId="{CB1EFBC3-10F5-3048-8961-5969497C0019}" dt="2022-11-24T22:35:21.117" v="159714"/>
          <ac:spMkLst>
            <pc:docMk/>
            <pc:sldMk cId="2192655461" sldId="406"/>
            <ac:spMk id="488" creationId="{F9EB5F62-A1C1-E791-2906-5F76E5575958}"/>
          </ac:spMkLst>
        </pc:spChg>
        <pc:spChg chg="add del mod modVis">
          <ac:chgData name="Merlin Gutter" userId="2abc6f04-74af-430b-bdc8-569c3bfa1dda" providerId="ADAL" clId="{CB1EFBC3-10F5-3048-8961-5969497C0019}" dt="2022-11-24T22:35:26.250" v="160344"/>
          <ac:spMkLst>
            <pc:docMk/>
            <pc:sldMk cId="2192655461" sldId="406"/>
            <ac:spMk id="490" creationId="{467A5CB4-571E-F9CA-79E1-DD8182491BB9}"/>
          </ac:spMkLst>
        </pc:spChg>
        <pc:spChg chg="add mod replST">
          <ac:chgData name="Merlin Gutter" userId="2abc6f04-74af-430b-bdc8-569c3bfa1dda" providerId="ADAL" clId="{CB1EFBC3-10F5-3048-8961-5969497C0019}" dt="2022-11-25T00:17:13.204" v="205351"/>
          <ac:spMkLst>
            <pc:docMk/>
            <pc:sldMk cId="2192655461" sldId="406"/>
            <ac:spMk id="491" creationId="{15864351-0DAA-E18A-D298-973068F6BE6B}"/>
          </ac:spMkLst>
        </pc:spChg>
        <pc:spChg chg="add del mod replST">
          <ac:chgData name="Merlin Gutter" userId="2abc6f04-74af-430b-bdc8-569c3bfa1dda" providerId="ADAL" clId="{CB1EFBC3-10F5-3048-8961-5969497C0019}" dt="2022-11-24T22:38:41.703" v="171972"/>
          <ac:spMkLst>
            <pc:docMk/>
            <pc:sldMk cId="2192655461" sldId="406"/>
            <ac:spMk id="492" creationId="{701D035B-2173-899B-E1C5-2B906E4F5961}"/>
          </ac:spMkLst>
        </pc:spChg>
        <pc:spChg chg="add del mod replST">
          <ac:chgData name="Merlin Gutter" userId="2abc6f04-74af-430b-bdc8-569c3bfa1dda" providerId="ADAL" clId="{CB1EFBC3-10F5-3048-8961-5969497C0019}" dt="2022-11-24T22:38:41.702" v="171971"/>
          <ac:spMkLst>
            <pc:docMk/>
            <pc:sldMk cId="2192655461" sldId="406"/>
            <ac:spMk id="493" creationId="{A344C5D8-BB94-506A-BF0E-DD27AE29E8EB}"/>
          </ac:spMkLst>
        </pc:spChg>
        <pc:spChg chg="add del mod replST">
          <ac:chgData name="Merlin Gutter" userId="2abc6f04-74af-430b-bdc8-569c3bfa1dda" providerId="ADAL" clId="{CB1EFBC3-10F5-3048-8961-5969497C0019}" dt="2022-11-24T22:38:41.702" v="171970"/>
          <ac:spMkLst>
            <pc:docMk/>
            <pc:sldMk cId="2192655461" sldId="406"/>
            <ac:spMk id="494" creationId="{7292DD49-063A-6288-9F84-C9B45880D36E}"/>
          </ac:spMkLst>
        </pc:spChg>
        <pc:spChg chg="add del mod replST">
          <ac:chgData name="Merlin Gutter" userId="2abc6f04-74af-430b-bdc8-569c3bfa1dda" providerId="ADAL" clId="{CB1EFBC3-10F5-3048-8961-5969497C0019}" dt="2022-11-24T22:38:41.702" v="171969"/>
          <ac:spMkLst>
            <pc:docMk/>
            <pc:sldMk cId="2192655461" sldId="406"/>
            <ac:spMk id="495" creationId="{8E34BE94-B518-529C-4309-1FED91963968}"/>
          </ac:spMkLst>
        </pc:spChg>
        <pc:spChg chg="add del mod replST">
          <ac:chgData name="Merlin Gutter" userId="2abc6f04-74af-430b-bdc8-569c3bfa1dda" providerId="ADAL" clId="{CB1EFBC3-10F5-3048-8961-5969497C0019}" dt="2022-11-24T22:38:41.702" v="171968"/>
          <ac:spMkLst>
            <pc:docMk/>
            <pc:sldMk cId="2192655461" sldId="406"/>
            <ac:spMk id="496" creationId="{72AC3924-B715-E995-666E-1D5F047EF8E0}"/>
          </ac:spMkLst>
        </pc:spChg>
        <pc:spChg chg="add del mod replST">
          <ac:chgData name="Merlin Gutter" userId="2abc6f04-74af-430b-bdc8-569c3bfa1dda" providerId="ADAL" clId="{CB1EFBC3-10F5-3048-8961-5969497C0019}" dt="2022-11-24T22:38:41.702" v="171967"/>
          <ac:spMkLst>
            <pc:docMk/>
            <pc:sldMk cId="2192655461" sldId="406"/>
            <ac:spMk id="497" creationId="{E9AC088F-79A8-4737-FB83-8D0607F16A84}"/>
          </ac:spMkLst>
        </pc:spChg>
        <pc:spChg chg="add del mod modVis">
          <ac:chgData name="Merlin Gutter" userId="2abc6f04-74af-430b-bdc8-569c3bfa1dda" providerId="ADAL" clId="{CB1EFBC3-10F5-3048-8961-5969497C0019}" dt="2022-11-24T22:35:26.507" v="160541"/>
          <ac:spMkLst>
            <pc:docMk/>
            <pc:sldMk cId="2192655461" sldId="406"/>
            <ac:spMk id="499" creationId="{7645B71B-155D-E2DE-F314-73C13A6B479D}"/>
          </ac:spMkLst>
        </pc:spChg>
        <pc:spChg chg="add del mod modVis">
          <ac:chgData name="Merlin Gutter" userId="2abc6f04-74af-430b-bdc8-569c3bfa1dda" providerId="ADAL" clId="{CB1EFBC3-10F5-3048-8961-5969497C0019}" dt="2022-11-24T22:35:31.076" v="160764"/>
          <ac:spMkLst>
            <pc:docMk/>
            <pc:sldMk cId="2192655461" sldId="406"/>
            <ac:spMk id="501" creationId="{F7196A9C-33FD-C254-BF78-1D0D17C8317A}"/>
          </ac:spMkLst>
        </pc:spChg>
        <pc:spChg chg="add del mod modVis">
          <ac:chgData name="Merlin Gutter" userId="2abc6f04-74af-430b-bdc8-569c3bfa1dda" providerId="ADAL" clId="{CB1EFBC3-10F5-3048-8961-5969497C0019}" dt="2022-11-24T22:35:31.213" v="160961"/>
          <ac:spMkLst>
            <pc:docMk/>
            <pc:sldMk cId="2192655461" sldId="406"/>
            <ac:spMk id="503" creationId="{D4705B91-3811-0EF7-2140-AAAFC159EE14}"/>
          </ac:spMkLst>
        </pc:spChg>
        <pc:spChg chg="add del mod modVis">
          <ac:chgData name="Merlin Gutter" userId="2abc6f04-74af-430b-bdc8-569c3bfa1dda" providerId="ADAL" clId="{CB1EFBC3-10F5-3048-8961-5969497C0019}" dt="2022-11-24T22:35:37.039" v="161180"/>
          <ac:spMkLst>
            <pc:docMk/>
            <pc:sldMk cId="2192655461" sldId="406"/>
            <ac:spMk id="505" creationId="{FB62AACC-0C4A-9BB0-7BDF-5E566B72DBBA}"/>
          </ac:spMkLst>
        </pc:spChg>
        <pc:spChg chg="add del mod modVis">
          <ac:chgData name="Merlin Gutter" userId="2abc6f04-74af-430b-bdc8-569c3bfa1dda" providerId="ADAL" clId="{CB1EFBC3-10F5-3048-8961-5969497C0019}" dt="2022-11-24T22:35:37.186" v="161377"/>
          <ac:spMkLst>
            <pc:docMk/>
            <pc:sldMk cId="2192655461" sldId="406"/>
            <ac:spMk id="507" creationId="{0886EA50-EBC6-CF37-763A-14FC4D009FA3}"/>
          </ac:spMkLst>
        </pc:spChg>
        <pc:spChg chg="add del mod modVis">
          <ac:chgData name="Merlin Gutter" userId="2abc6f04-74af-430b-bdc8-569c3bfa1dda" providerId="ADAL" clId="{CB1EFBC3-10F5-3048-8961-5969497C0019}" dt="2022-11-24T22:35:41.672" v="161851"/>
          <ac:spMkLst>
            <pc:docMk/>
            <pc:sldMk cId="2192655461" sldId="406"/>
            <ac:spMk id="509" creationId="{F56F5618-CC59-F444-41E5-5C5E06AA2DAE}"/>
          </ac:spMkLst>
        </pc:spChg>
        <pc:spChg chg="add mod replST">
          <ac:chgData name="Merlin Gutter" userId="2abc6f04-74af-430b-bdc8-569c3bfa1dda" providerId="ADAL" clId="{CB1EFBC3-10F5-3048-8961-5969497C0019}" dt="2022-11-25T00:17:13.165" v="205317"/>
          <ac:spMkLst>
            <pc:docMk/>
            <pc:sldMk cId="2192655461" sldId="406"/>
            <ac:spMk id="510" creationId="{0C241593-CDAF-AACD-6F14-B18B62BFB6AF}"/>
          </ac:spMkLst>
        </pc:spChg>
        <pc:spChg chg="add mod replST">
          <ac:chgData name="Merlin Gutter" userId="2abc6f04-74af-430b-bdc8-569c3bfa1dda" providerId="ADAL" clId="{CB1EFBC3-10F5-3048-8961-5969497C0019}" dt="2022-11-25T00:17:13.161" v="205314"/>
          <ac:spMkLst>
            <pc:docMk/>
            <pc:sldMk cId="2192655461" sldId="406"/>
            <ac:spMk id="511" creationId="{86D3C26D-3A28-B7FB-5123-131D53CCAFFC}"/>
          </ac:spMkLst>
        </pc:spChg>
        <pc:spChg chg="add mod replST">
          <ac:chgData name="Merlin Gutter" userId="2abc6f04-74af-430b-bdc8-569c3bfa1dda" providerId="ADAL" clId="{CB1EFBC3-10F5-3048-8961-5969497C0019}" dt="2022-11-25T00:17:13.168" v="205320"/>
          <ac:spMkLst>
            <pc:docMk/>
            <pc:sldMk cId="2192655461" sldId="406"/>
            <ac:spMk id="512" creationId="{66DDBDCD-D74D-F7E3-3908-3C7C64128EE1}"/>
          </ac:spMkLst>
        </pc:spChg>
        <pc:spChg chg="add mod replST">
          <ac:chgData name="Merlin Gutter" userId="2abc6f04-74af-430b-bdc8-569c3bfa1dda" providerId="ADAL" clId="{CB1EFBC3-10F5-3048-8961-5969497C0019}" dt="2022-11-25T00:17:13.158" v="205311"/>
          <ac:spMkLst>
            <pc:docMk/>
            <pc:sldMk cId="2192655461" sldId="406"/>
            <ac:spMk id="513" creationId="{7EA0ECA5-100E-2138-D25F-EF10B536A1CF}"/>
          </ac:spMkLst>
        </pc:spChg>
        <pc:spChg chg="add del mod modVis">
          <ac:chgData name="Merlin Gutter" userId="2abc6f04-74af-430b-bdc8-569c3bfa1dda" providerId="ADAL" clId="{CB1EFBC3-10F5-3048-8961-5969497C0019}" dt="2022-11-24T22:35:41.912" v="162016"/>
          <ac:spMkLst>
            <pc:docMk/>
            <pc:sldMk cId="2192655461" sldId="406"/>
            <ac:spMk id="515" creationId="{12559FA0-0E83-29E6-F184-1B5CA65AF7E5}"/>
          </ac:spMkLst>
        </pc:spChg>
        <pc:spChg chg="add del mod modVis">
          <ac:chgData name="Merlin Gutter" userId="2abc6f04-74af-430b-bdc8-569c3bfa1dda" providerId="ADAL" clId="{CB1EFBC3-10F5-3048-8961-5969497C0019}" dt="2022-11-24T22:35:46.948" v="162239"/>
          <ac:spMkLst>
            <pc:docMk/>
            <pc:sldMk cId="2192655461" sldId="406"/>
            <ac:spMk id="517" creationId="{31738983-E9D0-4B32-A442-51216D851D49}"/>
          </ac:spMkLst>
        </pc:spChg>
        <pc:spChg chg="add del mod modVis">
          <ac:chgData name="Merlin Gutter" userId="2abc6f04-74af-430b-bdc8-569c3bfa1dda" providerId="ADAL" clId="{CB1EFBC3-10F5-3048-8961-5969497C0019}" dt="2022-11-24T22:35:47.090" v="162440"/>
          <ac:spMkLst>
            <pc:docMk/>
            <pc:sldMk cId="2192655461" sldId="406"/>
            <ac:spMk id="519" creationId="{2C2A3022-0FE8-376B-A4E6-32764C5B71D7}"/>
          </ac:spMkLst>
        </pc:spChg>
        <pc:spChg chg="add del mod modVis">
          <ac:chgData name="Merlin Gutter" userId="2abc6f04-74af-430b-bdc8-569c3bfa1dda" providerId="ADAL" clId="{CB1EFBC3-10F5-3048-8961-5969497C0019}" dt="2022-11-24T22:35:51.821" v="163242"/>
          <ac:spMkLst>
            <pc:docMk/>
            <pc:sldMk cId="2192655461" sldId="406"/>
            <ac:spMk id="521" creationId="{BEFB029A-FC5E-5AEA-85C8-BFE43C3DDC68}"/>
          </ac:spMkLst>
        </pc:spChg>
        <pc:spChg chg="add mod replST">
          <ac:chgData name="Merlin Gutter" userId="2abc6f04-74af-430b-bdc8-569c3bfa1dda" providerId="ADAL" clId="{CB1EFBC3-10F5-3048-8961-5969497C0019}" dt="2022-11-25T00:17:13.209" v="205356"/>
          <ac:spMkLst>
            <pc:docMk/>
            <pc:sldMk cId="2192655461" sldId="406"/>
            <ac:spMk id="522" creationId="{39D61B6A-D1B8-F137-5D59-FC6C6C2E193C}"/>
          </ac:spMkLst>
        </pc:spChg>
        <pc:spChg chg="add del mod replST">
          <ac:chgData name="Merlin Gutter" userId="2abc6f04-74af-430b-bdc8-569c3bfa1dda" providerId="ADAL" clId="{CB1EFBC3-10F5-3048-8961-5969497C0019}" dt="2022-11-24T22:39:26.221" v="174128"/>
          <ac:spMkLst>
            <pc:docMk/>
            <pc:sldMk cId="2192655461" sldId="406"/>
            <ac:spMk id="523" creationId="{D449D385-FCD4-0074-66A3-589313617637}"/>
          </ac:spMkLst>
        </pc:spChg>
        <pc:spChg chg="add del mod replST">
          <ac:chgData name="Merlin Gutter" userId="2abc6f04-74af-430b-bdc8-569c3bfa1dda" providerId="ADAL" clId="{CB1EFBC3-10F5-3048-8961-5969497C0019}" dt="2022-11-24T22:39:26.220" v="174127"/>
          <ac:spMkLst>
            <pc:docMk/>
            <pc:sldMk cId="2192655461" sldId="406"/>
            <ac:spMk id="524" creationId="{CE8B8B36-F213-99FB-C962-307860B28109}"/>
          </ac:spMkLst>
        </pc:spChg>
        <pc:spChg chg="add del mod replST">
          <ac:chgData name="Merlin Gutter" userId="2abc6f04-74af-430b-bdc8-569c3bfa1dda" providerId="ADAL" clId="{CB1EFBC3-10F5-3048-8961-5969497C0019}" dt="2022-11-24T22:39:26.220" v="174126"/>
          <ac:spMkLst>
            <pc:docMk/>
            <pc:sldMk cId="2192655461" sldId="406"/>
            <ac:spMk id="525" creationId="{92616869-F23D-3333-A2F7-C23D7F207E1C}"/>
          </ac:spMkLst>
        </pc:spChg>
        <pc:spChg chg="add del mod replST">
          <ac:chgData name="Merlin Gutter" userId="2abc6f04-74af-430b-bdc8-569c3bfa1dda" providerId="ADAL" clId="{CB1EFBC3-10F5-3048-8961-5969497C0019}" dt="2022-11-24T22:39:26.220" v="174125"/>
          <ac:spMkLst>
            <pc:docMk/>
            <pc:sldMk cId="2192655461" sldId="406"/>
            <ac:spMk id="526" creationId="{9C0C56AC-7B6D-EAA9-9731-791DAF24EFD9}"/>
          </ac:spMkLst>
        </pc:spChg>
        <pc:spChg chg="add del mod replST">
          <ac:chgData name="Merlin Gutter" userId="2abc6f04-74af-430b-bdc8-569c3bfa1dda" providerId="ADAL" clId="{CB1EFBC3-10F5-3048-8961-5969497C0019}" dt="2022-11-24T22:39:26.220" v="174124"/>
          <ac:spMkLst>
            <pc:docMk/>
            <pc:sldMk cId="2192655461" sldId="406"/>
            <ac:spMk id="527" creationId="{FB6DA696-ABA0-78C5-EEB9-7EFC02576A90}"/>
          </ac:spMkLst>
        </pc:spChg>
        <pc:spChg chg="add del mod replST">
          <ac:chgData name="Merlin Gutter" userId="2abc6f04-74af-430b-bdc8-569c3bfa1dda" providerId="ADAL" clId="{CB1EFBC3-10F5-3048-8961-5969497C0019}" dt="2022-11-24T22:39:26.219" v="174123"/>
          <ac:spMkLst>
            <pc:docMk/>
            <pc:sldMk cId="2192655461" sldId="406"/>
            <ac:spMk id="528" creationId="{8C0C5EB0-4F6F-ECDC-722D-D38E6DA97F21}"/>
          </ac:spMkLst>
        </pc:spChg>
        <pc:spChg chg="add del mod replST">
          <ac:chgData name="Merlin Gutter" userId="2abc6f04-74af-430b-bdc8-569c3bfa1dda" providerId="ADAL" clId="{CB1EFBC3-10F5-3048-8961-5969497C0019}" dt="2022-11-24T22:38:41.698" v="171966"/>
          <ac:spMkLst>
            <pc:docMk/>
            <pc:sldMk cId="2192655461" sldId="406"/>
            <ac:spMk id="529" creationId="{8311025D-CE36-E35F-4954-C455B05186F5}"/>
          </ac:spMkLst>
        </pc:spChg>
        <pc:spChg chg="add del mod replST">
          <ac:chgData name="Merlin Gutter" userId="2abc6f04-74af-430b-bdc8-569c3bfa1dda" providerId="ADAL" clId="{CB1EFBC3-10F5-3048-8961-5969497C0019}" dt="2022-11-24T22:38:41.698" v="171965"/>
          <ac:spMkLst>
            <pc:docMk/>
            <pc:sldMk cId="2192655461" sldId="406"/>
            <ac:spMk id="530" creationId="{6A5A28E7-3F22-7B6B-42F7-F04B4386F3F3}"/>
          </ac:spMkLst>
        </pc:spChg>
        <pc:spChg chg="add del mod modVis">
          <ac:chgData name="Merlin Gutter" userId="2abc6f04-74af-430b-bdc8-569c3bfa1dda" providerId="ADAL" clId="{CB1EFBC3-10F5-3048-8961-5969497C0019}" dt="2022-11-24T22:35:52.111" v="163417"/>
          <ac:spMkLst>
            <pc:docMk/>
            <pc:sldMk cId="2192655461" sldId="406"/>
            <ac:spMk id="532" creationId="{71F07E6B-96A7-2DAE-59D1-98BF239FCB9B}"/>
          </ac:spMkLst>
        </pc:spChg>
        <pc:spChg chg="add del mod modVis">
          <ac:chgData name="Merlin Gutter" userId="2abc6f04-74af-430b-bdc8-569c3bfa1dda" providerId="ADAL" clId="{CB1EFBC3-10F5-3048-8961-5969497C0019}" dt="2022-11-24T22:36:14.888" v="164490"/>
          <ac:spMkLst>
            <pc:docMk/>
            <pc:sldMk cId="2192655461" sldId="406"/>
            <ac:spMk id="534" creationId="{068CE8EB-C1D6-E69B-FF08-00F8A33AD361}"/>
          </ac:spMkLst>
        </pc:spChg>
        <pc:spChg chg="add del mod replST">
          <ac:chgData name="Merlin Gutter" userId="2abc6f04-74af-430b-bdc8-569c3bfa1dda" providerId="ADAL" clId="{CB1EFBC3-10F5-3048-8961-5969497C0019}" dt="2022-11-24T22:36:42.197" v="165178"/>
          <ac:spMkLst>
            <pc:docMk/>
            <pc:sldMk cId="2192655461" sldId="406"/>
            <ac:spMk id="535" creationId="{217958CF-95B6-C9FF-FDC8-35E52B514C7E}"/>
          </ac:spMkLst>
        </pc:spChg>
        <pc:spChg chg="add del mod replST">
          <ac:chgData name="Merlin Gutter" userId="2abc6f04-74af-430b-bdc8-569c3bfa1dda" providerId="ADAL" clId="{CB1EFBC3-10F5-3048-8961-5969497C0019}" dt="2022-11-24T22:36:42.197" v="165177"/>
          <ac:spMkLst>
            <pc:docMk/>
            <pc:sldMk cId="2192655461" sldId="406"/>
            <ac:spMk id="536" creationId="{E7C1CB00-397E-36DF-4BA2-49A80D0D09F9}"/>
          </ac:spMkLst>
        </pc:spChg>
        <pc:spChg chg="add del mod replST">
          <ac:chgData name="Merlin Gutter" userId="2abc6f04-74af-430b-bdc8-569c3bfa1dda" providerId="ADAL" clId="{CB1EFBC3-10F5-3048-8961-5969497C0019}" dt="2022-11-24T22:36:42.197" v="165176"/>
          <ac:spMkLst>
            <pc:docMk/>
            <pc:sldMk cId="2192655461" sldId="406"/>
            <ac:spMk id="537" creationId="{CB337284-078E-7C80-F365-02A590373F21}"/>
          </ac:spMkLst>
        </pc:spChg>
        <pc:spChg chg="add del mod replST">
          <ac:chgData name="Merlin Gutter" userId="2abc6f04-74af-430b-bdc8-569c3bfa1dda" providerId="ADAL" clId="{CB1EFBC3-10F5-3048-8961-5969497C0019}" dt="2022-11-24T22:36:42.197" v="165175"/>
          <ac:spMkLst>
            <pc:docMk/>
            <pc:sldMk cId="2192655461" sldId="406"/>
            <ac:spMk id="538" creationId="{8E4D02BA-8CB8-59B6-D6C4-7C787F3B96A1}"/>
          </ac:spMkLst>
        </pc:spChg>
        <pc:spChg chg="add del mod replST">
          <ac:chgData name="Merlin Gutter" userId="2abc6f04-74af-430b-bdc8-569c3bfa1dda" providerId="ADAL" clId="{CB1EFBC3-10F5-3048-8961-5969497C0019}" dt="2022-11-24T22:36:42.197" v="165174"/>
          <ac:spMkLst>
            <pc:docMk/>
            <pc:sldMk cId="2192655461" sldId="406"/>
            <ac:spMk id="539" creationId="{07C3DA94-CB7B-9CB0-FA25-F5D764AB7904}"/>
          </ac:spMkLst>
        </pc:spChg>
        <pc:spChg chg="add del mod replST">
          <ac:chgData name="Merlin Gutter" userId="2abc6f04-74af-430b-bdc8-569c3bfa1dda" providerId="ADAL" clId="{CB1EFBC3-10F5-3048-8961-5969497C0019}" dt="2022-11-24T22:36:42.196" v="165173"/>
          <ac:spMkLst>
            <pc:docMk/>
            <pc:sldMk cId="2192655461" sldId="406"/>
            <ac:spMk id="540" creationId="{60BD35A7-59E3-DDD2-1E08-0648590B8446}"/>
          </ac:spMkLst>
        </pc:spChg>
        <pc:spChg chg="add del mod replST">
          <ac:chgData name="Merlin Gutter" userId="2abc6f04-74af-430b-bdc8-569c3bfa1dda" providerId="ADAL" clId="{CB1EFBC3-10F5-3048-8961-5969497C0019}" dt="2022-11-24T22:36:42.196" v="165172"/>
          <ac:spMkLst>
            <pc:docMk/>
            <pc:sldMk cId="2192655461" sldId="406"/>
            <ac:spMk id="541" creationId="{837C5D6C-A328-F85E-4EBC-83F932575B54}"/>
          </ac:spMkLst>
        </pc:spChg>
        <pc:spChg chg="add del mod replST">
          <ac:chgData name="Merlin Gutter" userId="2abc6f04-74af-430b-bdc8-569c3bfa1dda" providerId="ADAL" clId="{CB1EFBC3-10F5-3048-8961-5969497C0019}" dt="2022-11-24T22:36:42.196" v="165171"/>
          <ac:spMkLst>
            <pc:docMk/>
            <pc:sldMk cId="2192655461" sldId="406"/>
            <ac:spMk id="542" creationId="{35115C62-446D-5085-163A-C491AAAAD1F9}"/>
          </ac:spMkLst>
        </pc:spChg>
        <pc:spChg chg="add del mod replST">
          <ac:chgData name="Merlin Gutter" userId="2abc6f04-74af-430b-bdc8-569c3bfa1dda" providerId="ADAL" clId="{CB1EFBC3-10F5-3048-8961-5969497C0019}" dt="2022-11-24T22:36:42.196" v="165170"/>
          <ac:spMkLst>
            <pc:docMk/>
            <pc:sldMk cId="2192655461" sldId="406"/>
            <ac:spMk id="543" creationId="{AD64CAF3-E21C-BC08-E001-D15644DB0880}"/>
          </ac:spMkLst>
        </pc:spChg>
        <pc:spChg chg="add del mod replST">
          <ac:chgData name="Merlin Gutter" userId="2abc6f04-74af-430b-bdc8-569c3bfa1dda" providerId="ADAL" clId="{CB1EFBC3-10F5-3048-8961-5969497C0019}" dt="2022-11-24T22:36:42.195" v="165169"/>
          <ac:spMkLst>
            <pc:docMk/>
            <pc:sldMk cId="2192655461" sldId="406"/>
            <ac:spMk id="544" creationId="{C2F347E0-B853-A997-C8DD-9D7E185463CB}"/>
          </ac:spMkLst>
        </pc:spChg>
        <pc:spChg chg="add del mod replST">
          <ac:chgData name="Merlin Gutter" userId="2abc6f04-74af-430b-bdc8-569c3bfa1dda" providerId="ADAL" clId="{CB1EFBC3-10F5-3048-8961-5969497C0019}" dt="2022-11-24T22:36:42.195" v="165168"/>
          <ac:spMkLst>
            <pc:docMk/>
            <pc:sldMk cId="2192655461" sldId="406"/>
            <ac:spMk id="545" creationId="{39EB72C7-7EB9-9DB6-ED56-F195FADFA8A3}"/>
          </ac:spMkLst>
        </pc:spChg>
        <pc:spChg chg="add del mod replST">
          <ac:chgData name="Merlin Gutter" userId="2abc6f04-74af-430b-bdc8-569c3bfa1dda" providerId="ADAL" clId="{CB1EFBC3-10F5-3048-8961-5969497C0019}" dt="2022-11-24T22:36:42.195" v="165167"/>
          <ac:spMkLst>
            <pc:docMk/>
            <pc:sldMk cId="2192655461" sldId="406"/>
            <ac:spMk id="546" creationId="{65194D51-A377-5E0A-AC74-685BB268B584}"/>
          </ac:spMkLst>
        </pc:spChg>
        <pc:spChg chg="add del mod modVis">
          <ac:chgData name="Merlin Gutter" userId="2abc6f04-74af-430b-bdc8-569c3bfa1dda" providerId="ADAL" clId="{CB1EFBC3-10F5-3048-8961-5969497C0019}" dt="2022-11-24T22:36:15.041" v="164692"/>
          <ac:spMkLst>
            <pc:docMk/>
            <pc:sldMk cId="2192655461" sldId="406"/>
            <ac:spMk id="551" creationId="{6D22188C-0661-A501-10EC-5557C7F4BD1A}"/>
          </ac:spMkLst>
        </pc:spChg>
        <pc:spChg chg="add del mod modVis">
          <ac:chgData name="Merlin Gutter" userId="2abc6f04-74af-430b-bdc8-569c3bfa1dda" providerId="ADAL" clId="{CB1EFBC3-10F5-3048-8961-5969497C0019}" dt="2022-11-24T22:36:25.260" v="164874"/>
          <ac:spMkLst>
            <pc:docMk/>
            <pc:sldMk cId="2192655461" sldId="406"/>
            <ac:spMk id="553" creationId="{3CD6B608-0C30-0C9A-EA98-17701899116D}"/>
          </ac:spMkLst>
        </pc:spChg>
        <pc:spChg chg="add del mod modVis">
          <ac:chgData name="Merlin Gutter" userId="2abc6f04-74af-430b-bdc8-569c3bfa1dda" providerId="ADAL" clId="{CB1EFBC3-10F5-3048-8961-5969497C0019}" dt="2022-11-24T22:36:25.388" v="165056"/>
          <ac:spMkLst>
            <pc:docMk/>
            <pc:sldMk cId="2192655461" sldId="406"/>
            <ac:spMk id="555" creationId="{7AEDF4EB-1A58-6087-FD27-D5FDB6BC8546}"/>
          </ac:spMkLst>
        </pc:spChg>
        <pc:spChg chg="add del mod replST">
          <ac:chgData name="Merlin Gutter" userId="2abc6f04-74af-430b-bdc8-569c3bfa1dda" providerId="ADAL" clId="{CB1EFBC3-10F5-3048-8961-5969497C0019}" dt="2022-11-24T22:41:33.955" v="182042"/>
          <ac:spMkLst>
            <pc:docMk/>
            <pc:sldMk cId="2192655461" sldId="406"/>
            <ac:spMk id="557" creationId="{AFD68B63-988D-ACF4-4274-4DC2FB662D70}"/>
          </ac:spMkLst>
        </pc:spChg>
        <pc:spChg chg="add del mod replST">
          <ac:chgData name="Merlin Gutter" userId="2abc6f04-74af-430b-bdc8-569c3bfa1dda" providerId="ADAL" clId="{CB1EFBC3-10F5-3048-8961-5969497C0019}" dt="2022-11-24T22:41:33.955" v="182043"/>
          <ac:spMkLst>
            <pc:docMk/>
            <pc:sldMk cId="2192655461" sldId="406"/>
            <ac:spMk id="558" creationId="{E1249D5E-2AD7-AEDB-AB55-8D2BDA224E8D}"/>
          </ac:spMkLst>
        </pc:spChg>
        <pc:spChg chg="add del mod modVis">
          <ac:chgData name="Merlin Gutter" userId="2abc6f04-74af-430b-bdc8-569c3bfa1dda" providerId="ADAL" clId="{CB1EFBC3-10F5-3048-8961-5969497C0019}" dt="2022-11-24T22:36:42.786" v="166170"/>
          <ac:spMkLst>
            <pc:docMk/>
            <pc:sldMk cId="2192655461" sldId="406"/>
            <ac:spMk id="559" creationId="{6173EBD1-88D2-0624-2A94-A4B0255BA3E8}"/>
          </ac:spMkLst>
        </pc:spChg>
        <pc:spChg chg="add del mod replST">
          <ac:chgData name="Merlin Gutter" userId="2abc6f04-74af-430b-bdc8-569c3bfa1dda" providerId="ADAL" clId="{CB1EFBC3-10F5-3048-8961-5969497C0019}" dt="2022-11-24T22:41:34.017" v="182111"/>
          <ac:spMkLst>
            <pc:docMk/>
            <pc:sldMk cId="2192655461" sldId="406"/>
            <ac:spMk id="560" creationId="{66B7525E-92B6-4401-BBC1-684B35B893A9}"/>
          </ac:spMkLst>
        </pc:spChg>
        <pc:spChg chg="add del mod replST">
          <ac:chgData name="Merlin Gutter" userId="2abc6f04-74af-430b-bdc8-569c3bfa1dda" providerId="ADAL" clId="{CB1EFBC3-10F5-3048-8961-5969497C0019}" dt="2022-11-24T22:41:34.016" v="182110"/>
          <ac:spMkLst>
            <pc:docMk/>
            <pc:sldMk cId="2192655461" sldId="406"/>
            <ac:spMk id="561" creationId="{6731FFF9-2E4C-0828-DA20-13BDE1E31EBB}"/>
          </ac:spMkLst>
        </pc:spChg>
        <pc:spChg chg="add del mod replST">
          <ac:chgData name="Merlin Gutter" userId="2abc6f04-74af-430b-bdc8-569c3bfa1dda" providerId="ADAL" clId="{CB1EFBC3-10F5-3048-8961-5969497C0019}" dt="2022-11-24T22:41:34.016" v="182109"/>
          <ac:spMkLst>
            <pc:docMk/>
            <pc:sldMk cId="2192655461" sldId="406"/>
            <ac:spMk id="562" creationId="{B08FDD19-C176-F5DA-FC8D-34E1B5442EF6}"/>
          </ac:spMkLst>
        </pc:spChg>
        <pc:spChg chg="add del mod replST">
          <ac:chgData name="Merlin Gutter" userId="2abc6f04-74af-430b-bdc8-569c3bfa1dda" providerId="ADAL" clId="{CB1EFBC3-10F5-3048-8961-5969497C0019}" dt="2022-11-24T22:41:34.016" v="182108"/>
          <ac:spMkLst>
            <pc:docMk/>
            <pc:sldMk cId="2192655461" sldId="406"/>
            <ac:spMk id="563" creationId="{98BB5F94-50AC-A35A-1BD4-087DBBECDC31}"/>
          </ac:spMkLst>
        </pc:spChg>
        <pc:spChg chg="add del mod replST">
          <ac:chgData name="Merlin Gutter" userId="2abc6f04-74af-430b-bdc8-569c3bfa1dda" providerId="ADAL" clId="{CB1EFBC3-10F5-3048-8961-5969497C0019}" dt="2022-11-24T22:41:34.016" v="182107"/>
          <ac:spMkLst>
            <pc:docMk/>
            <pc:sldMk cId="2192655461" sldId="406"/>
            <ac:spMk id="564" creationId="{ADE99C65-DE90-E627-D201-E00167320646}"/>
          </ac:spMkLst>
        </pc:spChg>
        <pc:spChg chg="add del mod replST">
          <ac:chgData name="Merlin Gutter" userId="2abc6f04-74af-430b-bdc8-569c3bfa1dda" providerId="ADAL" clId="{CB1EFBC3-10F5-3048-8961-5969497C0019}" dt="2022-11-24T22:41:34.016" v="182106"/>
          <ac:spMkLst>
            <pc:docMk/>
            <pc:sldMk cId="2192655461" sldId="406"/>
            <ac:spMk id="565" creationId="{B0080F9B-A4A2-2CA5-2324-A7FB6E6E443C}"/>
          </ac:spMkLst>
        </pc:spChg>
        <pc:spChg chg="add del mod replST">
          <ac:chgData name="Merlin Gutter" userId="2abc6f04-74af-430b-bdc8-569c3bfa1dda" providerId="ADAL" clId="{CB1EFBC3-10F5-3048-8961-5969497C0019}" dt="2022-11-24T22:41:34.016" v="182105"/>
          <ac:spMkLst>
            <pc:docMk/>
            <pc:sldMk cId="2192655461" sldId="406"/>
            <ac:spMk id="566" creationId="{FBBD950A-E76D-5385-014C-A88D6F9D8A0C}"/>
          </ac:spMkLst>
        </pc:spChg>
        <pc:spChg chg="add del mod replST">
          <ac:chgData name="Merlin Gutter" userId="2abc6f04-74af-430b-bdc8-569c3bfa1dda" providerId="ADAL" clId="{CB1EFBC3-10F5-3048-8961-5969497C0019}" dt="2022-11-24T22:41:34.015" v="182104"/>
          <ac:spMkLst>
            <pc:docMk/>
            <pc:sldMk cId="2192655461" sldId="406"/>
            <ac:spMk id="567" creationId="{7D34DEB0-73BD-A147-F052-A7BB079A2438}"/>
          </ac:spMkLst>
        </pc:spChg>
        <pc:spChg chg="add del mod replST">
          <ac:chgData name="Merlin Gutter" userId="2abc6f04-74af-430b-bdc8-569c3bfa1dda" providerId="ADAL" clId="{CB1EFBC3-10F5-3048-8961-5969497C0019}" dt="2022-11-24T22:41:34.015" v="182103"/>
          <ac:spMkLst>
            <pc:docMk/>
            <pc:sldMk cId="2192655461" sldId="406"/>
            <ac:spMk id="568" creationId="{07B7A612-1CE1-F85B-8BA4-396F59C8997D}"/>
          </ac:spMkLst>
        </pc:spChg>
        <pc:spChg chg="add del mod replST">
          <ac:chgData name="Merlin Gutter" userId="2abc6f04-74af-430b-bdc8-569c3bfa1dda" providerId="ADAL" clId="{CB1EFBC3-10F5-3048-8961-5969497C0019}" dt="2022-11-24T22:41:34.015" v="182102"/>
          <ac:spMkLst>
            <pc:docMk/>
            <pc:sldMk cId="2192655461" sldId="406"/>
            <ac:spMk id="569" creationId="{9080D425-663B-FBDB-DDE6-5E164F0C1A2F}"/>
          </ac:spMkLst>
        </pc:spChg>
        <pc:spChg chg="add del mod replST">
          <ac:chgData name="Merlin Gutter" userId="2abc6f04-74af-430b-bdc8-569c3bfa1dda" providerId="ADAL" clId="{CB1EFBC3-10F5-3048-8961-5969497C0019}" dt="2022-11-24T22:41:34.015" v="182101"/>
          <ac:spMkLst>
            <pc:docMk/>
            <pc:sldMk cId="2192655461" sldId="406"/>
            <ac:spMk id="570" creationId="{129E716E-65D0-E868-206D-6218E61E9A78}"/>
          </ac:spMkLst>
        </pc:spChg>
        <pc:spChg chg="add del mod replST">
          <ac:chgData name="Merlin Gutter" userId="2abc6f04-74af-430b-bdc8-569c3bfa1dda" providerId="ADAL" clId="{CB1EFBC3-10F5-3048-8961-5969497C0019}" dt="2022-11-24T22:41:34.015" v="182100"/>
          <ac:spMkLst>
            <pc:docMk/>
            <pc:sldMk cId="2192655461" sldId="406"/>
            <ac:spMk id="571" creationId="{430044CF-343D-2D1F-AADC-950D2E3B7C85}"/>
          </ac:spMkLst>
        </pc:spChg>
        <pc:spChg chg="add del mod modVis">
          <ac:chgData name="Merlin Gutter" userId="2abc6f04-74af-430b-bdc8-569c3bfa1dda" providerId="ADAL" clId="{CB1EFBC3-10F5-3048-8961-5969497C0019}" dt="2022-11-24T22:36:42.957" v="166436"/>
          <ac:spMkLst>
            <pc:docMk/>
            <pc:sldMk cId="2192655461" sldId="406"/>
            <ac:spMk id="574" creationId="{37A1C00D-49A3-D658-13AF-6A0D7B9D97FC}"/>
          </ac:spMkLst>
        </pc:spChg>
        <pc:spChg chg="add del mod modVis">
          <ac:chgData name="Merlin Gutter" userId="2abc6f04-74af-430b-bdc8-569c3bfa1dda" providerId="ADAL" clId="{CB1EFBC3-10F5-3048-8961-5969497C0019}" dt="2022-11-24T22:37:03.891" v="166641"/>
          <ac:spMkLst>
            <pc:docMk/>
            <pc:sldMk cId="2192655461" sldId="406"/>
            <ac:spMk id="578" creationId="{71DFC4AC-033A-1E3E-77A7-B1747ACE6B1E}"/>
          </ac:spMkLst>
        </pc:spChg>
        <pc:spChg chg="add del mod modVis">
          <ac:chgData name="Merlin Gutter" userId="2abc6f04-74af-430b-bdc8-569c3bfa1dda" providerId="ADAL" clId="{CB1EFBC3-10F5-3048-8961-5969497C0019}" dt="2022-11-24T22:37:04.072" v="166848"/>
          <ac:spMkLst>
            <pc:docMk/>
            <pc:sldMk cId="2192655461" sldId="406"/>
            <ac:spMk id="580" creationId="{EEA5D3DF-6D76-178A-FE52-0E54F6FC5ECA}"/>
          </ac:spMkLst>
        </pc:spChg>
        <pc:spChg chg="add del mod modVis">
          <ac:chgData name="Merlin Gutter" userId="2abc6f04-74af-430b-bdc8-569c3bfa1dda" providerId="ADAL" clId="{CB1EFBC3-10F5-3048-8961-5969497C0019}" dt="2022-11-24T22:37:13.997" v="167934"/>
          <ac:spMkLst>
            <pc:docMk/>
            <pc:sldMk cId="2192655461" sldId="406"/>
            <ac:spMk id="582" creationId="{BFAF895C-DAE9-427B-A591-515A243115B0}"/>
          </ac:spMkLst>
        </pc:spChg>
        <pc:spChg chg="add del mod replST">
          <ac:chgData name="Merlin Gutter" userId="2abc6f04-74af-430b-bdc8-569c3bfa1dda" providerId="ADAL" clId="{CB1EFBC3-10F5-3048-8961-5969497C0019}" dt="2022-11-24T22:37:58.480" v="169037"/>
          <ac:spMkLst>
            <pc:docMk/>
            <pc:sldMk cId="2192655461" sldId="406"/>
            <ac:spMk id="583" creationId="{7B3FC227-72DF-2FF9-BE4C-6C486FD5F5F0}"/>
          </ac:spMkLst>
        </pc:spChg>
        <pc:spChg chg="add del mod replST">
          <ac:chgData name="Merlin Gutter" userId="2abc6f04-74af-430b-bdc8-569c3bfa1dda" providerId="ADAL" clId="{CB1EFBC3-10F5-3048-8961-5969497C0019}" dt="2022-11-24T22:37:58.480" v="169036"/>
          <ac:spMkLst>
            <pc:docMk/>
            <pc:sldMk cId="2192655461" sldId="406"/>
            <ac:spMk id="584" creationId="{A7F3ABF5-DA18-EE36-240B-703D10ACFEAF}"/>
          </ac:spMkLst>
        </pc:spChg>
        <pc:spChg chg="add del mod replST">
          <ac:chgData name="Merlin Gutter" userId="2abc6f04-74af-430b-bdc8-569c3bfa1dda" providerId="ADAL" clId="{CB1EFBC3-10F5-3048-8961-5969497C0019}" dt="2022-11-24T22:37:58.479" v="169035"/>
          <ac:spMkLst>
            <pc:docMk/>
            <pc:sldMk cId="2192655461" sldId="406"/>
            <ac:spMk id="585" creationId="{F9DCB81C-6A24-A081-F0E5-F30E706C5A34}"/>
          </ac:spMkLst>
        </pc:spChg>
        <pc:spChg chg="add del mod replST">
          <ac:chgData name="Merlin Gutter" userId="2abc6f04-74af-430b-bdc8-569c3bfa1dda" providerId="ADAL" clId="{CB1EFBC3-10F5-3048-8961-5969497C0019}" dt="2022-11-24T22:37:58.479" v="169034"/>
          <ac:spMkLst>
            <pc:docMk/>
            <pc:sldMk cId="2192655461" sldId="406"/>
            <ac:spMk id="586" creationId="{4FF49585-12FB-365F-3390-F8A602F97C9E}"/>
          </ac:spMkLst>
        </pc:spChg>
        <pc:spChg chg="add del mod replST">
          <ac:chgData name="Merlin Gutter" userId="2abc6f04-74af-430b-bdc8-569c3bfa1dda" providerId="ADAL" clId="{CB1EFBC3-10F5-3048-8961-5969497C0019}" dt="2022-11-24T22:37:58.479" v="169033"/>
          <ac:spMkLst>
            <pc:docMk/>
            <pc:sldMk cId="2192655461" sldId="406"/>
            <ac:spMk id="587" creationId="{00ACEC46-A52F-11B6-8826-B283E22E178A}"/>
          </ac:spMkLst>
        </pc:spChg>
        <pc:spChg chg="add del mod replST">
          <ac:chgData name="Merlin Gutter" userId="2abc6f04-74af-430b-bdc8-569c3bfa1dda" providerId="ADAL" clId="{CB1EFBC3-10F5-3048-8961-5969497C0019}" dt="2022-11-24T22:37:58.479" v="169032"/>
          <ac:spMkLst>
            <pc:docMk/>
            <pc:sldMk cId="2192655461" sldId="406"/>
            <ac:spMk id="588" creationId="{590E760E-C88E-425D-82A7-8217BAC1DB73}"/>
          </ac:spMkLst>
        </pc:spChg>
        <pc:spChg chg="add del mod replST">
          <ac:chgData name="Merlin Gutter" userId="2abc6f04-74af-430b-bdc8-569c3bfa1dda" providerId="ADAL" clId="{CB1EFBC3-10F5-3048-8961-5969497C0019}" dt="2022-11-24T22:37:58.479" v="169031"/>
          <ac:spMkLst>
            <pc:docMk/>
            <pc:sldMk cId="2192655461" sldId="406"/>
            <ac:spMk id="589" creationId="{8D62F5F9-7010-C5B4-3B44-B3315FEDC17D}"/>
          </ac:spMkLst>
        </pc:spChg>
        <pc:spChg chg="add del mod replST">
          <ac:chgData name="Merlin Gutter" userId="2abc6f04-74af-430b-bdc8-569c3bfa1dda" providerId="ADAL" clId="{CB1EFBC3-10F5-3048-8961-5969497C0019}" dt="2022-11-24T22:37:58.479" v="169030"/>
          <ac:spMkLst>
            <pc:docMk/>
            <pc:sldMk cId="2192655461" sldId="406"/>
            <ac:spMk id="590" creationId="{A314F972-CD59-342B-AEAF-5AEE2E89F64B}"/>
          </ac:spMkLst>
        </pc:spChg>
        <pc:spChg chg="add del mod replST">
          <ac:chgData name="Merlin Gutter" userId="2abc6f04-74af-430b-bdc8-569c3bfa1dda" providerId="ADAL" clId="{CB1EFBC3-10F5-3048-8961-5969497C0019}" dt="2022-11-24T22:37:58.478" v="169029"/>
          <ac:spMkLst>
            <pc:docMk/>
            <pc:sldMk cId="2192655461" sldId="406"/>
            <ac:spMk id="591" creationId="{7324A0F6-259A-CFD7-3B61-079781CBC2A6}"/>
          </ac:spMkLst>
        </pc:spChg>
        <pc:spChg chg="add del mod replST">
          <ac:chgData name="Merlin Gutter" userId="2abc6f04-74af-430b-bdc8-569c3bfa1dda" providerId="ADAL" clId="{CB1EFBC3-10F5-3048-8961-5969497C0019}" dt="2022-11-24T22:37:58.478" v="169028"/>
          <ac:spMkLst>
            <pc:docMk/>
            <pc:sldMk cId="2192655461" sldId="406"/>
            <ac:spMk id="592" creationId="{EE7998B9-C59D-7D70-3308-347A80219DB5}"/>
          </ac:spMkLst>
        </pc:spChg>
        <pc:spChg chg="add del mod replST">
          <ac:chgData name="Merlin Gutter" userId="2abc6f04-74af-430b-bdc8-569c3bfa1dda" providerId="ADAL" clId="{CB1EFBC3-10F5-3048-8961-5969497C0019}" dt="2022-11-24T22:37:58.478" v="169027"/>
          <ac:spMkLst>
            <pc:docMk/>
            <pc:sldMk cId="2192655461" sldId="406"/>
            <ac:spMk id="593" creationId="{382A89E6-8D8C-CEFE-350F-A1BB8A45434F}"/>
          </ac:spMkLst>
        </pc:spChg>
        <pc:spChg chg="add del mod replST">
          <ac:chgData name="Merlin Gutter" userId="2abc6f04-74af-430b-bdc8-569c3bfa1dda" providerId="ADAL" clId="{CB1EFBC3-10F5-3048-8961-5969497C0019}" dt="2022-11-24T22:37:58.478" v="169026"/>
          <ac:spMkLst>
            <pc:docMk/>
            <pc:sldMk cId="2192655461" sldId="406"/>
            <ac:spMk id="594" creationId="{B96AA03D-6A90-372E-45A2-936DE0204B36}"/>
          </ac:spMkLst>
        </pc:spChg>
        <pc:spChg chg="add del mod modVis">
          <ac:chgData name="Merlin Gutter" userId="2abc6f04-74af-430b-bdc8-569c3bfa1dda" providerId="ADAL" clId="{CB1EFBC3-10F5-3048-8961-5969497C0019}" dt="2022-11-24T22:37:14.152" v="168145"/>
          <ac:spMkLst>
            <pc:docMk/>
            <pc:sldMk cId="2192655461" sldId="406"/>
            <ac:spMk id="599" creationId="{C886F9AA-EB04-AE56-9E7A-6579CFAD0040}"/>
          </ac:spMkLst>
        </pc:spChg>
        <pc:spChg chg="add del mod modVis">
          <ac:chgData name="Merlin Gutter" userId="2abc6f04-74af-430b-bdc8-569c3bfa1dda" providerId="ADAL" clId="{CB1EFBC3-10F5-3048-8961-5969497C0019}" dt="2022-11-24T22:37:35.311" v="168336"/>
          <ac:spMkLst>
            <pc:docMk/>
            <pc:sldMk cId="2192655461" sldId="406"/>
            <ac:spMk id="601" creationId="{967B4C7E-FE2E-3A1D-B48E-666FFD426A24}"/>
          </ac:spMkLst>
        </pc:spChg>
        <pc:spChg chg="add del mod modVis">
          <ac:chgData name="Merlin Gutter" userId="2abc6f04-74af-430b-bdc8-569c3bfa1dda" providerId="ADAL" clId="{CB1EFBC3-10F5-3048-8961-5969497C0019}" dt="2022-11-24T22:37:35.431" v="168527"/>
          <ac:spMkLst>
            <pc:docMk/>
            <pc:sldMk cId="2192655461" sldId="406"/>
            <ac:spMk id="603" creationId="{8CE72C9C-A90B-F95F-6B8F-D877130F012E}"/>
          </ac:spMkLst>
        </pc:spChg>
        <pc:spChg chg="add del mod modVis">
          <ac:chgData name="Merlin Gutter" userId="2abc6f04-74af-430b-bdc8-569c3bfa1dda" providerId="ADAL" clId="{CB1EFBC3-10F5-3048-8961-5969497C0019}" dt="2022-11-24T22:37:46.942" v="168718"/>
          <ac:spMkLst>
            <pc:docMk/>
            <pc:sldMk cId="2192655461" sldId="406"/>
            <ac:spMk id="605" creationId="{543D45A9-E4E0-1B04-452C-66768796A2FD}"/>
          </ac:spMkLst>
        </pc:spChg>
        <pc:spChg chg="add del mod modVis">
          <ac:chgData name="Merlin Gutter" userId="2abc6f04-74af-430b-bdc8-569c3bfa1dda" providerId="ADAL" clId="{CB1EFBC3-10F5-3048-8961-5969497C0019}" dt="2022-11-24T22:37:47.062" v="168909"/>
          <ac:spMkLst>
            <pc:docMk/>
            <pc:sldMk cId="2192655461" sldId="406"/>
            <ac:spMk id="607" creationId="{149BC228-4418-A5F3-5D61-DA8412C365CA}"/>
          </ac:spMkLst>
        </pc:spChg>
        <pc:spChg chg="add del mod replST">
          <ac:chgData name="Merlin Gutter" userId="2abc6f04-74af-430b-bdc8-569c3bfa1dda" providerId="ADAL" clId="{CB1EFBC3-10F5-3048-8961-5969497C0019}" dt="2022-11-24T22:40:06.272" v="176584"/>
          <ac:spMkLst>
            <pc:docMk/>
            <pc:sldMk cId="2192655461" sldId="406"/>
            <ac:spMk id="609" creationId="{2009849B-486E-70FA-C916-79AEC1FF0152}"/>
          </ac:spMkLst>
        </pc:spChg>
        <pc:spChg chg="add del mod replST">
          <ac:chgData name="Merlin Gutter" userId="2abc6f04-74af-430b-bdc8-569c3bfa1dda" providerId="ADAL" clId="{CB1EFBC3-10F5-3048-8961-5969497C0019}" dt="2022-11-24T22:40:06.281" v="176587"/>
          <ac:spMkLst>
            <pc:docMk/>
            <pc:sldMk cId="2192655461" sldId="406"/>
            <ac:spMk id="610" creationId="{91229420-A73C-3422-5645-6665425956C4}"/>
          </ac:spMkLst>
        </pc:spChg>
        <pc:spChg chg="add del mod modVis">
          <ac:chgData name="Merlin Gutter" userId="2abc6f04-74af-430b-bdc8-569c3bfa1dda" providerId="ADAL" clId="{CB1EFBC3-10F5-3048-8961-5969497C0019}" dt="2022-11-24T22:37:58.878" v="169745"/>
          <ac:spMkLst>
            <pc:docMk/>
            <pc:sldMk cId="2192655461" sldId="406"/>
            <ac:spMk id="611" creationId="{090D2DC9-70E9-B402-E533-144848E3AFF1}"/>
          </ac:spMkLst>
        </pc:spChg>
        <pc:spChg chg="add del mod replST">
          <ac:chgData name="Merlin Gutter" userId="2abc6f04-74af-430b-bdc8-569c3bfa1dda" providerId="ADAL" clId="{CB1EFBC3-10F5-3048-8961-5969497C0019}" dt="2022-11-24T22:40:01.728" v="175286"/>
          <ac:spMkLst>
            <pc:docMk/>
            <pc:sldMk cId="2192655461" sldId="406"/>
            <ac:spMk id="612" creationId="{F05FCE18-772F-81F8-EF18-455789A8E839}"/>
          </ac:spMkLst>
        </pc:spChg>
        <pc:spChg chg="add del mod replST">
          <ac:chgData name="Merlin Gutter" userId="2abc6f04-74af-430b-bdc8-569c3bfa1dda" providerId="ADAL" clId="{CB1EFBC3-10F5-3048-8961-5969497C0019}" dt="2022-11-24T22:40:01.728" v="175285"/>
          <ac:spMkLst>
            <pc:docMk/>
            <pc:sldMk cId="2192655461" sldId="406"/>
            <ac:spMk id="613" creationId="{8B85444C-08D5-C05F-E46A-B9A3D6492FF2}"/>
          </ac:spMkLst>
        </pc:spChg>
        <pc:spChg chg="add del mod replST">
          <ac:chgData name="Merlin Gutter" userId="2abc6f04-74af-430b-bdc8-569c3bfa1dda" providerId="ADAL" clId="{CB1EFBC3-10F5-3048-8961-5969497C0019}" dt="2022-11-24T22:40:01.728" v="175284"/>
          <ac:spMkLst>
            <pc:docMk/>
            <pc:sldMk cId="2192655461" sldId="406"/>
            <ac:spMk id="614" creationId="{95E6722A-434A-717C-A884-DBE8066C0C98}"/>
          </ac:spMkLst>
        </pc:spChg>
        <pc:spChg chg="add del mod replST">
          <ac:chgData name="Merlin Gutter" userId="2abc6f04-74af-430b-bdc8-569c3bfa1dda" providerId="ADAL" clId="{CB1EFBC3-10F5-3048-8961-5969497C0019}" dt="2022-11-24T22:40:01.728" v="175283"/>
          <ac:spMkLst>
            <pc:docMk/>
            <pc:sldMk cId="2192655461" sldId="406"/>
            <ac:spMk id="615" creationId="{4E60C41A-5BDB-FA65-5816-8C63D6E86C8C}"/>
          </ac:spMkLst>
        </pc:spChg>
        <pc:spChg chg="add del mod replST">
          <ac:chgData name="Merlin Gutter" userId="2abc6f04-74af-430b-bdc8-569c3bfa1dda" providerId="ADAL" clId="{CB1EFBC3-10F5-3048-8961-5969497C0019}" dt="2022-11-24T22:40:01.727" v="175282"/>
          <ac:spMkLst>
            <pc:docMk/>
            <pc:sldMk cId="2192655461" sldId="406"/>
            <ac:spMk id="616" creationId="{EBB1C338-B466-4180-FA7B-C5AFA13FBDAC}"/>
          </ac:spMkLst>
        </pc:spChg>
        <pc:spChg chg="add del mod replST">
          <ac:chgData name="Merlin Gutter" userId="2abc6f04-74af-430b-bdc8-569c3bfa1dda" providerId="ADAL" clId="{CB1EFBC3-10F5-3048-8961-5969497C0019}" dt="2022-11-24T22:40:01.727" v="175281"/>
          <ac:spMkLst>
            <pc:docMk/>
            <pc:sldMk cId="2192655461" sldId="406"/>
            <ac:spMk id="617" creationId="{9EF15CAC-45CE-3F43-020E-21B97A304F40}"/>
          </ac:spMkLst>
        </pc:spChg>
        <pc:spChg chg="add del mod replST">
          <ac:chgData name="Merlin Gutter" userId="2abc6f04-74af-430b-bdc8-569c3bfa1dda" providerId="ADAL" clId="{CB1EFBC3-10F5-3048-8961-5969497C0019}" dt="2022-11-24T22:40:01.727" v="175280"/>
          <ac:spMkLst>
            <pc:docMk/>
            <pc:sldMk cId="2192655461" sldId="406"/>
            <ac:spMk id="618" creationId="{8B9030B4-5D53-64AE-962B-5755710FD7AD}"/>
          </ac:spMkLst>
        </pc:spChg>
        <pc:spChg chg="add del mod modVis">
          <ac:chgData name="Merlin Gutter" userId="2abc6f04-74af-430b-bdc8-569c3bfa1dda" providerId="ADAL" clId="{CB1EFBC3-10F5-3048-8961-5969497C0019}" dt="2022-11-24T22:37:59.047" v="170009"/>
          <ac:spMkLst>
            <pc:docMk/>
            <pc:sldMk cId="2192655461" sldId="406"/>
            <ac:spMk id="623" creationId="{C43CAA70-05B0-C010-A269-CE02DA42AF1E}"/>
          </ac:spMkLst>
        </pc:spChg>
        <pc:spChg chg="add del mod modVis">
          <ac:chgData name="Merlin Gutter" userId="2abc6f04-74af-430b-bdc8-569c3bfa1dda" providerId="ADAL" clId="{CB1EFBC3-10F5-3048-8961-5969497C0019}" dt="2022-11-24T22:38:12.445" v="170197"/>
          <ac:spMkLst>
            <pc:docMk/>
            <pc:sldMk cId="2192655461" sldId="406"/>
            <ac:spMk id="627" creationId="{78D72A97-1654-C611-DB93-4494D2510C36}"/>
          </ac:spMkLst>
        </pc:spChg>
        <pc:spChg chg="add del mod modVis">
          <ac:chgData name="Merlin Gutter" userId="2abc6f04-74af-430b-bdc8-569c3bfa1dda" providerId="ADAL" clId="{CB1EFBC3-10F5-3048-8961-5969497C0019}" dt="2022-11-24T22:38:12.627" v="170385"/>
          <ac:spMkLst>
            <pc:docMk/>
            <pc:sldMk cId="2192655461" sldId="406"/>
            <ac:spMk id="629" creationId="{BD7A3F10-079B-E859-A4E2-64FEFD3D545B}"/>
          </ac:spMkLst>
        </pc:spChg>
        <pc:spChg chg="add del mod modVis">
          <ac:chgData name="Merlin Gutter" userId="2abc6f04-74af-430b-bdc8-569c3bfa1dda" providerId="ADAL" clId="{CB1EFBC3-10F5-3048-8961-5969497C0019}" dt="2022-11-24T22:38:16.376" v="170587"/>
          <ac:spMkLst>
            <pc:docMk/>
            <pc:sldMk cId="2192655461" sldId="406"/>
            <ac:spMk id="631" creationId="{0A45603D-1218-2686-14D8-A5AD28F389C8}"/>
          </ac:spMkLst>
        </pc:spChg>
        <pc:spChg chg="add del mod modVis">
          <ac:chgData name="Merlin Gutter" userId="2abc6f04-74af-430b-bdc8-569c3bfa1dda" providerId="ADAL" clId="{CB1EFBC3-10F5-3048-8961-5969497C0019}" dt="2022-11-24T22:38:16.603" v="170776"/>
          <ac:spMkLst>
            <pc:docMk/>
            <pc:sldMk cId="2192655461" sldId="406"/>
            <ac:spMk id="634" creationId="{10D792A0-4520-3356-CFD4-48549A2C13C7}"/>
          </ac:spMkLst>
        </pc:spChg>
        <pc:spChg chg="add del mod modVis">
          <ac:chgData name="Merlin Gutter" userId="2abc6f04-74af-430b-bdc8-569c3bfa1dda" providerId="ADAL" clId="{CB1EFBC3-10F5-3048-8961-5969497C0019}" dt="2022-11-24T22:38:19.570" v="170966"/>
          <ac:spMkLst>
            <pc:docMk/>
            <pc:sldMk cId="2192655461" sldId="406"/>
            <ac:spMk id="636" creationId="{BD710461-8783-7021-2B8E-C4B79547D61C}"/>
          </ac:spMkLst>
        </pc:spChg>
        <pc:spChg chg="add del mod modVis">
          <ac:chgData name="Merlin Gutter" userId="2abc6f04-74af-430b-bdc8-569c3bfa1dda" providerId="ADAL" clId="{CB1EFBC3-10F5-3048-8961-5969497C0019}" dt="2022-11-24T22:38:19.807" v="171154"/>
          <ac:spMkLst>
            <pc:docMk/>
            <pc:sldMk cId="2192655461" sldId="406"/>
            <ac:spMk id="638" creationId="{AB80F161-FEA9-1934-FACE-01E8BEE72AA8}"/>
          </ac:spMkLst>
        </pc:spChg>
        <pc:spChg chg="add del mod modVis">
          <ac:chgData name="Merlin Gutter" userId="2abc6f04-74af-430b-bdc8-569c3bfa1dda" providerId="ADAL" clId="{CB1EFBC3-10F5-3048-8961-5969497C0019}" dt="2022-11-24T22:38:22.775" v="171342"/>
          <ac:spMkLst>
            <pc:docMk/>
            <pc:sldMk cId="2192655461" sldId="406"/>
            <ac:spMk id="640" creationId="{4CF0BEA4-3D4B-EA0D-EFD1-CE49E8E067EC}"/>
          </ac:spMkLst>
        </pc:spChg>
        <pc:spChg chg="add del mod modVis">
          <ac:chgData name="Merlin Gutter" userId="2abc6f04-74af-430b-bdc8-569c3bfa1dda" providerId="ADAL" clId="{CB1EFBC3-10F5-3048-8961-5969497C0019}" dt="2022-11-24T22:38:23.024" v="171530"/>
          <ac:spMkLst>
            <pc:docMk/>
            <pc:sldMk cId="2192655461" sldId="406"/>
            <ac:spMk id="642" creationId="{98E9887A-32FE-1BE7-C038-AF650B847EA9}"/>
          </ac:spMkLst>
        </pc:spChg>
        <pc:spChg chg="add del mod modVis">
          <ac:chgData name="Merlin Gutter" userId="2abc6f04-74af-430b-bdc8-569c3bfa1dda" providerId="ADAL" clId="{CB1EFBC3-10F5-3048-8961-5969497C0019}" dt="2022-11-24T22:38:26.302" v="171718"/>
          <ac:spMkLst>
            <pc:docMk/>
            <pc:sldMk cId="2192655461" sldId="406"/>
            <ac:spMk id="644" creationId="{38E4C5EA-84E7-96A3-7561-493E0801292C}"/>
          </ac:spMkLst>
        </pc:spChg>
        <pc:spChg chg="add del mod modVis">
          <ac:chgData name="Merlin Gutter" userId="2abc6f04-74af-430b-bdc8-569c3bfa1dda" providerId="ADAL" clId="{CB1EFBC3-10F5-3048-8961-5969497C0019}" dt="2022-11-24T22:38:26.537" v="171907"/>
          <ac:spMkLst>
            <pc:docMk/>
            <pc:sldMk cId="2192655461" sldId="406"/>
            <ac:spMk id="646" creationId="{F758439F-70E3-56AA-3366-C57D0D25F874}"/>
          </ac:spMkLst>
        </pc:spChg>
        <pc:spChg chg="add del mod modVis">
          <ac:chgData name="Merlin Gutter" userId="2abc6f04-74af-430b-bdc8-569c3bfa1dda" providerId="ADAL" clId="{CB1EFBC3-10F5-3048-8961-5969497C0019}" dt="2022-11-24T22:38:42.322" v="173031"/>
          <ac:spMkLst>
            <pc:docMk/>
            <pc:sldMk cId="2192655461" sldId="406"/>
            <ac:spMk id="648" creationId="{0E9E77A7-7AE2-4F6C-BCBC-7CD051BA1A27}"/>
          </ac:spMkLst>
        </pc:spChg>
        <pc:spChg chg="add del mod replST">
          <ac:chgData name="Merlin Gutter" userId="2abc6f04-74af-430b-bdc8-569c3bfa1dda" providerId="ADAL" clId="{CB1EFBC3-10F5-3048-8961-5969497C0019}" dt="2022-11-24T22:39:26.225" v="174138"/>
          <ac:spMkLst>
            <pc:docMk/>
            <pc:sldMk cId="2192655461" sldId="406"/>
            <ac:spMk id="649" creationId="{5D193CAF-F61B-A8FC-2BD6-969C8533A7A3}"/>
          </ac:spMkLst>
        </pc:spChg>
        <pc:spChg chg="add del mod replST">
          <ac:chgData name="Merlin Gutter" userId="2abc6f04-74af-430b-bdc8-569c3bfa1dda" providerId="ADAL" clId="{CB1EFBC3-10F5-3048-8961-5969497C0019}" dt="2022-11-24T22:39:26.225" v="174137"/>
          <ac:spMkLst>
            <pc:docMk/>
            <pc:sldMk cId="2192655461" sldId="406"/>
            <ac:spMk id="650" creationId="{B7B71BD0-4086-A26A-22F7-5CD33B4E9BA8}"/>
          </ac:spMkLst>
        </pc:spChg>
        <pc:spChg chg="add del mod replST">
          <ac:chgData name="Merlin Gutter" userId="2abc6f04-74af-430b-bdc8-569c3bfa1dda" providerId="ADAL" clId="{CB1EFBC3-10F5-3048-8961-5969497C0019}" dt="2022-11-24T22:39:26.224" v="174136"/>
          <ac:spMkLst>
            <pc:docMk/>
            <pc:sldMk cId="2192655461" sldId="406"/>
            <ac:spMk id="651" creationId="{DD122928-ABB9-1D43-9926-C02A331DDCCD}"/>
          </ac:spMkLst>
        </pc:spChg>
        <pc:spChg chg="add del mod replST">
          <ac:chgData name="Merlin Gutter" userId="2abc6f04-74af-430b-bdc8-569c3bfa1dda" providerId="ADAL" clId="{CB1EFBC3-10F5-3048-8961-5969497C0019}" dt="2022-11-24T22:39:26.224" v="174135"/>
          <ac:spMkLst>
            <pc:docMk/>
            <pc:sldMk cId="2192655461" sldId="406"/>
            <ac:spMk id="652" creationId="{7A6C9DEC-20B6-F490-A4FF-F7D6ACEA25E2}"/>
          </ac:spMkLst>
        </pc:spChg>
        <pc:spChg chg="add del mod replST">
          <ac:chgData name="Merlin Gutter" userId="2abc6f04-74af-430b-bdc8-569c3bfa1dda" providerId="ADAL" clId="{CB1EFBC3-10F5-3048-8961-5969497C0019}" dt="2022-11-24T22:40:34.771" v="179618"/>
          <ac:spMkLst>
            <pc:docMk/>
            <pc:sldMk cId="2192655461" sldId="406"/>
            <ac:spMk id="653" creationId="{C4633F45-4AD4-14E9-DDB9-A10B8D5DC028}"/>
          </ac:spMkLst>
        </pc:spChg>
        <pc:spChg chg="add del mod replST">
          <ac:chgData name="Merlin Gutter" userId="2abc6f04-74af-430b-bdc8-569c3bfa1dda" providerId="ADAL" clId="{CB1EFBC3-10F5-3048-8961-5969497C0019}" dt="2022-11-24T22:39:26.224" v="174134"/>
          <ac:spMkLst>
            <pc:docMk/>
            <pc:sldMk cId="2192655461" sldId="406"/>
            <ac:spMk id="654" creationId="{A5AC72FB-4247-65E3-357E-4F2DFE8FD149}"/>
          </ac:spMkLst>
        </pc:spChg>
        <pc:spChg chg="add del mod replST">
          <ac:chgData name="Merlin Gutter" userId="2abc6f04-74af-430b-bdc8-569c3bfa1dda" providerId="ADAL" clId="{CB1EFBC3-10F5-3048-8961-5969497C0019}" dt="2022-11-24T22:39:26.224" v="174133"/>
          <ac:spMkLst>
            <pc:docMk/>
            <pc:sldMk cId="2192655461" sldId="406"/>
            <ac:spMk id="655" creationId="{CC1E649E-9E76-8D12-9A9B-71BE65EDC7D4}"/>
          </ac:spMkLst>
        </pc:spChg>
        <pc:spChg chg="add del mod replST">
          <ac:chgData name="Merlin Gutter" userId="2abc6f04-74af-430b-bdc8-569c3bfa1dda" providerId="ADAL" clId="{CB1EFBC3-10F5-3048-8961-5969497C0019}" dt="2022-11-24T22:39:26.224" v="174132"/>
          <ac:spMkLst>
            <pc:docMk/>
            <pc:sldMk cId="2192655461" sldId="406"/>
            <ac:spMk id="656" creationId="{06F83037-D87C-EB89-3506-CF08F221E720}"/>
          </ac:spMkLst>
        </pc:spChg>
        <pc:spChg chg="add del mod replST">
          <ac:chgData name="Merlin Gutter" userId="2abc6f04-74af-430b-bdc8-569c3bfa1dda" providerId="ADAL" clId="{CB1EFBC3-10F5-3048-8961-5969497C0019}" dt="2022-11-24T22:39:26.223" v="174131"/>
          <ac:spMkLst>
            <pc:docMk/>
            <pc:sldMk cId="2192655461" sldId="406"/>
            <ac:spMk id="657" creationId="{BB18C4AB-BA1C-B2D1-D34B-02303DC73566}"/>
          </ac:spMkLst>
        </pc:spChg>
        <pc:spChg chg="add del mod replST">
          <ac:chgData name="Merlin Gutter" userId="2abc6f04-74af-430b-bdc8-569c3bfa1dda" providerId="ADAL" clId="{CB1EFBC3-10F5-3048-8961-5969497C0019}" dt="2022-11-24T22:40:34.770" v="179613"/>
          <ac:spMkLst>
            <pc:docMk/>
            <pc:sldMk cId="2192655461" sldId="406"/>
            <ac:spMk id="658" creationId="{BFEF9E95-314F-E9CA-7E2C-E70CBDC5D02A}"/>
          </ac:spMkLst>
        </pc:spChg>
        <pc:spChg chg="add del mod replST">
          <ac:chgData name="Merlin Gutter" userId="2abc6f04-74af-430b-bdc8-569c3bfa1dda" providerId="ADAL" clId="{CB1EFBC3-10F5-3048-8961-5969497C0019}" dt="2022-11-24T22:39:26.223" v="174130"/>
          <ac:spMkLst>
            <pc:docMk/>
            <pc:sldMk cId="2192655461" sldId="406"/>
            <ac:spMk id="659" creationId="{140E39BF-04F1-EB2D-327D-291628798D92}"/>
          </ac:spMkLst>
        </pc:spChg>
        <pc:spChg chg="add del mod replST">
          <ac:chgData name="Merlin Gutter" userId="2abc6f04-74af-430b-bdc8-569c3bfa1dda" providerId="ADAL" clId="{CB1EFBC3-10F5-3048-8961-5969497C0019}" dt="2022-11-24T22:39:26.223" v="174129"/>
          <ac:spMkLst>
            <pc:docMk/>
            <pc:sldMk cId="2192655461" sldId="406"/>
            <ac:spMk id="660" creationId="{E59B87AF-8AEA-513A-1C43-791F800905BE}"/>
          </ac:spMkLst>
        </pc:spChg>
        <pc:spChg chg="add del mod modVis">
          <ac:chgData name="Merlin Gutter" userId="2abc6f04-74af-430b-bdc8-569c3bfa1dda" providerId="ADAL" clId="{CB1EFBC3-10F5-3048-8961-5969497C0019}" dt="2022-11-24T22:38:42.479" v="173244"/>
          <ac:spMkLst>
            <pc:docMk/>
            <pc:sldMk cId="2192655461" sldId="406"/>
            <ac:spMk id="666" creationId="{55258608-15E3-CD50-83AE-8EDF78156B7A}"/>
          </ac:spMkLst>
        </pc:spChg>
        <pc:spChg chg="add del mod modVis">
          <ac:chgData name="Merlin Gutter" userId="2abc6f04-74af-430b-bdc8-569c3bfa1dda" providerId="ADAL" clId="{CB1EFBC3-10F5-3048-8961-5969497C0019}" dt="2022-11-24T22:39:00.635" v="173435"/>
          <ac:spMkLst>
            <pc:docMk/>
            <pc:sldMk cId="2192655461" sldId="406"/>
            <ac:spMk id="668" creationId="{A334D8A4-BF98-89B0-2E6D-B78CA691F236}"/>
          </ac:spMkLst>
        </pc:spChg>
        <pc:spChg chg="add del mod modVis">
          <ac:chgData name="Merlin Gutter" userId="2abc6f04-74af-430b-bdc8-569c3bfa1dda" providerId="ADAL" clId="{CB1EFBC3-10F5-3048-8961-5969497C0019}" dt="2022-11-24T22:39:00.752" v="173626"/>
          <ac:spMkLst>
            <pc:docMk/>
            <pc:sldMk cId="2192655461" sldId="406"/>
            <ac:spMk id="670" creationId="{DCE6AC97-484A-BA6F-E552-E8389EFB9C9D}"/>
          </ac:spMkLst>
        </pc:spChg>
        <pc:spChg chg="add del mod modVis">
          <ac:chgData name="Merlin Gutter" userId="2abc6f04-74af-430b-bdc8-569c3bfa1dda" providerId="ADAL" clId="{CB1EFBC3-10F5-3048-8961-5969497C0019}" dt="2022-11-24T22:39:14.588" v="173817"/>
          <ac:spMkLst>
            <pc:docMk/>
            <pc:sldMk cId="2192655461" sldId="406"/>
            <ac:spMk id="672" creationId="{DD0F6020-9AE7-7C15-1C51-47A9E3F420E2}"/>
          </ac:spMkLst>
        </pc:spChg>
        <pc:spChg chg="add del mod modVis">
          <ac:chgData name="Merlin Gutter" userId="2abc6f04-74af-430b-bdc8-569c3bfa1dda" providerId="ADAL" clId="{CB1EFBC3-10F5-3048-8961-5969497C0019}" dt="2022-11-24T22:39:14.711" v="174008"/>
          <ac:spMkLst>
            <pc:docMk/>
            <pc:sldMk cId="2192655461" sldId="406"/>
            <ac:spMk id="674" creationId="{0652D6BE-9E7D-639B-5B7D-7CB49F2675B4}"/>
          </ac:spMkLst>
        </pc:spChg>
        <pc:spChg chg="add del mod replST">
          <ac:chgData name="Merlin Gutter" userId="2abc6f04-74af-430b-bdc8-569c3bfa1dda" providerId="ADAL" clId="{CB1EFBC3-10F5-3048-8961-5969497C0019}" dt="2022-11-24T22:40:27.378" v="177943"/>
          <ac:spMkLst>
            <pc:docMk/>
            <pc:sldMk cId="2192655461" sldId="406"/>
            <ac:spMk id="676" creationId="{E816791B-DAC6-0057-A085-90DD2994EE1E}"/>
          </ac:spMkLst>
        </pc:spChg>
        <pc:spChg chg="add del mod replST">
          <ac:chgData name="Merlin Gutter" userId="2abc6f04-74af-430b-bdc8-569c3bfa1dda" providerId="ADAL" clId="{CB1EFBC3-10F5-3048-8961-5969497C0019}" dt="2022-11-24T22:40:27.379" v="177945"/>
          <ac:spMkLst>
            <pc:docMk/>
            <pc:sldMk cId="2192655461" sldId="406"/>
            <ac:spMk id="677" creationId="{2438CF4C-22AC-6339-4E27-33E2512C6DC4}"/>
          </ac:spMkLst>
        </pc:spChg>
        <pc:spChg chg="add del mod modVis">
          <ac:chgData name="Merlin Gutter" userId="2abc6f04-74af-430b-bdc8-569c3bfa1dda" providerId="ADAL" clId="{CB1EFBC3-10F5-3048-8961-5969497C0019}" dt="2022-11-24T22:39:26.704" v="174971"/>
          <ac:spMkLst>
            <pc:docMk/>
            <pc:sldMk cId="2192655461" sldId="406"/>
            <ac:spMk id="678" creationId="{E5B0F2B5-F7E5-FB2E-B4D0-5C3C297B9F5A}"/>
          </ac:spMkLst>
        </pc:spChg>
        <pc:spChg chg="add del mod replST">
          <ac:chgData name="Merlin Gutter" userId="2abc6f04-74af-430b-bdc8-569c3bfa1dda" providerId="ADAL" clId="{CB1EFBC3-10F5-3048-8961-5969497C0019}" dt="2022-11-24T22:40:27.425" v="178003"/>
          <ac:spMkLst>
            <pc:docMk/>
            <pc:sldMk cId="2192655461" sldId="406"/>
            <ac:spMk id="679" creationId="{80CCA1AA-F80E-7DF4-273C-43B6BBAEEDAE}"/>
          </ac:spMkLst>
        </pc:spChg>
        <pc:spChg chg="add del mod replST">
          <ac:chgData name="Merlin Gutter" userId="2abc6f04-74af-430b-bdc8-569c3bfa1dda" providerId="ADAL" clId="{CB1EFBC3-10F5-3048-8961-5969497C0019}" dt="2022-11-24T22:40:27.425" v="178002"/>
          <ac:spMkLst>
            <pc:docMk/>
            <pc:sldMk cId="2192655461" sldId="406"/>
            <ac:spMk id="680" creationId="{6FA65710-4019-D315-8D66-F70F8CF059A8}"/>
          </ac:spMkLst>
        </pc:spChg>
        <pc:spChg chg="add del mod replST">
          <ac:chgData name="Merlin Gutter" userId="2abc6f04-74af-430b-bdc8-569c3bfa1dda" providerId="ADAL" clId="{CB1EFBC3-10F5-3048-8961-5969497C0019}" dt="2022-11-24T22:40:27.425" v="178001"/>
          <ac:spMkLst>
            <pc:docMk/>
            <pc:sldMk cId="2192655461" sldId="406"/>
            <ac:spMk id="681" creationId="{D0861292-C0FE-48D0-CB1A-D71AB9C81777}"/>
          </ac:spMkLst>
        </pc:spChg>
        <pc:spChg chg="add del mod replST">
          <ac:chgData name="Merlin Gutter" userId="2abc6f04-74af-430b-bdc8-569c3bfa1dda" providerId="ADAL" clId="{CB1EFBC3-10F5-3048-8961-5969497C0019}" dt="2022-11-24T22:40:27.425" v="178000"/>
          <ac:spMkLst>
            <pc:docMk/>
            <pc:sldMk cId="2192655461" sldId="406"/>
            <ac:spMk id="682" creationId="{68F6806A-DB4F-2EF3-7B99-36117776520D}"/>
          </ac:spMkLst>
        </pc:spChg>
        <pc:spChg chg="add del mod replST">
          <ac:chgData name="Merlin Gutter" userId="2abc6f04-74af-430b-bdc8-569c3bfa1dda" providerId="ADAL" clId="{CB1EFBC3-10F5-3048-8961-5969497C0019}" dt="2022-11-24T22:40:27.428" v="178008"/>
          <ac:spMkLst>
            <pc:docMk/>
            <pc:sldMk cId="2192655461" sldId="406"/>
            <ac:spMk id="683" creationId="{0B1B295A-BF03-8CDF-F26B-F74B538C8630}"/>
          </ac:spMkLst>
        </pc:spChg>
        <pc:spChg chg="add del mod replST">
          <ac:chgData name="Merlin Gutter" userId="2abc6f04-74af-430b-bdc8-569c3bfa1dda" providerId="ADAL" clId="{CB1EFBC3-10F5-3048-8961-5969497C0019}" dt="2022-11-24T22:40:27.428" v="178007"/>
          <ac:spMkLst>
            <pc:docMk/>
            <pc:sldMk cId="2192655461" sldId="406"/>
            <ac:spMk id="684" creationId="{16D3C477-DAF2-3A44-082A-C1BD3B8E295A}"/>
          </ac:spMkLst>
        </pc:spChg>
        <pc:spChg chg="add del mod replST">
          <ac:chgData name="Merlin Gutter" userId="2abc6f04-74af-430b-bdc8-569c3bfa1dda" providerId="ADAL" clId="{CB1EFBC3-10F5-3048-8961-5969497C0019}" dt="2022-11-24T22:40:27.428" v="178006"/>
          <ac:spMkLst>
            <pc:docMk/>
            <pc:sldMk cId="2192655461" sldId="406"/>
            <ac:spMk id="685" creationId="{88716E17-902B-119C-C502-419908681345}"/>
          </ac:spMkLst>
        </pc:spChg>
        <pc:spChg chg="add del mod replST">
          <ac:chgData name="Merlin Gutter" userId="2abc6f04-74af-430b-bdc8-569c3bfa1dda" providerId="ADAL" clId="{CB1EFBC3-10F5-3048-8961-5969497C0019}" dt="2022-11-24T22:40:27.428" v="178005"/>
          <ac:spMkLst>
            <pc:docMk/>
            <pc:sldMk cId="2192655461" sldId="406"/>
            <ac:spMk id="686" creationId="{D38B8566-BA4D-DABA-EDF8-3ED5B0E7E683}"/>
          </ac:spMkLst>
        </pc:spChg>
        <pc:spChg chg="add del mod replST">
          <ac:chgData name="Merlin Gutter" userId="2abc6f04-74af-430b-bdc8-569c3bfa1dda" providerId="ADAL" clId="{CB1EFBC3-10F5-3048-8961-5969497C0019}" dt="2022-11-24T22:40:27.427" v="178004"/>
          <ac:spMkLst>
            <pc:docMk/>
            <pc:sldMk cId="2192655461" sldId="406"/>
            <ac:spMk id="687" creationId="{0AAE1941-0E8E-A25A-9669-99A3DEB107D9}"/>
          </ac:spMkLst>
        </pc:spChg>
        <pc:spChg chg="add del mod modVis">
          <ac:chgData name="Merlin Gutter" userId="2abc6f04-74af-430b-bdc8-569c3bfa1dda" providerId="ADAL" clId="{CB1EFBC3-10F5-3048-8961-5969497C0019}" dt="2022-11-24T22:39:26.863" v="175219"/>
          <ac:spMkLst>
            <pc:docMk/>
            <pc:sldMk cId="2192655461" sldId="406"/>
            <ac:spMk id="693" creationId="{0FD440BA-9C9F-2988-E28F-BEECBD502EE7}"/>
          </ac:spMkLst>
        </pc:spChg>
        <pc:spChg chg="add del mod modVis">
          <ac:chgData name="Merlin Gutter" userId="2abc6f04-74af-430b-bdc8-569c3bfa1dda" providerId="ADAL" clId="{CB1EFBC3-10F5-3048-8961-5969497C0019}" dt="2022-11-24T22:40:02.332" v="176335"/>
          <ac:spMkLst>
            <pc:docMk/>
            <pc:sldMk cId="2192655461" sldId="406"/>
            <ac:spMk id="696" creationId="{202F8B92-CF27-036A-DE6B-B93861E33567}"/>
          </ac:spMkLst>
        </pc:spChg>
        <pc:spChg chg="add del mod replST">
          <ac:chgData name="Merlin Gutter" userId="2abc6f04-74af-430b-bdc8-569c3bfa1dda" providerId="ADAL" clId="{CB1EFBC3-10F5-3048-8961-5969497C0019}" dt="2022-11-24T22:40:16.865" v="177095"/>
          <ac:spMkLst>
            <pc:docMk/>
            <pc:sldMk cId="2192655461" sldId="406"/>
            <ac:spMk id="697" creationId="{C73AA745-586E-AA04-480E-6C10B53FF856}"/>
          </ac:spMkLst>
        </pc:spChg>
        <pc:spChg chg="add del mod replST">
          <ac:chgData name="Merlin Gutter" userId="2abc6f04-74af-430b-bdc8-569c3bfa1dda" providerId="ADAL" clId="{CB1EFBC3-10F5-3048-8961-5969497C0019}" dt="2022-11-24T22:40:16.865" v="177094"/>
          <ac:spMkLst>
            <pc:docMk/>
            <pc:sldMk cId="2192655461" sldId="406"/>
            <ac:spMk id="698" creationId="{BD9BC940-9027-A92E-B57E-075AC4D940A3}"/>
          </ac:spMkLst>
        </pc:spChg>
        <pc:spChg chg="add del mod replST">
          <ac:chgData name="Merlin Gutter" userId="2abc6f04-74af-430b-bdc8-569c3bfa1dda" providerId="ADAL" clId="{CB1EFBC3-10F5-3048-8961-5969497C0019}" dt="2022-11-24T22:40:16.865" v="177093"/>
          <ac:spMkLst>
            <pc:docMk/>
            <pc:sldMk cId="2192655461" sldId="406"/>
            <ac:spMk id="699" creationId="{206C822C-3BCD-E3E4-6FFE-C706005251C0}"/>
          </ac:spMkLst>
        </pc:spChg>
        <pc:spChg chg="add del mod replST">
          <ac:chgData name="Merlin Gutter" userId="2abc6f04-74af-430b-bdc8-569c3bfa1dda" providerId="ADAL" clId="{CB1EFBC3-10F5-3048-8961-5969497C0019}" dt="2022-11-24T22:40:16.864" v="177092"/>
          <ac:spMkLst>
            <pc:docMk/>
            <pc:sldMk cId="2192655461" sldId="406"/>
            <ac:spMk id="700" creationId="{07D74463-9813-B868-ACAA-EAEE2DBA49FA}"/>
          </ac:spMkLst>
        </pc:spChg>
        <pc:spChg chg="add del mod replST">
          <ac:chgData name="Merlin Gutter" userId="2abc6f04-74af-430b-bdc8-569c3bfa1dda" providerId="ADAL" clId="{CB1EFBC3-10F5-3048-8961-5969497C0019}" dt="2022-11-24T22:40:16.864" v="177091"/>
          <ac:spMkLst>
            <pc:docMk/>
            <pc:sldMk cId="2192655461" sldId="406"/>
            <ac:spMk id="701" creationId="{BFC4A0DF-79B5-A130-52D1-256230AF5ED4}"/>
          </ac:spMkLst>
        </pc:spChg>
        <pc:spChg chg="add del mod replST">
          <ac:chgData name="Merlin Gutter" userId="2abc6f04-74af-430b-bdc8-569c3bfa1dda" providerId="ADAL" clId="{CB1EFBC3-10F5-3048-8961-5969497C0019}" dt="2022-11-24T22:40:16.864" v="177090"/>
          <ac:spMkLst>
            <pc:docMk/>
            <pc:sldMk cId="2192655461" sldId="406"/>
            <ac:spMk id="702" creationId="{DB79D89A-951D-D24E-C838-01F4351FABA8}"/>
          </ac:spMkLst>
        </pc:spChg>
        <pc:spChg chg="add del mod replST">
          <ac:chgData name="Merlin Gutter" userId="2abc6f04-74af-430b-bdc8-569c3bfa1dda" providerId="ADAL" clId="{CB1EFBC3-10F5-3048-8961-5969497C0019}" dt="2022-11-24T22:40:16.864" v="177089"/>
          <ac:spMkLst>
            <pc:docMk/>
            <pc:sldMk cId="2192655461" sldId="406"/>
            <ac:spMk id="703" creationId="{EF06BB90-DCAA-302D-2DAA-CFCAB7E71C0E}"/>
          </ac:spMkLst>
        </pc:spChg>
        <pc:spChg chg="add del mod replST">
          <ac:chgData name="Merlin Gutter" userId="2abc6f04-74af-430b-bdc8-569c3bfa1dda" providerId="ADAL" clId="{CB1EFBC3-10F5-3048-8961-5969497C0019}" dt="2022-11-24T22:40:16.864" v="177088"/>
          <ac:spMkLst>
            <pc:docMk/>
            <pc:sldMk cId="2192655461" sldId="406"/>
            <ac:spMk id="704" creationId="{34BA8EFD-2AB4-4F04-69A7-BA02526832E5}"/>
          </ac:spMkLst>
        </pc:spChg>
        <pc:spChg chg="add del mod replST">
          <ac:chgData name="Merlin Gutter" userId="2abc6f04-74af-430b-bdc8-569c3bfa1dda" providerId="ADAL" clId="{CB1EFBC3-10F5-3048-8961-5969497C0019}" dt="2022-11-24T22:40:16.863" v="177087"/>
          <ac:spMkLst>
            <pc:docMk/>
            <pc:sldMk cId="2192655461" sldId="406"/>
            <ac:spMk id="705" creationId="{447E2876-7624-BB2A-0003-8BE5FDF4D1A8}"/>
          </ac:spMkLst>
        </pc:spChg>
        <pc:spChg chg="add del mod replST">
          <ac:chgData name="Merlin Gutter" userId="2abc6f04-74af-430b-bdc8-569c3bfa1dda" providerId="ADAL" clId="{CB1EFBC3-10F5-3048-8961-5969497C0019}" dt="2022-11-24T22:40:16.863" v="177086"/>
          <ac:spMkLst>
            <pc:docMk/>
            <pc:sldMk cId="2192655461" sldId="406"/>
            <ac:spMk id="706" creationId="{FC94A50B-F265-7316-085A-12D7663ADD5E}"/>
          </ac:spMkLst>
        </pc:spChg>
        <pc:spChg chg="add del mod replST">
          <ac:chgData name="Merlin Gutter" userId="2abc6f04-74af-430b-bdc8-569c3bfa1dda" providerId="ADAL" clId="{CB1EFBC3-10F5-3048-8961-5969497C0019}" dt="2022-11-24T22:40:16.863" v="177085"/>
          <ac:spMkLst>
            <pc:docMk/>
            <pc:sldMk cId="2192655461" sldId="406"/>
            <ac:spMk id="707" creationId="{A9A1A1AC-20A7-04F8-202F-E6AB1A904B07}"/>
          </ac:spMkLst>
        </pc:spChg>
        <pc:spChg chg="add del mod replST">
          <ac:chgData name="Merlin Gutter" userId="2abc6f04-74af-430b-bdc8-569c3bfa1dda" providerId="ADAL" clId="{CB1EFBC3-10F5-3048-8961-5969497C0019}" dt="2022-11-24T22:40:16.863" v="177084"/>
          <ac:spMkLst>
            <pc:docMk/>
            <pc:sldMk cId="2192655461" sldId="406"/>
            <ac:spMk id="708" creationId="{61CDD554-C62B-EC7D-CAAF-01E1DDB703C2}"/>
          </ac:spMkLst>
        </pc:spChg>
        <pc:spChg chg="add del mod modVis">
          <ac:chgData name="Merlin Gutter" userId="2abc6f04-74af-430b-bdc8-569c3bfa1dda" providerId="ADAL" clId="{CB1EFBC3-10F5-3048-8961-5969497C0019}" dt="2022-11-24T22:40:02.503" v="176581"/>
          <ac:spMkLst>
            <pc:docMk/>
            <pc:sldMk cId="2192655461" sldId="406"/>
            <ac:spMk id="714" creationId="{1E89E577-42EA-E4A4-D2BE-2B3E76C6CA4E}"/>
          </ac:spMkLst>
        </pc:spChg>
        <pc:spChg chg="add del mod modVis">
          <ac:chgData name="Merlin Gutter" userId="2abc6f04-74af-430b-bdc8-569c3bfa1dda" providerId="ADAL" clId="{CB1EFBC3-10F5-3048-8961-5969497C0019}" dt="2022-11-24T22:40:06.388" v="176778"/>
          <ac:spMkLst>
            <pc:docMk/>
            <pc:sldMk cId="2192655461" sldId="406"/>
            <ac:spMk id="716" creationId="{46C86CDD-00AF-D2E7-3794-B00A0D8FFDDA}"/>
          </ac:spMkLst>
        </pc:spChg>
        <pc:spChg chg="add del mod modVis">
          <ac:chgData name="Merlin Gutter" userId="2abc6f04-74af-430b-bdc8-569c3bfa1dda" providerId="ADAL" clId="{CB1EFBC3-10F5-3048-8961-5969497C0019}" dt="2022-11-24T22:40:06.508" v="176967"/>
          <ac:spMkLst>
            <pc:docMk/>
            <pc:sldMk cId="2192655461" sldId="406"/>
            <ac:spMk id="718" creationId="{744ECD35-5B4C-3E03-33B2-74BD6ACFE872}"/>
          </ac:spMkLst>
        </pc:spChg>
        <pc:spChg chg="add mod replST">
          <ac:chgData name="Merlin Gutter" userId="2abc6f04-74af-430b-bdc8-569c3bfa1dda" providerId="ADAL" clId="{CB1EFBC3-10F5-3048-8961-5969497C0019}" dt="2022-11-25T00:17:13.179" v="205329"/>
          <ac:spMkLst>
            <pc:docMk/>
            <pc:sldMk cId="2192655461" sldId="406"/>
            <ac:spMk id="720" creationId="{FB30818D-9DAF-73E4-7BBB-03732C1A36F9}"/>
          </ac:spMkLst>
        </pc:spChg>
        <pc:spChg chg="add mod replST">
          <ac:chgData name="Merlin Gutter" userId="2abc6f04-74af-430b-bdc8-569c3bfa1dda" providerId="ADAL" clId="{CB1EFBC3-10F5-3048-8961-5969497C0019}" dt="2022-11-25T00:17:13.174" v="205325"/>
          <ac:spMkLst>
            <pc:docMk/>
            <pc:sldMk cId="2192655461" sldId="406"/>
            <ac:spMk id="721" creationId="{268FC5F8-522A-14D4-ED2B-DE1ECB025F0E}"/>
          </ac:spMkLst>
        </pc:spChg>
        <pc:spChg chg="add del mod modVis">
          <ac:chgData name="Merlin Gutter" userId="2abc6f04-74af-430b-bdc8-569c3bfa1dda" providerId="ADAL" clId="{CB1EFBC3-10F5-3048-8961-5969497C0019}" dt="2022-11-24T22:40:17.206" v="177696"/>
          <ac:spMkLst>
            <pc:docMk/>
            <pc:sldMk cId="2192655461" sldId="406"/>
            <ac:spMk id="722" creationId="{0F5028F9-3F2D-3107-0988-583A1BB05C95}"/>
          </ac:spMkLst>
        </pc:spChg>
        <pc:spChg chg="add mod replST">
          <ac:chgData name="Merlin Gutter" userId="2abc6f04-74af-430b-bdc8-569c3bfa1dda" providerId="ADAL" clId="{CB1EFBC3-10F5-3048-8961-5969497C0019}" dt="2022-11-25T00:17:13.167" v="205319"/>
          <ac:spMkLst>
            <pc:docMk/>
            <pc:sldMk cId="2192655461" sldId="406"/>
            <ac:spMk id="723" creationId="{213530B8-7B69-F16C-2D06-BEE841BC80B0}"/>
          </ac:spMkLst>
        </pc:spChg>
        <pc:spChg chg="add mod replST">
          <ac:chgData name="Merlin Gutter" userId="2abc6f04-74af-430b-bdc8-569c3bfa1dda" providerId="ADAL" clId="{CB1EFBC3-10F5-3048-8961-5969497C0019}" dt="2022-11-25T00:17:13.159" v="205312"/>
          <ac:spMkLst>
            <pc:docMk/>
            <pc:sldMk cId="2192655461" sldId="406"/>
            <ac:spMk id="724" creationId="{FDA5D092-F918-7C84-99E3-2982BE9C4EB3}"/>
          </ac:spMkLst>
        </pc:spChg>
        <pc:spChg chg="add mod replST">
          <ac:chgData name="Merlin Gutter" userId="2abc6f04-74af-430b-bdc8-569c3bfa1dda" providerId="ADAL" clId="{CB1EFBC3-10F5-3048-8961-5969497C0019}" dt="2022-11-25T00:17:13.160" v="205313"/>
          <ac:spMkLst>
            <pc:docMk/>
            <pc:sldMk cId="2192655461" sldId="406"/>
            <ac:spMk id="725" creationId="{EDFFA10E-E79D-DEFF-DA92-8BAFB7F14475}"/>
          </ac:spMkLst>
        </pc:spChg>
        <pc:spChg chg="add mod replST">
          <ac:chgData name="Merlin Gutter" userId="2abc6f04-74af-430b-bdc8-569c3bfa1dda" providerId="ADAL" clId="{CB1EFBC3-10F5-3048-8961-5969497C0019}" dt="2022-11-25T00:17:13.166" v="205318"/>
          <ac:spMkLst>
            <pc:docMk/>
            <pc:sldMk cId="2192655461" sldId="406"/>
            <ac:spMk id="726" creationId="{B501AD2E-0BFD-613F-4DA9-FA28FEBFCC6B}"/>
          </ac:spMkLst>
        </pc:spChg>
        <pc:spChg chg="add mod replST">
          <ac:chgData name="Merlin Gutter" userId="2abc6f04-74af-430b-bdc8-569c3bfa1dda" providerId="ADAL" clId="{CB1EFBC3-10F5-3048-8961-5969497C0019}" dt="2022-11-25T00:17:13.163" v="205315"/>
          <ac:spMkLst>
            <pc:docMk/>
            <pc:sldMk cId="2192655461" sldId="406"/>
            <ac:spMk id="727" creationId="{717866F2-C1FB-C4CA-3E6E-5F15AF79759D}"/>
          </ac:spMkLst>
        </pc:spChg>
        <pc:spChg chg="add mod replST">
          <ac:chgData name="Merlin Gutter" userId="2abc6f04-74af-430b-bdc8-569c3bfa1dda" providerId="ADAL" clId="{CB1EFBC3-10F5-3048-8961-5969497C0019}" dt="2022-11-25T00:17:13.164" v="205316"/>
          <ac:spMkLst>
            <pc:docMk/>
            <pc:sldMk cId="2192655461" sldId="406"/>
            <ac:spMk id="728" creationId="{58539020-7A72-320F-C941-DA907FA1E810}"/>
          </ac:spMkLst>
        </pc:spChg>
        <pc:spChg chg="add del mod modVis">
          <ac:chgData name="Merlin Gutter" userId="2abc6f04-74af-430b-bdc8-569c3bfa1dda" providerId="ADAL" clId="{CB1EFBC3-10F5-3048-8961-5969497C0019}" dt="2022-11-24T22:40:17.368" v="177938"/>
          <ac:spMkLst>
            <pc:docMk/>
            <pc:sldMk cId="2192655461" sldId="406"/>
            <ac:spMk id="730" creationId="{CC817A99-8D2B-C2B2-0C6B-53B8669E8884}"/>
          </ac:spMkLst>
        </pc:spChg>
        <pc:spChg chg="add del mod modVis">
          <ac:chgData name="Merlin Gutter" userId="2abc6f04-74af-430b-bdc8-569c3bfa1dda" providerId="ADAL" clId="{CB1EFBC3-10F5-3048-8961-5969497C0019}" dt="2022-11-24T22:40:28.216" v="179280"/>
          <ac:spMkLst>
            <pc:docMk/>
            <pc:sldMk cId="2192655461" sldId="406"/>
            <ac:spMk id="734" creationId="{7BA6DBFA-162A-480F-B696-B59E7CE1C833}"/>
          </ac:spMkLst>
        </pc:spChg>
        <pc:spChg chg="add del mod replST">
          <ac:chgData name="Merlin Gutter" userId="2abc6f04-74af-430b-bdc8-569c3bfa1dda" providerId="ADAL" clId="{CB1EFBC3-10F5-3048-8961-5969497C0019}" dt="2022-11-24T22:40:34.767" v="179610"/>
          <ac:spMkLst>
            <pc:docMk/>
            <pc:sldMk cId="2192655461" sldId="406"/>
            <ac:spMk id="735" creationId="{F34BA5D4-56C0-DE68-D5CE-27B71281DBD9}"/>
          </ac:spMkLst>
        </pc:spChg>
        <pc:spChg chg="add del mod replST">
          <ac:chgData name="Merlin Gutter" userId="2abc6f04-74af-430b-bdc8-569c3bfa1dda" providerId="ADAL" clId="{CB1EFBC3-10F5-3048-8961-5969497C0019}" dt="2022-11-24T22:40:34.767" v="179609"/>
          <ac:spMkLst>
            <pc:docMk/>
            <pc:sldMk cId="2192655461" sldId="406"/>
            <ac:spMk id="736" creationId="{8403109F-784C-A5DA-1377-47163DE2F27F}"/>
          </ac:spMkLst>
        </pc:spChg>
        <pc:spChg chg="add del mod replST">
          <ac:chgData name="Merlin Gutter" userId="2abc6f04-74af-430b-bdc8-569c3bfa1dda" providerId="ADAL" clId="{CB1EFBC3-10F5-3048-8961-5969497C0019}" dt="2022-11-24T22:40:34.766" v="179608"/>
          <ac:spMkLst>
            <pc:docMk/>
            <pc:sldMk cId="2192655461" sldId="406"/>
            <ac:spMk id="737" creationId="{D9A5B80C-C914-8086-E116-BF30F685077F}"/>
          </ac:spMkLst>
        </pc:spChg>
        <pc:spChg chg="add del mod replST">
          <ac:chgData name="Merlin Gutter" userId="2abc6f04-74af-430b-bdc8-569c3bfa1dda" providerId="ADAL" clId="{CB1EFBC3-10F5-3048-8961-5969497C0019}" dt="2022-11-24T22:40:34.766" v="179607"/>
          <ac:spMkLst>
            <pc:docMk/>
            <pc:sldMk cId="2192655461" sldId="406"/>
            <ac:spMk id="738" creationId="{1EB0CE93-BF34-B625-6CDC-F70EAF701246}"/>
          </ac:spMkLst>
        </pc:spChg>
        <pc:spChg chg="add del mod replST">
          <ac:chgData name="Merlin Gutter" userId="2abc6f04-74af-430b-bdc8-569c3bfa1dda" providerId="ADAL" clId="{CB1EFBC3-10F5-3048-8961-5969497C0019}" dt="2022-11-24T22:40:34.766" v="179606"/>
          <ac:spMkLst>
            <pc:docMk/>
            <pc:sldMk cId="2192655461" sldId="406"/>
            <ac:spMk id="739" creationId="{F6F66B0E-3C05-1101-E53F-62A0A0ECFE5D}"/>
          </ac:spMkLst>
        </pc:spChg>
        <pc:spChg chg="add del mod replST">
          <ac:chgData name="Merlin Gutter" userId="2abc6f04-74af-430b-bdc8-569c3bfa1dda" providerId="ADAL" clId="{CB1EFBC3-10F5-3048-8961-5969497C0019}" dt="2022-11-24T22:40:34.766" v="179605"/>
          <ac:spMkLst>
            <pc:docMk/>
            <pc:sldMk cId="2192655461" sldId="406"/>
            <ac:spMk id="740" creationId="{CF5B9C64-2D35-278A-F105-0191BAC5C539}"/>
          </ac:spMkLst>
        </pc:spChg>
        <pc:spChg chg="add del mod replST">
          <ac:chgData name="Merlin Gutter" userId="2abc6f04-74af-430b-bdc8-569c3bfa1dda" providerId="ADAL" clId="{CB1EFBC3-10F5-3048-8961-5969497C0019}" dt="2022-11-24T22:40:34.772" v="179622"/>
          <ac:spMkLst>
            <pc:docMk/>
            <pc:sldMk cId="2192655461" sldId="406"/>
            <ac:spMk id="741" creationId="{31EB34CE-2F75-F66F-2418-C1C7E38A90EE}"/>
          </ac:spMkLst>
        </pc:spChg>
        <pc:spChg chg="add del mod replST">
          <ac:chgData name="Merlin Gutter" userId="2abc6f04-74af-430b-bdc8-569c3bfa1dda" providerId="ADAL" clId="{CB1EFBC3-10F5-3048-8961-5969497C0019}" dt="2022-11-24T22:40:34.771" v="179621"/>
          <ac:spMkLst>
            <pc:docMk/>
            <pc:sldMk cId="2192655461" sldId="406"/>
            <ac:spMk id="742" creationId="{A53E170E-7E78-8745-FDEE-6AD39D998293}"/>
          </ac:spMkLst>
        </pc:spChg>
        <pc:spChg chg="add del mod replST">
          <ac:chgData name="Merlin Gutter" userId="2abc6f04-74af-430b-bdc8-569c3bfa1dda" providerId="ADAL" clId="{CB1EFBC3-10F5-3048-8961-5969497C0019}" dt="2022-11-24T22:40:34.771" v="179620"/>
          <ac:spMkLst>
            <pc:docMk/>
            <pc:sldMk cId="2192655461" sldId="406"/>
            <ac:spMk id="743" creationId="{6E866775-D6CE-8DBC-DA81-DB0830FC91BF}"/>
          </ac:spMkLst>
        </pc:spChg>
        <pc:spChg chg="add del mod replST">
          <ac:chgData name="Merlin Gutter" userId="2abc6f04-74af-430b-bdc8-569c3bfa1dda" providerId="ADAL" clId="{CB1EFBC3-10F5-3048-8961-5969497C0019}" dt="2022-11-24T22:40:34.771" v="179619"/>
          <ac:spMkLst>
            <pc:docMk/>
            <pc:sldMk cId="2192655461" sldId="406"/>
            <ac:spMk id="744" creationId="{6AB93703-05EC-BCC6-43D6-0C9E97D2C75E}"/>
          </ac:spMkLst>
        </pc:spChg>
        <pc:spChg chg="add del mod replST">
          <ac:chgData name="Merlin Gutter" userId="2abc6f04-74af-430b-bdc8-569c3bfa1dda" providerId="ADAL" clId="{CB1EFBC3-10F5-3048-8961-5969497C0019}" dt="2022-11-24T22:40:34.771" v="179617"/>
          <ac:spMkLst>
            <pc:docMk/>
            <pc:sldMk cId="2192655461" sldId="406"/>
            <ac:spMk id="745" creationId="{3F1735C6-FE00-903E-7ACC-6C45EBA2FA93}"/>
          </ac:spMkLst>
        </pc:spChg>
        <pc:spChg chg="add del mod replST">
          <ac:chgData name="Merlin Gutter" userId="2abc6f04-74af-430b-bdc8-569c3bfa1dda" providerId="ADAL" clId="{CB1EFBC3-10F5-3048-8961-5969497C0019}" dt="2022-11-24T22:40:34.770" v="179616"/>
          <ac:spMkLst>
            <pc:docMk/>
            <pc:sldMk cId="2192655461" sldId="406"/>
            <ac:spMk id="746" creationId="{13E62030-B5BB-664D-62FC-5F2D320E908A}"/>
          </ac:spMkLst>
        </pc:spChg>
        <pc:spChg chg="add del mod replST">
          <ac:chgData name="Merlin Gutter" userId="2abc6f04-74af-430b-bdc8-569c3bfa1dda" providerId="ADAL" clId="{CB1EFBC3-10F5-3048-8961-5969497C0019}" dt="2022-11-24T22:40:34.770" v="179615"/>
          <ac:spMkLst>
            <pc:docMk/>
            <pc:sldMk cId="2192655461" sldId="406"/>
            <ac:spMk id="747" creationId="{71E63423-2CD0-07F9-AE2C-1F86954A8447}"/>
          </ac:spMkLst>
        </pc:spChg>
        <pc:spChg chg="add del mod replST">
          <ac:chgData name="Merlin Gutter" userId="2abc6f04-74af-430b-bdc8-569c3bfa1dda" providerId="ADAL" clId="{CB1EFBC3-10F5-3048-8961-5969497C0019}" dt="2022-11-24T22:40:34.770" v="179614"/>
          <ac:spMkLst>
            <pc:docMk/>
            <pc:sldMk cId="2192655461" sldId="406"/>
            <ac:spMk id="748" creationId="{BA48589B-1F34-7177-5DD4-CFA3078431B8}"/>
          </ac:spMkLst>
        </pc:spChg>
        <pc:spChg chg="add del mod replST">
          <ac:chgData name="Merlin Gutter" userId="2abc6f04-74af-430b-bdc8-569c3bfa1dda" providerId="ADAL" clId="{CB1EFBC3-10F5-3048-8961-5969497C0019}" dt="2022-11-24T22:40:34.770" v="179612"/>
          <ac:spMkLst>
            <pc:docMk/>
            <pc:sldMk cId="2192655461" sldId="406"/>
            <ac:spMk id="749" creationId="{0D92031E-916B-7BC2-EDAE-F3550DD8096A}"/>
          </ac:spMkLst>
        </pc:spChg>
        <pc:spChg chg="add del mod replST">
          <ac:chgData name="Merlin Gutter" userId="2abc6f04-74af-430b-bdc8-569c3bfa1dda" providerId="ADAL" clId="{CB1EFBC3-10F5-3048-8961-5969497C0019}" dt="2022-11-24T22:40:34.769" v="179611"/>
          <ac:spMkLst>
            <pc:docMk/>
            <pc:sldMk cId="2192655461" sldId="406"/>
            <ac:spMk id="750" creationId="{508533FC-7E8A-CDBC-D3E9-57A2CA41204D}"/>
          </ac:spMkLst>
        </pc:spChg>
        <pc:spChg chg="add del mod modVis">
          <ac:chgData name="Merlin Gutter" userId="2abc6f04-74af-430b-bdc8-569c3bfa1dda" providerId="ADAL" clId="{CB1EFBC3-10F5-3048-8961-5969497C0019}" dt="2022-11-24T22:40:28.372" v="179490"/>
          <ac:spMkLst>
            <pc:docMk/>
            <pc:sldMk cId="2192655461" sldId="406"/>
            <ac:spMk id="756" creationId="{D4C4C243-0E11-0283-CF55-9A45FA45FAD1}"/>
          </ac:spMkLst>
        </pc:spChg>
        <pc:spChg chg="add mod replST">
          <ac:chgData name="Merlin Gutter" userId="2abc6f04-74af-430b-bdc8-569c3bfa1dda" providerId="ADAL" clId="{CB1EFBC3-10F5-3048-8961-5969497C0019}" dt="2022-11-25T00:17:13.232" v="205376"/>
          <ac:spMkLst>
            <pc:docMk/>
            <pc:sldMk cId="2192655461" sldId="406"/>
            <ac:spMk id="758" creationId="{38869A09-D482-DC07-C6BB-F952131C5F98}"/>
          </ac:spMkLst>
        </pc:spChg>
        <pc:spChg chg="add mod replST">
          <ac:chgData name="Merlin Gutter" userId="2abc6f04-74af-430b-bdc8-569c3bfa1dda" providerId="ADAL" clId="{CB1EFBC3-10F5-3048-8961-5969497C0019}" dt="2022-11-25T00:17:13.229" v="205373"/>
          <ac:spMkLst>
            <pc:docMk/>
            <pc:sldMk cId="2192655461" sldId="406"/>
            <ac:spMk id="759" creationId="{3329E0D7-1D77-CD3C-EBBC-F869B1EC10F9}"/>
          </ac:spMkLst>
        </pc:spChg>
        <pc:spChg chg="add del mod modVis">
          <ac:chgData name="Merlin Gutter" userId="2abc6f04-74af-430b-bdc8-569c3bfa1dda" providerId="ADAL" clId="{CB1EFBC3-10F5-3048-8961-5969497C0019}" dt="2022-11-24T22:40:35.307" v="180530"/>
          <ac:spMkLst>
            <pc:docMk/>
            <pc:sldMk cId="2192655461" sldId="406"/>
            <ac:spMk id="760" creationId="{04320312-DD71-FD88-57CA-972978D6115B}"/>
          </ac:spMkLst>
        </pc:spChg>
        <pc:spChg chg="add del mod replST">
          <ac:chgData name="Merlin Gutter" userId="2abc6f04-74af-430b-bdc8-569c3bfa1dda" providerId="ADAL" clId="{CB1EFBC3-10F5-3048-8961-5969497C0019}" dt="2022-11-24T23:03:02.909" v="184516"/>
          <ac:spMkLst>
            <pc:docMk/>
            <pc:sldMk cId="2192655461" sldId="406"/>
            <ac:spMk id="761" creationId="{11FAE30F-AE45-E0E4-335E-110AC66ABE59}"/>
          </ac:spMkLst>
        </pc:spChg>
        <pc:spChg chg="add del mod replST">
          <ac:chgData name="Merlin Gutter" userId="2abc6f04-74af-430b-bdc8-569c3bfa1dda" providerId="ADAL" clId="{CB1EFBC3-10F5-3048-8961-5969497C0019}" dt="2022-11-24T23:03:02.908" v="184515"/>
          <ac:spMkLst>
            <pc:docMk/>
            <pc:sldMk cId="2192655461" sldId="406"/>
            <ac:spMk id="762" creationId="{5336D296-B0F4-A144-9E0E-79A567F2B45B}"/>
          </ac:spMkLst>
        </pc:spChg>
        <pc:spChg chg="add del mod replST">
          <ac:chgData name="Merlin Gutter" userId="2abc6f04-74af-430b-bdc8-569c3bfa1dda" providerId="ADAL" clId="{CB1EFBC3-10F5-3048-8961-5969497C0019}" dt="2022-11-24T23:03:02.908" v="184514"/>
          <ac:spMkLst>
            <pc:docMk/>
            <pc:sldMk cId="2192655461" sldId="406"/>
            <ac:spMk id="763" creationId="{D4FE22E2-4F05-749E-FF83-2B8B836B03C9}"/>
          </ac:spMkLst>
        </pc:spChg>
        <pc:spChg chg="add del mod replST">
          <ac:chgData name="Merlin Gutter" userId="2abc6f04-74af-430b-bdc8-569c3bfa1dda" providerId="ADAL" clId="{CB1EFBC3-10F5-3048-8961-5969497C0019}" dt="2022-11-24T23:03:02.907" v="184513"/>
          <ac:spMkLst>
            <pc:docMk/>
            <pc:sldMk cId="2192655461" sldId="406"/>
            <ac:spMk id="764" creationId="{A88B2FF0-D97B-60E3-E996-4F264827B13E}"/>
          </ac:spMkLst>
        </pc:spChg>
        <pc:spChg chg="add del mod replST">
          <ac:chgData name="Merlin Gutter" userId="2abc6f04-74af-430b-bdc8-569c3bfa1dda" providerId="ADAL" clId="{CB1EFBC3-10F5-3048-8961-5969497C0019}" dt="2022-11-24T23:03:09.256" v="185685"/>
          <ac:spMkLst>
            <pc:docMk/>
            <pc:sldMk cId="2192655461" sldId="406"/>
            <ac:spMk id="765" creationId="{529E7EE6-4400-B7E1-9027-7C60C468ED02}"/>
          </ac:spMkLst>
        </pc:spChg>
        <pc:spChg chg="add del mod replST">
          <ac:chgData name="Merlin Gutter" userId="2abc6f04-74af-430b-bdc8-569c3bfa1dda" providerId="ADAL" clId="{CB1EFBC3-10F5-3048-8961-5969497C0019}" dt="2022-11-24T23:03:09.255" v="185684"/>
          <ac:spMkLst>
            <pc:docMk/>
            <pc:sldMk cId="2192655461" sldId="406"/>
            <ac:spMk id="766" creationId="{4E24F3E0-5383-8535-B55A-79CC6629689E}"/>
          </ac:spMkLst>
        </pc:spChg>
        <pc:spChg chg="add del mod replST">
          <ac:chgData name="Merlin Gutter" userId="2abc6f04-74af-430b-bdc8-569c3bfa1dda" providerId="ADAL" clId="{CB1EFBC3-10F5-3048-8961-5969497C0019}" dt="2022-11-24T23:03:09.255" v="185683"/>
          <ac:spMkLst>
            <pc:docMk/>
            <pc:sldMk cId="2192655461" sldId="406"/>
            <ac:spMk id="767" creationId="{DDAB498C-C6C8-1535-FEE7-EB92A984925E}"/>
          </ac:spMkLst>
        </pc:spChg>
        <pc:spChg chg="add del mod replST">
          <ac:chgData name="Merlin Gutter" userId="2abc6f04-74af-430b-bdc8-569c3bfa1dda" providerId="ADAL" clId="{CB1EFBC3-10F5-3048-8961-5969497C0019}" dt="2022-11-24T23:03:09.255" v="185682"/>
          <ac:spMkLst>
            <pc:docMk/>
            <pc:sldMk cId="2192655461" sldId="406"/>
            <ac:spMk id="768" creationId="{1B41F541-4754-10A0-FB5B-0B18CA931E29}"/>
          </ac:spMkLst>
        </pc:spChg>
        <pc:spChg chg="add del mod replST">
          <ac:chgData name="Merlin Gutter" userId="2abc6f04-74af-430b-bdc8-569c3bfa1dda" providerId="ADAL" clId="{CB1EFBC3-10F5-3048-8961-5969497C0019}" dt="2022-11-24T23:03:09.255" v="185681"/>
          <ac:spMkLst>
            <pc:docMk/>
            <pc:sldMk cId="2192655461" sldId="406"/>
            <ac:spMk id="769" creationId="{24ADFE11-1727-568B-B592-C154744E2103}"/>
          </ac:spMkLst>
        </pc:spChg>
        <pc:spChg chg="add del mod replST">
          <ac:chgData name="Merlin Gutter" userId="2abc6f04-74af-430b-bdc8-569c3bfa1dda" providerId="ADAL" clId="{CB1EFBC3-10F5-3048-8961-5969497C0019}" dt="2022-11-24T23:03:09.254" v="185680"/>
          <ac:spMkLst>
            <pc:docMk/>
            <pc:sldMk cId="2192655461" sldId="406"/>
            <ac:spMk id="770" creationId="{B695E8DF-C63E-95A0-0362-F6449E7B8A69}"/>
          </ac:spMkLst>
        </pc:spChg>
        <pc:spChg chg="add del mod modVis">
          <ac:chgData name="Merlin Gutter" userId="2abc6f04-74af-430b-bdc8-569c3bfa1dda" providerId="ADAL" clId="{CB1EFBC3-10F5-3048-8961-5969497C0019}" dt="2022-11-24T22:40:35.459" v="180761"/>
          <ac:spMkLst>
            <pc:docMk/>
            <pc:sldMk cId="2192655461" sldId="406"/>
            <ac:spMk id="776" creationId="{8AE0D8F2-DC48-FB91-C804-9FD9659C2C52}"/>
          </ac:spMkLst>
        </pc:spChg>
        <pc:spChg chg="add del mod modVis">
          <ac:chgData name="Merlin Gutter" userId="2abc6f04-74af-430b-bdc8-569c3bfa1dda" providerId="ADAL" clId="{CB1EFBC3-10F5-3048-8961-5969497C0019}" dt="2022-11-24T22:40:51.065" v="180968"/>
          <ac:spMkLst>
            <pc:docMk/>
            <pc:sldMk cId="2192655461" sldId="406"/>
            <ac:spMk id="778" creationId="{0E8BC648-C1A0-1892-8B82-7859A3CAB89E}"/>
          </ac:spMkLst>
        </pc:spChg>
        <pc:spChg chg="add del mod modVis">
          <ac:chgData name="Merlin Gutter" userId="2abc6f04-74af-430b-bdc8-569c3bfa1dda" providerId="ADAL" clId="{CB1EFBC3-10F5-3048-8961-5969497C0019}" dt="2022-11-24T22:40:51.237" v="181195"/>
          <ac:spMkLst>
            <pc:docMk/>
            <pc:sldMk cId="2192655461" sldId="406"/>
            <ac:spMk id="781" creationId="{E0BEF7F9-7817-46BD-A33E-B92C7F1D5BB2}"/>
          </ac:spMkLst>
        </pc:spChg>
        <pc:spChg chg="add del mod modVis">
          <ac:chgData name="Merlin Gutter" userId="2abc6f04-74af-430b-bdc8-569c3bfa1dda" providerId="ADAL" clId="{CB1EFBC3-10F5-3048-8961-5969497C0019}" dt="2022-11-24T22:40:53.918" v="181391"/>
          <ac:spMkLst>
            <pc:docMk/>
            <pc:sldMk cId="2192655461" sldId="406"/>
            <ac:spMk id="784" creationId="{917BB810-30B1-10C7-A3B0-092E1F78C057}"/>
          </ac:spMkLst>
        </pc:spChg>
        <pc:spChg chg="add del mod modVis">
          <ac:chgData name="Merlin Gutter" userId="2abc6f04-74af-430b-bdc8-569c3bfa1dda" providerId="ADAL" clId="{CB1EFBC3-10F5-3048-8961-5969497C0019}" dt="2022-11-24T22:40:54.094" v="181630"/>
          <ac:spMkLst>
            <pc:docMk/>
            <pc:sldMk cId="2192655461" sldId="406"/>
            <ac:spMk id="786" creationId="{5415F9B5-3040-E6EA-8E12-1B9F252A5BE8}"/>
          </ac:spMkLst>
        </pc:spChg>
        <pc:spChg chg="add del mod modVis">
          <ac:chgData name="Merlin Gutter" userId="2abc6f04-74af-430b-bdc8-569c3bfa1dda" providerId="ADAL" clId="{CB1EFBC3-10F5-3048-8961-5969497C0019}" dt="2022-11-24T22:41:05.368" v="181843"/>
          <ac:spMkLst>
            <pc:docMk/>
            <pc:sldMk cId="2192655461" sldId="406"/>
            <ac:spMk id="790" creationId="{71AC4E65-20F3-DFE0-3AC3-D8CFCE95252B}"/>
          </ac:spMkLst>
        </pc:spChg>
        <pc:spChg chg="add del mod modVis">
          <ac:chgData name="Merlin Gutter" userId="2abc6f04-74af-430b-bdc8-569c3bfa1dda" providerId="ADAL" clId="{CB1EFBC3-10F5-3048-8961-5969497C0019}" dt="2022-11-24T22:41:05.523" v="182037"/>
          <ac:spMkLst>
            <pc:docMk/>
            <pc:sldMk cId="2192655461" sldId="406"/>
            <ac:spMk id="792" creationId="{3433755C-DAF6-F4FC-D82C-0136AEE2FA94}"/>
          </ac:spMkLst>
        </pc:spChg>
        <pc:spChg chg="add del mod modVis">
          <ac:chgData name="Merlin Gutter" userId="2abc6f04-74af-430b-bdc8-569c3bfa1dda" providerId="ADAL" clId="{CB1EFBC3-10F5-3048-8961-5969497C0019}" dt="2022-11-24T22:41:34.619" v="183079"/>
          <ac:spMkLst>
            <pc:docMk/>
            <pc:sldMk cId="2192655461" sldId="406"/>
            <ac:spMk id="794" creationId="{A89FFFDC-6BE2-7E50-FD08-9BFAEACAB793}"/>
          </ac:spMkLst>
        </pc:spChg>
        <pc:spChg chg="add del mod replST">
          <ac:chgData name="Merlin Gutter" userId="2abc6f04-74af-430b-bdc8-569c3bfa1dda" providerId="ADAL" clId="{CB1EFBC3-10F5-3048-8961-5969497C0019}" dt="2022-11-24T22:41:42.448" v="183407"/>
          <ac:spMkLst>
            <pc:docMk/>
            <pc:sldMk cId="2192655461" sldId="406"/>
            <ac:spMk id="795" creationId="{BA2283BC-D990-350A-AACD-B9034A61928E}"/>
          </ac:spMkLst>
        </pc:spChg>
        <pc:spChg chg="add del mod replST">
          <ac:chgData name="Merlin Gutter" userId="2abc6f04-74af-430b-bdc8-569c3bfa1dda" providerId="ADAL" clId="{CB1EFBC3-10F5-3048-8961-5969497C0019}" dt="2022-11-24T22:41:42.448" v="183406"/>
          <ac:spMkLst>
            <pc:docMk/>
            <pc:sldMk cId="2192655461" sldId="406"/>
            <ac:spMk id="796" creationId="{2B6D6072-2A1B-51AA-1453-8D384DB709C8}"/>
          </ac:spMkLst>
        </pc:spChg>
        <pc:spChg chg="add del mod replST">
          <ac:chgData name="Merlin Gutter" userId="2abc6f04-74af-430b-bdc8-569c3bfa1dda" providerId="ADAL" clId="{CB1EFBC3-10F5-3048-8961-5969497C0019}" dt="2022-11-24T22:41:42.448" v="183405"/>
          <ac:spMkLst>
            <pc:docMk/>
            <pc:sldMk cId="2192655461" sldId="406"/>
            <ac:spMk id="797" creationId="{C514E237-A051-40D3-00BA-0E3BFB16A55D}"/>
          </ac:spMkLst>
        </pc:spChg>
        <pc:spChg chg="add del mod replST">
          <ac:chgData name="Merlin Gutter" userId="2abc6f04-74af-430b-bdc8-569c3bfa1dda" providerId="ADAL" clId="{CB1EFBC3-10F5-3048-8961-5969497C0019}" dt="2022-11-24T22:41:42.448" v="183404"/>
          <ac:spMkLst>
            <pc:docMk/>
            <pc:sldMk cId="2192655461" sldId="406"/>
            <ac:spMk id="798" creationId="{AF194DAE-E269-35E3-73B8-2A5DF60AD826}"/>
          </ac:spMkLst>
        </pc:spChg>
        <pc:spChg chg="add del mod replST">
          <ac:chgData name="Merlin Gutter" userId="2abc6f04-74af-430b-bdc8-569c3bfa1dda" providerId="ADAL" clId="{CB1EFBC3-10F5-3048-8961-5969497C0019}" dt="2022-11-24T22:41:42.448" v="183403"/>
          <ac:spMkLst>
            <pc:docMk/>
            <pc:sldMk cId="2192655461" sldId="406"/>
            <ac:spMk id="799" creationId="{F5304EE0-D3B8-0E07-C91E-160E84A8B032}"/>
          </ac:spMkLst>
        </pc:spChg>
        <pc:spChg chg="add del mod replST">
          <ac:chgData name="Merlin Gutter" userId="2abc6f04-74af-430b-bdc8-569c3bfa1dda" providerId="ADAL" clId="{CB1EFBC3-10F5-3048-8961-5969497C0019}" dt="2022-11-24T22:41:42.447" v="183402"/>
          <ac:spMkLst>
            <pc:docMk/>
            <pc:sldMk cId="2192655461" sldId="406"/>
            <ac:spMk id="800" creationId="{2F159C1D-EFA3-E245-FF99-8878A0C782D7}"/>
          </ac:spMkLst>
        </pc:spChg>
        <pc:spChg chg="add del mod replST">
          <ac:chgData name="Merlin Gutter" userId="2abc6f04-74af-430b-bdc8-569c3bfa1dda" providerId="ADAL" clId="{CB1EFBC3-10F5-3048-8961-5969497C0019}" dt="2022-11-24T22:41:42.447" v="183401"/>
          <ac:spMkLst>
            <pc:docMk/>
            <pc:sldMk cId="2192655461" sldId="406"/>
            <ac:spMk id="801" creationId="{274FB353-CC9E-6705-7F9E-7C87884F516A}"/>
          </ac:spMkLst>
        </pc:spChg>
        <pc:spChg chg="add del mod replST">
          <ac:chgData name="Merlin Gutter" userId="2abc6f04-74af-430b-bdc8-569c3bfa1dda" providerId="ADAL" clId="{CB1EFBC3-10F5-3048-8961-5969497C0019}" dt="2022-11-24T22:41:42.447" v="183400"/>
          <ac:spMkLst>
            <pc:docMk/>
            <pc:sldMk cId="2192655461" sldId="406"/>
            <ac:spMk id="802" creationId="{AD827355-B5AE-CF39-5693-2DCB0DEBEC27}"/>
          </ac:spMkLst>
        </pc:spChg>
        <pc:spChg chg="add del mod replST">
          <ac:chgData name="Merlin Gutter" userId="2abc6f04-74af-430b-bdc8-569c3bfa1dda" providerId="ADAL" clId="{CB1EFBC3-10F5-3048-8961-5969497C0019}" dt="2022-11-24T22:41:42.447" v="183399"/>
          <ac:spMkLst>
            <pc:docMk/>
            <pc:sldMk cId="2192655461" sldId="406"/>
            <ac:spMk id="803" creationId="{75E85A31-A20A-757D-294E-18C73796BDAC}"/>
          </ac:spMkLst>
        </pc:spChg>
        <pc:spChg chg="add del mod replST">
          <ac:chgData name="Merlin Gutter" userId="2abc6f04-74af-430b-bdc8-569c3bfa1dda" providerId="ADAL" clId="{CB1EFBC3-10F5-3048-8961-5969497C0019}" dt="2022-11-24T22:41:42.447" v="183398"/>
          <ac:spMkLst>
            <pc:docMk/>
            <pc:sldMk cId="2192655461" sldId="406"/>
            <ac:spMk id="804" creationId="{CA1A303F-8FA3-CBE3-4861-FD866A577B31}"/>
          </ac:spMkLst>
        </pc:spChg>
        <pc:spChg chg="add del mod replST">
          <ac:chgData name="Merlin Gutter" userId="2abc6f04-74af-430b-bdc8-569c3bfa1dda" providerId="ADAL" clId="{CB1EFBC3-10F5-3048-8961-5969497C0019}" dt="2022-11-24T22:41:42.446" v="183397"/>
          <ac:spMkLst>
            <pc:docMk/>
            <pc:sldMk cId="2192655461" sldId="406"/>
            <ac:spMk id="805" creationId="{CC41B7FF-F125-7FE1-06FA-5C43C8BDF740}"/>
          </ac:spMkLst>
        </pc:spChg>
        <pc:spChg chg="add del mod replST">
          <ac:chgData name="Merlin Gutter" userId="2abc6f04-74af-430b-bdc8-569c3bfa1dda" providerId="ADAL" clId="{CB1EFBC3-10F5-3048-8961-5969497C0019}" dt="2022-11-24T22:41:42.446" v="183396"/>
          <ac:spMkLst>
            <pc:docMk/>
            <pc:sldMk cId="2192655461" sldId="406"/>
            <ac:spMk id="806" creationId="{6EB06E9D-5869-8825-E5DB-0489ABD4972A}"/>
          </ac:spMkLst>
        </pc:spChg>
        <pc:spChg chg="add del mod modVis">
          <ac:chgData name="Merlin Gutter" userId="2abc6f04-74af-430b-bdc8-569c3bfa1dda" providerId="ADAL" clId="{CB1EFBC3-10F5-3048-8961-5969497C0019}" dt="2022-11-24T22:41:34.771" v="183283"/>
          <ac:spMkLst>
            <pc:docMk/>
            <pc:sldMk cId="2192655461" sldId="406"/>
            <ac:spMk id="808" creationId="{CC4D420B-9DAF-7110-50AA-059797DF9C4D}"/>
          </ac:spMkLst>
        </pc:spChg>
        <pc:spChg chg="add mod replST">
          <ac:chgData name="Merlin Gutter" userId="2abc6f04-74af-430b-bdc8-569c3bfa1dda" providerId="ADAL" clId="{CB1EFBC3-10F5-3048-8961-5969497C0019}" dt="2022-11-25T00:17:13.147" v="205301"/>
          <ac:spMkLst>
            <pc:docMk/>
            <pc:sldMk cId="2192655461" sldId="406"/>
            <ac:spMk id="810" creationId="{35D18E38-4528-C822-4288-C8ABAD59E62F}"/>
          </ac:spMkLst>
        </pc:spChg>
        <pc:spChg chg="add mod replST">
          <ac:chgData name="Merlin Gutter" userId="2abc6f04-74af-430b-bdc8-569c3bfa1dda" providerId="ADAL" clId="{CB1EFBC3-10F5-3048-8961-5969497C0019}" dt="2022-11-25T00:17:13.148" v="205302"/>
          <ac:spMkLst>
            <pc:docMk/>
            <pc:sldMk cId="2192655461" sldId="406"/>
            <ac:spMk id="811" creationId="{F81120B9-59CA-C82F-6845-94D8ADD4B168}"/>
          </ac:spMkLst>
        </pc:spChg>
        <pc:spChg chg="add del mod modVis">
          <ac:chgData name="Merlin Gutter" userId="2abc6f04-74af-430b-bdc8-569c3bfa1dda" providerId="ADAL" clId="{CB1EFBC3-10F5-3048-8961-5969497C0019}" dt="2022-11-24T22:41:42.788" v="183991"/>
          <ac:spMkLst>
            <pc:docMk/>
            <pc:sldMk cId="2192655461" sldId="406"/>
            <ac:spMk id="812" creationId="{A5D5D6D9-42C9-27F5-1C22-43286B2C91F5}"/>
          </ac:spMkLst>
        </pc:spChg>
        <pc:spChg chg="add mod replST">
          <ac:chgData name="Merlin Gutter" userId="2abc6f04-74af-430b-bdc8-569c3bfa1dda" providerId="ADAL" clId="{CB1EFBC3-10F5-3048-8961-5969497C0019}" dt="2022-11-25T00:17:13.143" v="205298"/>
          <ac:spMkLst>
            <pc:docMk/>
            <pc:sldMk cId="2192655461" sldId="406"/>
            <ac:spMk id="813" creationId="{580A7A29-8EB5-C753-1C54-8D478AC06BA2}"/>
          </ac:spMkLst>
        </pc:spChg>
        <pc:spChg chg="add mod replST">
          <ac:chgData name="Merlin Gutter" userId="2abc6f04-74af-430b-bdc8-569c3bfa1dda" providerId="ADAL" clId="{CB1EFBC3-10F5-3048-8961-5969497C0019}" dt="2022-11-25T00:17:13.141" v="205296"/>
          <ac:spMkLst>
            <pc:docMk/>
            <pc:sldMk cId="2192655461" sldId="406"/>
            <ac:spMk id="814" creationId="{2B232039-2B6B-D36C-4ABE-178129F05307}"/>
          </ac:spMkLst>
        </pc:spChg>
        <pc:spChg chg="add mod replST">
          <ac:chgData name="Merlin Gutter" userId="2abc6f04-74af-430b-bdc8-569c3bfa1dda" providerId="ADAL" clId="{CB1EFBC3-10F5-3048-8961-5969497C0019}" dt="2022-11-25T00:17:13.130" v="205286"/>
          <ac:spMkLst>
            <pc:docMk/>
            <pc:sldMk cId="2192655461" sldId="406"/>
            <ac:spMk id="815" creationId="{9DF742A1-3459-12CE-3F45-86BAE29F8721}"/>
          </ac:spMkLst>
        </pc:spChg>
        <pc:spChg chg="add mod replST">
          <ac:chgData name="Merlin Gutter" userId="2abc6f04-74af-430b-bdc8-569c3bfa1dda" providerId="ADAL" clId="{CB1EFBC3-10F5-3048-8961-5969497C0019}" dt="2022-11-25T00:17:13.140" v="205295"/>
          <ac:spMkLst>
            <pc:docMk/>
            <pc:sldMk cId="2192655461" sldId="406"/>
            <ac:spMk id="816" creationId="{23CF036E-452E-6C89-9D84-F81C3C949B4F}"/>
          </ac:spMkLst>
        </pc:spChg>
        <pc:spChg chg="add mod replST">
          <ac:chgData name="Merlin Gutter" userId="2abc6f04-74af-430b-bdc8-569c3bfa1dda" providerId="ADAL" clId="{CB1EFBC3-10F5-3048-8961-5969497C0019}" dt="2022-11-25T00:17:13.137" v="205293"/>
          <ac:spMkLst>
            <pc:docMk/>
            <pc:sldMk cId="2192655461" sldId="406"/>
            <ac:spMk id="817" creationId="{21B813B9-A70F-0CCD-09A9-7A93D5515F20}"/>
          </ac:spMkLst>
        </pc:spChg>
        <pc:spChg chg="add mod replST">
          <ac:chgData name="Merlin Gutter" userId="2abc6f04-74af-430b-bdc8-569c3bfa1dda" providerId="ADAL" clId="{CB1EFBC3-10F5-3048-8961-5969497C0019}" dt="2022-11-25T00:17:13.136" v="205292"/>
          <ac:spMkLst>
            <pc:docMk/>
            <pc:sldMk cId="2192655461" sldId="406"/>
            <ac:spMk id="818" creationId="{2EC9920B-2FCF-B74B-6240-7F2FB3F59C6F}"/>
          </ac:spMkLst>
        </pc:spChg>
        <pc:spChg chg="add del mod modVis">
          <ac:chgData name="Merlin Gutter" userId="2abc6f04-74af-430b-bdc8-569c3bfa1dda" providerId="ADAL" clId="{CB1EFBC3-10F5-3048-8961-5969497C0019}" dt="2022-11-24T22:41:42.944" v="184230"/>
          <ac:spMkLst>
            <pc:docMk/>
            <pc:sldMk cId="2192655461" sldId="406"/>
            <ac:spMk id="820" creationId="{F012158C-1463-6E67-D771-C90406084956}"/>
          </ac:spMkLst>
        </pc:spChg>
        <pc:spChg chg="add del mod modVis">
          <ac:chgData name="Merlin Gutter" userId="2abc6f04-74af-430b-bdc8-569c3bfa1dda" providerId="ADAL" clId="{CB1EFBC3-10F5-3048-8961-5969497C0019}" dt="2022-11-24T23:03:03.359" v="185379"/>
          <ac:spMkLst>
            <pc:docMk/>
            <pc:sldMk cId="2192655461" sldId="406"/>
            <ac:spMk id="824" creationId="{5A7E9A9A-B506-F97B-FD68-F90AD9F504E0}"/>
          </ac:spMkLst>
        </pc:spChg>
        <pc:spChg chg="add mod replST">
          <ac:chgData name="Merlin Gutter" userId="2abc6f04-74af-430b-bdc8-569c3bfa1dda" providerId="ADAL" clId="{CB1EFBC3-10F5-3048-8961-5969497C0019}" dt="2022-11-25T00:17:13.222" v="205367"/>
          <ac:spMkLst>
            <pc:docMk/>
            <pc:sldMk cId="2192655461" sldId="406"/>
            <ac:spMk id="825" creationId="{DDED4133-49FA-E8D4-BD8A-F4F6E0E450F9}"/>
          </ac:spMkLst>
        </pc:spChg>
        <pc:spChg chg="add mod replST">
          <ac:chgData name="Merlin Gutter" userId="2abc6f04-74af-430b-bdc8-569c3bfa1dda" providerId="ADAL" clId="{CB1EFBC3-10F5-3048-8961-5969497C0019}" dt="2022-11-25T00:17:13.223" v="205368"/>
          <ac:spMkLst>
            <pc:docMk/>
            <pc:sldMk cId="2192655461" sldId="406"/>
            <ac:spMk id="826" creationId="{D6FA0944-B3FB-0677-507B-4E5D08D4DDC7}"/>
          </ac:spMkLst>
        </pc:spChg>
        <pc:spChg chg="add mod replST">
          <ac:chgData name="Merlin Gutter" userId="2abc6f04-74af-430b-bdc8-569c3bfa1dda" providerId="ADAL" clId="{CB1EFBC3-10F5-3048-8961-5969497C0019}" dt="2022-11-25T00:17:13.221" v="205366"/>
          <ac:spMkLst>
            <pc:docMk/>
            <pc:sldMk cId="2192655461" sldId="406"/>
            <ac:spMk id="827" creationId="{DB025A06-D873-BA1E-769D-76A6AAA59D0E}"/>
          </ac:spMkLst>
        </pc:spChg>
        <pc:spChg chg="add mod replST">
          <ac:chgData name="Merlin Gutter" userId="2abc6f04-74af-430b-bdc8-569c3bfa1dda" providerId="ADAL" clId="{CB1EFBC3-10F5-3048-8961-5969497C0019}" dt="2022-11-25T00:17:13.202" v="205349"/>
          <ac:spMkLst>
            <pc:docMk/>
            <pc:sldMk cId="2192655461" sldId="406"/>
            <ac:spMk id="828" creationId="{C0E474A2-80F7-15B0-1643-AFDC80C6DC22}"/>
          </ac:spMkLst>
        </pc:spChg>
        <pc:spChg chg="add mod replST">
          <ac:chgData name="Merlin Gutter" userId="2abc6f04-74af-430b-bdc8-569c3bfa1dda" providerId="ADAL" clId="{CB1EFBC3-10F5-3048-8961-5969497C0019}" dt="2022-11-25T00:17:13.214" v="205360"/>
          <ac:spMkLst>
            <pc:docMk/>
            <pc:sldMk cId="2192655461" sldId="406"/>
            <ac:spMk id="829" creationId="{9F2956C0-FB62-81C0-59F0-B34F28D5AE2E}"/>
          </ac:spMkLst>
        </pc:spChg>
        <pc:spChg chg="add mod replST">
          <ac:chgData name="Merlin Gutter" userId="2abc6f04-74af-430b-bdc8-569c3bfa1dda" providerId="ADAL" clId="{CB1EFBC3-10F5-3048-8961-5969497C0019}" dt="2022-11-25T00:17:13.203" v="205350"/>
          <ac:spMkLst>
            <pc:docMk/>
            <pc:sldMk cId="2192655461" sldId="406"/>
            <ac:spMk id="830" creationId="{83C0DEE8-BDA5-6479-6C47-00870997F00F}"/>
          </ac:spMkLst>
        </pc:spChg>
        <pc:spChg chg="add mod replST">
          <ac:chgData name="Merlin Gutter" userId="2abc6f04-74af-430b-bdc8-569c3bfa1dda" providerId="ADAL" clId="{CB1EFBC3-10F5-3048-8961-5969497C0019}" dt="2022-11-25T00:17:13.211" v="205357"/>
          <ac:spMkLst>
            <pc:docMk/>
            <pc:sldMk cId="2192655461" sldId="406"/>
            <ac:spMk id="831" creationId="{6C341CC0-B83E-C13A-3459-D6F3D82A5E91}"/>
          </ac:spMkLst>
        </pc:spChg>
        <pc:spChg chg="add mod replST">
          <ac:chgData name="Merlin Gutter" userId="2abc6f04-74af-430b-bdc8-569c3bfa1dda" providerId="ADAL" clId="{CB1EFBC3-10F5-3048-8961-5969497C0019}" dt="2022-11-25T00:17:13.212" v="205358"/>
          <ac:spMkLst>
            <pc:docMk/>
            <pc:sldMk cId="2192655461" sldId="406"/>
            <ac:spMk id="832" creationId="{B455F888-4049-F811-CCAD-8F99B10A5260}"/>
          </ac:spMkLst>
        </pc:spChg>
        <pc:spChg chg="add mod replST">
          <ac:chgData name="Merlin Gutter" userId="2abc6f04-74af-430b-bdc8-569c3bfa1dda" providerId="ADAL" clId="{CB1EFBC3-10F5-3048-8961-5969497C0019}" dt="2022-11-25T00:17:13.208" v="205355"/>
          <ac:spMkLst>
            <pc:docMk/>
            <pc:sldMk cId="2192655461" sldId="406"/>
            <ac:spMk id="833" creationId="{A39D8909-D5C1-8930-882C-1D6A12683A3C}"/>
          </ac:spMkLst>
        </pc:spChg>
        <pc:spChg chg="add mod replST">
          <ac:chgData name="Merlin Gutter" userId="2abc6f04-74af-430b-bdc8-569c3bfa1dda" providerId="ADAL" clId="{CB1EFBC3-10F5-3048-8961-5969497C0019}" dt="2022-11-25T00:17:13.199" v="205347"/>
          <ac:spMkLst>
            <pc:docMk/>
            <pc:sldMk cId="2192655461" sldId="406"/>
            <ac:spMk id="834" creationId="{669DC2CC-21F5-F70B-9E1C-01732C1F5760}"/>
          </ac:spMkLst>
        </pc:spChg>
        <pc:spChg chg="add mod replST">
          <ac:chgData name="Merlin Gutter" userId="2abc6f04-74af-430b-bdc8-569c3bfa1dda" providerId="ADAL" clId="{CB1EFBC3-10F5-3048-8961-5969497C0019}" dt="2022-11-25T00:17:13.215" v="205361"/>
          <ac:spMkLst>
            <pc:docMk/>
            <pc:sldMk cId="2192655461" sldId="406"/>
            <ac:spMk id="835" creationId="{A0054590-E0FA-0C21-D8C3-A66264DFCCEB}"/>
          </ac:spMkLst>
        </pc:spChg>
        <pc:spChg chg="add del mod modVis">
          <ac:chgData name="Merlin Gutter" userId="2abc6f04-74af-430b-bdc8-569c3bfa1dda" providerId="ADAL" clId="{CB1EFBC3-10F5-3048-8961-5969497C0019}" dt="2022-11-24T23:03:03.579" v="185617"/>
          <ac:spMkLst>
            <pc:docMk/>
            <pc:sldMk cId="2192655461" sldId="406"/>
            <ac:spMk id="847" creationId="{E02341B5-155A-3B06-D7FF-B7A64685C08D}"/>
          </ac:spMkLst>
        </pc:spChg>
        <pc:spChg chg="add del mod modVis">
          <ac:chgData name="Merlin Gutter" userId="2abc6f04-74af-430b-bdc8-569c3bfa1dda" providerId="ADAL" clId="{CB1EFBC3-10F5-3048-8961-5969497C0019}" dt="2022-11-24T23:03:09.609" v="186413"/>
          <ac:spMkLst>
            <pc:docMk/>
            <pc:sldMk cId="2192655461" sldId="406"/>
            <ac:spMk id="849" creationId="{AA6CAE20-3842-1F42-34C3-77D29BE9B306}"/>
          </ac:spMkLst>
        </pc:spChg>
        <pc:spChg chg="add mod replST">
          <ac:chgData name="Merlin Gutter" userId="2abc6f04-74af-430b-bdc8-569c3bfa1dda" providerId="ADAL" clId="{CB1EFBC3-10F5-3048-8961-5969497C0019}" dt="2022-11-25T00:17:13.220" v="205365"/>
          <ac:spMkLst>
            <pc:docMk/>
            <pc:sldMk cId="2192655461" sldId="406"/>
            <ac:spMk id="850" creationId="{98824067-8457-9337-D962-68AABC934B59}"/>
          </ac:spMkLst>
        </pc:spChg>
        <pc:spChg chg="add mod replST">
          <ac:chgData name="Merlin Gutter" userId="2abc6f04-74af-430b-bdc8-569c3bfa1dda" providerId="ADAL" clId="{CB1EFBC3-10F5-3048-8961-5969497C0019}" dt="2022-11-25T00:17:13.218" v="205364"/>
          <ac:spMkLst>
            <pc:docMk/>
            <pc:sldMk cId="2192655461" sldId="406"/>
            <ac:spMk id="851" creationId="{6956C998-1C59-B11D-B824-F2C418F34883}"/>
          </ac:spMkLst>
        </pc:spChg>
        <pc:spChg chg="add mod replST">
          <ac:chgData name="Merlin Gutter" userId="2abc6f04-74af-430b-bdc8-569c3bfa1dda" providerId="ADAL" clId="{CB1EFBC3-10F5-3048-8961-5969497C0019}" dt="2022-11-25T00:17:13.217" v="205363"/>
          <ac:spMkLst>
            <pc:docMk/>
            <pc:sldMk cId="2192655461" sldId="406"/>
            <ac:spMk id="852" creationId="{5F770BE4-A983-C5DC-1937-16556107C04E}"/>
          </ac:spMkLst>
        </pc:spChg>
        <pc:spChg chg="add mod replST">
          <ac:chgData name="Merlin Gutter" userId="2abc6f04-74af-430b-bdc8-569c3bfa1dda" providerId="ADAL" clId="{CB1EFBC3-10F5-3048-8961-5969497C0019}" dt="2022-11-25T00:17:13.205" v="205352"/>
          <ac:spMkLst>
            <pc:docMk/>
            <pc:sldMk cId="2192655461" sldId="406"/>
            <ac:spMk id="853" creationId="{5D10E0BE-59B9-6416-0974-F82FD7B4AA53}"/>
          </ac:spMkLst>
        </pc:spChg>
        <pc:spChg chg="add mod replST">
          <ac:chgData name="Merlin Gutter" userId="2abc6f04-74af-430b-bdc8-569c3bfa1dda" providerId="ADAL" clId="{CB1EFBC3-10F5-3048-8961-5969497C0019}" dt="2022-11-25T00:17:13.213" v="205359"/>
          <ac:spMkLst>
            <pc:docMk/>
            <pc:sldMk cId="2192655461" sldId="406"/>
            <ac:spMk id="854" creationId="{61D00A93-932B-D633-083F-C00C836E683A}"/>
          </ac:spMkLst>
        </pc:spChg>
        <pc:spChg chg="add mod replST">
          <ac:chgData name="Merlin Gutter" userId="2abc6f04-74af-430b-bdc8-569c3bfa1dda" providerId="ADAL" clId="{CB1EFBC3-10F5-3048-8961-5969497C0019}" dt="2022-11-25T00:17:13.207" v="205354"/>
          <ac:spMkLst>
            <pc:docMk/>
            <pc:sldMk cId="2192655461" sldId="406"/>
            <ac:spMk id="855" creationId="{1E51611C-3455-16C1-39BE-A7C24EC67F60}"/>
          </ac:spMkLst>
        </pc:spChg>
        <pc:spChg chg="add mod replST">
          <ac:chgData name="Merlin Gutter" userId="2abc6f04-74af-430b-bdc8-569c3bfa1dda" providerId="ADAL" clId="{CB1EFBC3-10F5-3048-8961-5969497C0019}" dt="2022-11-25T00:17:13.206" v="205353"/>
          <ac:spMkLst>
            <pc:docMk/>
            <pc:sldMk cId="2192655461" sldId="406"/>
            <ac:spMk id="856" creationId="{D1419DD8-CE5D-E097-53A6-98C7824F3AA3}"/>
          </ac:spMkLst>
        </pc:spChg>
        <pc:spChg chg="add mod replST">
          <ac:chgData name="Merlin Gutter" userId="2abc6f04-74af-430b-bdc8-569c3bfa1dda" providerId="ADAL" clId="{CB1EFBC3-10F5-3048-8961-5969497C0019}" dt="2022-11-25T00:17:13.200" v="205348"/>
          <ac:spMkLst>
            <pc:docMk/>
            <pc:sldMk cId="2192655461" sldId="406"/>
            <ac:spMk id="857" creationId="{9A1BD233-6E0B-8F88-97FE-BAA9ACEC1EB4}"/>
          </ac:spMkLst>
        </pc:spChg>
        <pc:spChg chg="add del mod modVis">
          <ac:chgData name="Merlin Gutter" userId="2abc6f04-74af-430b-bdc8-569c3bfa1dda" providerId="ADAL" clId="{CB1EFBC3-10F5-3048-8961-5969497C0019}" dt="2022-11-24T23:03:09.827" v="186649"/>
          <ac:spMkLst>
            <pc:docMk/>
            <pc:sldMk cId="2192655461" sldId="406"/>
            <ac:spMk id="868" creationId="{1202143A-6FE3-AC06-818F-670E404A1BF8}"/>
          </ac:spMkLst>
        </pc:spChg>
        <pc:spChg chg="add del mod modVis">
          <ac:chgData name="Merlin Gutter" userId="2abc6f04-74af-430b-bdc8-569c3bfa1dda" providerId="ADAL" clId="{CB1EFBC3-10F5-3048-8961-5969497C0019}" dt="2022-11-24T23:03:15.954" v="186872"/>
          <ac:spMkLst>
            <pc:docMk/>
            <pc:sldMk cId="2192655461" sldId="406"/>
            <ac:spMk id="870" creationId="{E171E247-FEEF-E5A3-8D15-C01BE4ABFD39}"/>
          </ac:spMkLst>
        </pc:spChg>
        <pc:spChg chg="add del mod modVis">
          <ac:chgData name="Merlin Gutter" userId="2abc6f04-74af-430b-bdc8-569c3bfa1dda" providerId="ADAL" clId="{CB1EFBC3-10F5-3048-8961-5969497C0019}" dt="2022-11-24T23:03:16.146" v="187130"/>
          <ac:spMkLst>
            <pc:docMk/>
            <pc:sldMk cId="2192655461" sldId="406"/>
            <ac:spMk id="872" creationId="{EFCBE878-FEAD-43F4-2A2D-BC9E0A739932}"/>
          </ac:spMkLst>
        </pc:spChg>
        <pc:spChg chg="add del mod modVis">
          <ac:chgData name="Merlin Gutter" userId="2abc6f04-74af-430b-bdc8-569c3bfa1dda" providerId="ADAL" clId="{CB1EFBC3-10F5-3048-8961-5969497C0019}" dt="2022-11-24T23:03:20.873" v="187362"/>
          <ac:spMkLst>
            <pc:docMk/>
            <pc:sldMk cId="2192655461" sldId="406"/>
            <ac:spMk id="875" creationId="{AF8F19D1-87AD-2811-D8B4-054541426D12}"/>
          </ac:spMkLst>
        </pc:spChg>
        <pc:spChg chg="add del mod modVis">
          <ac:chgData name="Merlin Gutter" userId="2abc6f04-74af-430b-bdc8-569c3bfa1dda" providerId="ADAL" clId="{CB1EFBC3-10F5-3048-8961-5969497C0019}" dt="2022-11-24T23:03:21.056" v="187589"/>
          <ac:spMkLst>
            <pc:docMk/>
            <pc:sldMk cId="2192655461" sldId="406"/>
            <ac:spMk id="877" creationId="{7648425A-0F9D-D787-F694-48B6B7FCD50A}"/>
          </ac:spMkLst>
        </pc:spChg>
        <pc:spChg chg="add del mod modVis">
          <ac:chgData name="Merlin Gutter" userId="2abc6f04-74af-430b-bdc8-569c3bfa1dda" providerId="ADAL" clId="{CB1EFBC3-10F5-3048-8961-5969497C0019}" dt="2022-11-24T23:03:25.559" v="187795"/>
          <ac:spMkLst>
            <pc:docMk/>
            <pc:sldMk cId="2192655461" sldId="406"/>
            <ac:spMk id="879" creationId="{B6446DE9-1D05-82A7-0261-DB41CF9A26D4}"/>
          </ac:spMkLst>
        </pc:spChg>
        <pc:spChg chg="add del mod modVis">
          <ac:chgData name="Merlin Gutter" userId="2abc6f04-74af-430b-bdc8-569c3bfa1dda" providerId="ADAL" clId="{CB1EFBC3-10F5-3048-8961-5969497C0019}" dt="2022-11-24T23:03:25.733" v="188007"/>
          <ac:spMkLst>
            <pc:docMk/>
            <pc:sldMk cId="2192655461" sldId="406"/>
            <ac:spMk id="881" creationId="{BB03FBBA-3AD4-2995-3938-BA7DBB5F73F0}"/>
          </ac:spMkLst>
        </pc:spChg>
        <pc:spChg chg="add del mod modVis">
          <ac:chgData name="Merlin Gutter" userId="2abc6f04-74af-430b-bdc8-569c3bfa1dda" providerId="ADAL" clId="{CB1EFBC3-10F5-3048-8961-5969497C0019}" dt="2022-11-25T00:10:07.909" v="192638"/>
          <ac:spMkLst>
            <pc:docMk/>
            <pc:sldMk cId="2192655461" sldId="406"/>
            <ac:spMk id="883" creationId="{53AF6DFB-0B25-A01C-8C19-35655A274869}"/>
          </ac:spMkLst>
        </pc:spChg>
        <pc:spChg chg="add del mod modVis">
          <ac:chgData name="Merlin Gutter" userId="2abc6f04-74af-430b-bdc8-569c3bfa1dda" providerId="ADAL" clId="{CB1EFBC3-10F5-3048-8961-5969497C0019}" dt="2022-11-25T00:10:08.022" v="192835"/>
          <ac:spMkLst>
            <pc:docMk/>
            <pc:sldMk cId="2192655461" sldId="406"/>
            <ac:spMk id="885" creationId="{66C12947-A787-410D-88DB-902419B92578}"/>
          </ac:spMkLst>
        </pc:spChg>
        <pc:spChg chg="add del mod modVis">
          <ac:chgData name="Merlin Gutter" userId="2abc6f04-74af-430b-bdc8-569c3bfa1dda" providerId="ADAL" clId="{CB1EFBC3-10F5-3048-8961-5969497C0019}" dt="2022-11-25T00:11:51.484" v="193251"/>
          <ac:spMkLst>
            <pc:docMk/>
            <pc:sldMk cId="2192655461" sldId="406"/>
            <ac:spMk id="887" creationId="{9701AE3F-6688-7870-A307-75A2300E116A}"/>
          </ac:spMkLst>
        </pc:spChg>
        <pc:spChg chg="add del mod modVis">
          <ac:chgData name="Merlin Gutter" userId="2abc6f04-74af-430b-bdc8-569c3bfa1dda" providerId="ADAL" clId="{CB1EFBC3-10F5-3048-8961-5969497C0019}" dt="2022-11-25T00:11:51.701" v="193448"/>
          <ac:spMkLst>
            <pc:docMk/>
            <pc:sldMk cId="2192655461" sldId="406"/>
            <ac:spMk id="889" creationId="{8CFC4CA9-5296-C1FA-332B-19F19A6B52AE}"/>
          </ac:spMkLst>
        </pc:spChg>
        <pc:spChg chg="add del mod modVis">
          <ac:chgData name="Merlin Gutter" userId="2abc6f04-74af-430b-bdc8-569c3bfa1dda" providerId="ADAL" clId="{CB1EFBC3-10F5-3048-8961-5969497C0019}" dt="2022-11-25T00:11:53.361" v="193645"/>
          <ac:spMkLst>
            <pc:docMk/>
            <pc:sldMk cId="2192655461" sldId="406"/>
            <ac:spMk id="891" creationId="{F459DEDE-3DFB-10F9-AD11-227BBBC76CC3}"/>
          </ac:spMkLst>
        </pc:spChg>
        <pc:spChg chg="add del mod modVis">
          <ac:chgData name="Merlin Gutter" userId="2abc6f04-74af-430b-bdc8-569c3bfa1dda" providerId="ADAL" clId="{CB1EFBC3-10F5-3048-8961-5969497C0019}" dt="2022-11-25T00:11:53.532" v="193842"/>
          <ac:spMkLst>
            <pc:docMk/>
            <pc:sldMk cId="2192655461" sldId="406"/>
            <ac:spMk id="893" creationId="{ED88E585-57C0-A9A9-1FE5-36AD9F8BA5FF}"/>
          </ac:spMkLst>
        </pc:spChg>
        <pc:spChg chg="add del mod modVis">
          <ac:chgData name="Merlin Gutter" userId="2abc6f04-74af-430b-bdc8-569c3bfa1dda" providerId="ADAL" clId="{CB1EFBC3-10F5-3048-8961-5969497C0019}" dt="2022-11-25T00:14:40.504" v="194039"/>
          <ac:spMkLst>
            <pc:docMk/>
            <pc:sldMk cId="2192655461" sldId="406"/>
            <ac:spMk id="895" creationId="{D7B12194-D763-2638-D787-435445C955D1}"/>
          </ac:spMkLst>
        </pc:spChg>
        <pc:spChg chg="add del mod modVis">
          <ac:chgData name="Merlin Gutter" userId="2abc6f04-74af-430b-bdc8-569c3bfa1dda" providerId="ADAL" clId="{CB1EFBC3-10F5-3048-8961-5969497C0019}" dt="2022-11-25T00:14:40.721" v="194236"/>
          <ac:spMkLst>
            <pc:docMk/>
            <pc:sldMk cId="2192655461" sldId="406"/>
            <ac:spMk id="897" creationId="{A98BDB71-9121-5369-EDF3-6CA6F8B4274F}"/>
          </ac:spMkLst>
        </pc:spChg>
        <pc:spChg chg="add del mod modVis">
          <ac:chgData name="Merlin Gutter" userId="2abc6f04-74af-430b-bdc8-569c3bfa1dda" providerId="ADAL" clId="{CB1EFBC3-10F5-3048-8961-5969497C0019}" dt="2022-11-25T00:14:41.586" v="194433"/>
          <ac:spMkLst>
            <pc:docMk/>
            <pc:sldMk cId="2192655461" sldId="406"/>
            <ac:spMk id="899" creationId="{6F3E00A4-2539-63E0-7C86-4616736EE4E8}"/>
          </ac:spMkLst>
        </pc:spChg>
        <pc:spChg chg="add del mod modVis">
          <ac:chgData name="Merlin Gutter" userId="2abc6f04-74af-430b-bdc8-569c3bfa1dda" providerId="ADAL" clId="{CB1EFBC3-10F5-3048-8961-5969497C0019}" dt="2022-11-25T00:14:41.820" v="194630"/>
          <ac:spMkLst>
            <pc:docMk/>
            <pc:sldMk cId="2192655461" sldId="406"/>
            <ac:spMk id="901" creationId="{2F76ED83-B69F-EBE6-5F96-4C3104BF0A34}"/>
          </ac:spMkLst>
        </pc:spChg>
        <pc:spChg chg="add del mod modVis">
          <ac:chgData name="Merlin Gutter" userId="2abc6f04-74af-430b-bdc8-569c3bfa1dda" providerId="ADAL" clId="{CB1EFBC3-10F5-3048-8961-5969497C0019}" dt="2022-11-25T00:14:44.793" v="194827"/>
          <ac:spMkLst>
            <pc:docMk/>
            <pc:sldMk cId="2192655461" sldId="406"/>
            <ac:spMk id="903" creationId="{9B6819AC-EF00-33BD-21A9-CEF17AD3A4D0}"/>
          </ac:spMkLst>
        </pc:spChg>
        <pc:spChg chg="add del mod modVis">
          <ac:chgData name="Merlin Gutter" userId="2abc6f04-74af-430b-bdc8-569c3bfa1dda" providerId="ADAL" clId="{CB1EFBC3-10F5-3048-8961-5969497C0019}" dt="2022-11-25T00:14:44.943" v="195024"/>
          <ac:spMkLst>
            <pc:docMk/>
            <pc:sldMk cId="2192655461" sldId="406"/>
            <ac:spMk id="905" creationId="{BDCD26D2-9C35-3601-6A6E-807B06AB3F70}"/>
          </ac:spMkLst>
        </pc:spChg>
        <pc:spChg chg="add del mod modVis">
          <ac:chgData name="Merlin Gutter" userId="2abc6f04-74af-430b-bdc8-569c3bfa1dda" providerId="ADAL" clId="{CB1EFBC3-10F5-3048-8961-5969497C0019}" dt="2022-11-25T00:14:45.749" v="195221"/>
          <ac:spMkLst>
            <pc:docMk/>
            <pc:sldMk cId="2192655461" sldId="406"/>
            <ac:spMk id="907" creationId="{B2A43B1D-304B-B022-DDB7-7D959A255FE0}"/>
          </ac:spMkLst>
        </pc:spChg>
        <pc:spChg chg="add del mod modVis">
          <ac:chgData name="Merlin Gutter" userId="2abc6f04-74af-430b-bdc8-569c3bfa1dda" providerId="ADAL" clId="{CB1EFBC3-10F5-3048-8961-5969497C0019}" dt="2022-11-25T00:14:45.976" v="195418"/>
          <ac:spMkLst>
            <pc:docMk/>
            <pc:sldMk cId="2192655461" sldId="406"/>
            <ac:spMk id="909" creationId="{162ED214-FFCF-DAB3-F68E-8899C3EB0986}"/>
          </ac:spMkLst>
        </pc:spChg>
        <pc:spChg chg="add del mod modVis">
          <ac:chgData name="Merlin Gutter" userId="2abc6f04-74af-430b-bdc8-569c3bfa1dda" providerId="ADAL" clId="{CB1EFBC3-10F5-3048-8961-5969497C0019}" dt="2022-11-25T00:14:47.070" v="195729"/>
          <ac:spMkLst>
            <pc:docMk/>
            <pc:sldMk cId="2192655461" sldId="406"/>
            <ac:spMk id="911" creationId="{CA20BCE5-70E2-7522-BE97-D44E34C46635}"/>
          </ac:spMkLst>
        </pc:spChg>
        <pc:spChg chg="add del mod modVis">
          <ac:chgData name="Merlin Gutter" userId="2abc6f04-74af-430b-bdc8-569c3bfa1dda" providerId="ADAL" clId="{CB1EFBC3-10F5-3048-8961-5969497C0019}" dt="2022-11-25T00:14:47.259" v="195926"/>
          <ac:spMkLst>
            <pc:docMk/>
            <pc:sldMk cId="2192655461" sldId="406"/>
            <ac:spMk id="913" creationId="{AF939D6D-9725-D020-93DA-40FED3DE2359}"/>
          </ac:spMkLst>
        </pc:spChg>
        <pc:spChg chg="add del mod modVis">
          <ac:chgData name="Merlin Gutter" userId="2abc6f04-74af-430b-bdc8-569c3bfa1dda" providerId="ADAL" clId="{CB1EFBC3-10F5-3048-8961-5969497C0019}" dt="2022-11-25T00:14:57.638" v="196223"/>
          <ac:spMkLst>
            <pc:docMk/>
            <pc:sldMk cId="2192655461" sldId="406"/>
            <ac:spMk id="915" creationId="{3F1EF76A-0BE4-66D7-804A-B44FA4194D33}"/>
          </ac:spMkLst>
        </pc:spChg>
        <pc:spChg chg="add del mod modVis">
          <ac:chgData name="Merlin Gutter" userId="2abc6f04-74af-430b-bdc8-569c3bfa1dda" providerId="ADAL" clId="{CB1EFBC3-10F5-3048-8961-5969497C0019}" dt="2022-11-25T00:14:57.756" v="196420"/>
          <ac:spMkLst>
            <pc:docMk/>
            <pc:sldMk cId="2192655461" sldId="406"/>
            <ac:spMk id="917" creationId="{12E471C1-0953-060D-0732-B9CC774497FC}"/>
          </ac:spMkLst>
        </pc:spChg>
        <pc:spChg chg="add del mod modVis">
          <ac:chgData name="Merlin Gutter" userId="2abc6f04-74af-430b-bdc8-569c3bfa1dda" providerId="ADAL" clId="{CB1EFBC3-10F5-3048-8961-5969497C0019}" dt="2022-11-25T00:14:58.481" v="196718"/>
          <ac:spMkLst>
            <pc:docMk/>
            <pc:sldMk cId="2192655461" sldId="406"/>
            <ac:spMk id="919" creationId="{A3EE06E2-D563-2D81-E404-3DB1AAE816DF}"/>
          </ac:spMkLst>
        </pc:spChg>
        <pc:spChg chg="add del mod modVis">
          <ac:chgData name="Merlin Gutter" userId="2abc6f04-74af-430b-bdc8-569c3bfa1dda" providerId="ADAL" clId="{CB1EFBC3-10F5-3048-8961-5969497C0019}" dt="2022-11-25T00:14:58.602" v="196915"/>
          <ac:spMkLst>
            <pc:docMk/>
            <pc:sldMk cId="2192655461" sldId="406"/>
            <ac:spMk id="921" creationId="{B77C2E76-96B5-3626-5E9C-2E8B3E07F201}"/>
          </ac:spMkLst>
        </pc:spChg>
        <pc:spChg chg="add del mod modVis">
          <ac:chgData name="Merlin Gutter" userId="2abc6f04-74af-430b-bdc8-569c3bfa1dda" providerId="ADAL" clId="{CB1EFBC3-10F5-3048-8961-5969497C0019}" dt="2022-11-25T00:14:59.726" v="197112"/>
          <ac:spMkLst>
            <pc:docMk/>
            <pc:sldMk cId="2192655461" sldId="406"/>
            <ac:spMk id="923" creationId="{3EED14E9-CB30-A2D1-770A-0D1C2E0D101D}"/>
          </ac:spMkLst>
        </pc:spChg>
        <pc:spChg chg="add del mod modVis">
          <ac:chgData name="Merlin Gutter" userId="2abc6f04-74af-430b-bdc8-569c3bfa1dda" providerId="ADAL" clId="{CB1EFBC3-10F5-3048-8961-5969497C0019}" dt="2022-11-25T00:15:00.005" v="197309"/>
          <ac:spMkLst>
            <pc:docMk/>
            <pc:sldMk cId="2192655461" sldId="406"/>
            <ac:spMk id="925" creationId="{42C5CB86-C7A9-3DBD-CE25-2EC3754237DE}"/>
          </ac:spMkLst>
        </pc:spChg>
        <pc:spChg chg="add del mod modVis">
          <ac:chgData name="Merlin Gutter" userId="2abc6f04-74af-430b-bdc8-569c3bfa1dda" providerId="ADAL" clId="{CB1EFBC3-10F5-3048-8961-5969497C0019}" dt="2022-11-25T00:15:00.902" v="197622"/>
          <ac:spMkLst>
            <pc:docMk/>
            <pc:sldMk cId="2192655461" sldId="406"/>
            <ac:spMk id="927" creationId="{F904BDEF-0A00-FAEA-0D40-BDD2299DC2F3}"/>
          </ac:spMkLst>
        </pc:spChg>
        <pc:spChg chg="add del mod modVis">
          <ac:chgData name="Merlin Gutter" userId="2abc6f04-74af-430b-bdc8-569c3bfa1dda" providerId="ADAL" clId="{CB1EFBC3-10F5-3048-8961-5969497C0019}" dt="2022-11-25T00:15:01.090" v="197819"/>
          <ac:spMkLst>
            <pc:docMk/>
            <pc:sldMk cId="2192655461" sldId="406"/>
            <ac:spMk id="929" creationId="{6D9E05B3-3CC0-ABA3-4700-A9B6C6012D1F}"/>
          </ac:spMkLst>
        </pc:spChg>
        <pc:spChg chg="add del mod modVis">
          <ac:chgData name="Merlin Gutter" userId="2abc6f04-74af-430b-bdc8-569c3bfa1dda" providerId="ADAL" clId="{CB1EFBC3-10F5-3048-8961-5969497C0019}" dt="2022-11-25T00:15:02.875" v="198118"/>
          <ac:spMkLst>
            <pc:docMk/>
            <pc:sldMk cId="2192655461" sldId="406"/>
            <ac:spMk id="931" creationId="{31E4054E-21BC-8FA3-19D6-FBB7C7412223}"/>
          </ac:spMkLst>
        </pc:spChg>
        <pc:spChg chg="add del mod modVis">
          <ac:chgData name="Merlin Gutter" userId="2abc6f04-74af-430b-bdc8-569c3bfa1dda" providerId="ADAL" clId="{CB1EFBC3-10F5-3048-8961-5969497C0019}" dt="2022-11-25T00:15:02.994" v="198315"/>
          <ac:spMkLst>
            <pc:docMk/>
            <pc:sldMk cId="2192655461" sldId="406"/>
            <ac:spMk id="933" creationId="{49298C88-82D3-05AA-8EF4-F0BE54930409}"/>
          </ac:spMkLst>
        </pc:spChg>
        <pc:spChg chg="add del mod modVis">
          <ac:chgData name="Merlin Gutter" userId="2abc6f04-74af-430b-bdc8-569c3bfa1dda" providerId="ADAL" clId="{CB1EFBC3-10F5-3048-8961-5969497C0019}" dt="2022-11-25T00:15:03.731" v="198615"/>
          <ac:spMkLst>
            <pc:docMk/>
            <pc:sldMk cId="2192655461" sldId="406"/>
            <ac:spMk id="935" creationId="{47152D96-9CE2-E65B-F70E-0FC292CC7BA9}"/>
          </ac:spMkLst>
        </pc:spChg>
        <pc:spChg chg="add del mod modVis">
          <ac:chgData name="Merlin Gutter" userId="2abc6f04-74af-430b-bdc8-569c3bfa1dda" providerId="ADAL" clId="{CB1EFBC3-10F5-3048-8961-5969497C0019}" dt="2022-11-25T00:15:03.858" v="198812"/>
          <ac:spMkLst>
            <pc:docMk/>
            <pc:sldMk cId="2192655461" sldId="406"/>
            <ac:spMk id="937" creationId="{6F8AFBEC-C9DC-D36C-8F40-8452D85C1337}"/>
          </ac:spMkLst>
        </pc:spChg>
        <pc:spChg chg="add del mod modVis">
          <ac:chgData name="Merlin Gutter" userId="2abc6f04-74af-430b-bdc8-569c3bfa1dda" providerId="ADAL" clId="{CB1EFBC3-10F5-3048-8961-5969497C0019}" dt="2022-11-25T00:16:35.985" v="199009"/>
          <ac:spMkLst>
            <pc:docMk/>
            <pc:sldMk cId="2192655461" sldId="406"/>
            <ac:spMk id="939" creationId="{C08858C0-BCED-4901-7A18-E6257237C400}"/>
          </ac:spMkLst>
        </pc:spChg>
        <pc:spChg chg="add del mod modVis">
          <ac:chgData name="Merlin Gutter" userId="2abc6f04-74af-430b-bdc8-569c3bfa1dda" providerId="ADAL" clId="{CB1EFBC3-10F5-3048-8961-5969497C0019}" dt="2022-11-25T00:16:36.280" v="199206"/>
          <ac:spMkLst>
            <pc:docMk/>
            <pc:sldMk cId="2192655461" sldId="406"/>
            <ac:spMk id="941" creationId="{9BF587F8-DA4A-C7EE-6102-46220630FCFC}"/>
          </ac:spMkLst>
        </pc:spChg>
        <pc:spChg chg="add del mod modVis">
          <ac:chgData name="Merlin Gutter" userId="2abc6f04-74af-430b-bdc8-569c3bfa1dda" providerId="ADAL" clId="{CB1EFBC3-10F5-3048-8961-5969497C0019}" dt="2022-11-25T00:16:37.055" v="199521"/>
          <ac:spMkLst>
            <pc:docMk/>
            <pc:sldMk cId="2192655461" sldId="406"/>
            <ac:spMk id="943" creationId="{C96B893C-69AF-0420-5A02-6ABE98F0009A}"/>
          </ac:spMkLst>
        </pc:spChg>
        <pc:spChg chg="add del mod modVis">
          <ac:chgData name="Merlin Gutter" userId="2abc6f04-74af-430b-bdc8-569c3bfa1dda" providerId="ADAL" clId="{CB1EFBC3-10F5-3048-8961-5969497C0019}" dt="2022-11-25T00:16:37.242" v="199718"/>
          <ac:spMkLst>
            <pc:docMk/>
            <pc:sldMk cId="2192655461" sldId="406"/>
            <ac:spMk id="945" creationId="{DC3245F4-2D72-651B-17F1-831B718FC805}"/>
          </ac:spMkLst>
        </pc:spChg>
        <pc:spChg chg="add del mod modVis">
          <ac:chgData name="Merlin Gutter" userId="2abc6f04-74af-430b-bdc8-569c3bfa1dda" providerId="ADAL" clId="{CB1EFBC3-10F5-3048-8961-5969497C0019}" dt="2022-11-25T00:16:38.153" v="199915"/>
          <ac:spMkLst>
            <pc:docMk/>
            <pc:sldMk cId="2192655461" sldId="406"/>
            <ac:spMk id="947" creationId="{00362008-D8D9-0E71-0493-6DA0B48D0E73}"/>
          </ac:spMkLst>
        </pc:spChg>
        <pc:spChg chg="add del mod modVis">
          <ac:chgData name="Merlin Gutter" userId="2abc6f04-74af-430b-bdc8-569c3bfa1dda" providerId="ADAL" clId="{CB1EFBC3-10F5-3048-8961-5969497C0019}" dt="2022-11-25T00:16:38.435" v="200112"/>
          <ac:spMkLst>
            <pc:docMk/>
            <pc:sldMk cId="2192655461" sldId="406"/>
            <ac:spMk id="949" creationId="{F2BECFF4-D07E-8C64-AFBC-D3919D869B66}"/>
          </ac:spMkLst>
        </pc:spChg>
        <pc:spChg chg="add del mod modVis">
          <ac:chgData name="Merlin Gutter" userId="2abc6f04-74af-430b-bdc8-569c3bfa1dda" providerId="ADAL" clId="{CB1EFBC3-10F5-3048-8961-5969497C0019}" dt="2022-11-25T00:16:39.032" v="200430"/>
          <ac:spMkLst>
            <pc:docMk/>
            <pc:sldMk cId="2192655461" sldId="406"/>
            <ac:spMk id="951" creationId="{DC93FF98-6299-5D40-87EE-40AB99AEF59D}"/>
          </ac:spMkLst>
        </pc:spChg>
        <pc:spChg chg="add del mod modVis">
          <ac:chgData name="Merlin Gutter" userId="2abc6f04-74af-430b-bdc8-569c3bfa1dda" providerId="ADAL" clId="{CB1EFBC3-10F5-3048-8961-5969497C0019}" dt="2022-11-25T00:16:39.218" v="200627"/>
          <ac:spMkLst>
            <pc:docMk/>
            <pc:sldMk cId="2192655461" sldId="406"/>
            <ac:spMk id="953" creationId="{42AD0D99-0F44-4E11-6304-281CDA14E4DA}"/>
          </ac:spMkLst>
        </pc:spChg>
        <pc:spChg chg="add del mod modVis">
          <ac:chgData name="Merlin Gutter" userId="2abc6f04-74af-430b-bdc8-569c3bfa1dda" providerId="ADAL" clId="{CB1EFBC3-10F5-3048-8961-5969497C0019}" dt="2022-11-25T00:16:40.925" v="200824"/>
          <ac:spMkLst>
            <pc:docMk/>
            <pc:sldMk cId="2192655461" sldId="406"/>
            <ac:spMk id="955" creationId="{88A7BB30-2F37-C974-8594-2E8374291DD7}"/>
          </ac:spMkLst>
        </pc:spChg>
        <pc:spChg chg="add del mod modVis">
          <ac:chgData name="Merlin Gutter" userId="2abc6f04-74af-430b-bdc8-569c3bfa1dda" providerId="ADAL" clId="{CB1EFBC3-10F5-3048-8961-5969497C0019}" dt="2022-11-25T00:16:41.086" v="201021"/>
          <ac:spMkLst>
            <pc:docMk/>
            <pc:sldMk cId="2192655461" sldId="406"/>
            <ac:spMk id="957" creationId="{E600430D-A8BF-6594-5A7D-862B30441FCD}"/>
          </ac:spMkLst>
        </pc:spChg>
        <pc:spChg chg="add del mod modVis">
          <ac:chgData name="Merlin Gutter" userId="2abc6f04-74af-430b-bdc8-569c3bfa1dda" providerId="ADAL" clId="{CB1EFBC3-10F5-3048-8961-5969497C0019}" dt="2022-11-25T00:16:43.307" v="201327"/>
          <ac:spMkLst>
            <pc:docMk/>
            <pc:sldMk cId="2192655461" sldId="406"/>
            <ac:spMk id="959" creationId="{12D26C49-C412-1BFB-B87E-308EB7B550E4}"/>
          </ac:spMkLst>
        </pc:spChg>
        <pc:spChg chg="add del mod modVis">
          <ac:chgData name="Merlin Gutter" userId="2abc6f04-74af-430b-bdc8-569c3bfa1dda" providerId="ADAL" clId="{CB1EFBC3-10F5-3048-8961-5969497C0019}" dt="2022-11-25T00:16:43.430" v="201524"/>
          <ac:spMkLst>
            <pc:docMk/>
            <pc:sldMk cId="2192655461" sldId="406"/>
            <ac:spMk id="961" creationId="{0F9CA5E5-D8E7-5B77-3A20-3904EB00309E}"/>
          </ac:spMkLst>
        </pc:spChg>
        <pc:spChg chg="add del mod modVis">
          <ac:chgData name="Merlin Gutter" userId="2abc6f04-74af-430b-bdc8-569c3bfa1dda" providerId="ADAL" clId="{CB1EFBC3-10F5-3048-8961-5969497C0019}" dt="2022-11-25T00:16:45.529" v="201721"/>
          <ac:spMkLst>
            <pc:docMk/>
            <pc:sldMk cId="2192655461" sldId="406"/>
            <ac:spMk id="963" creationId="{E83EE0D0-47DF-5F2C-C719-6AC35EEF9E12}"/>
          </ac:spMkLst>
        </pc:spChg>
        <pc:spChg chg="add del mod modVis">
          <ac:chgData name="Merlin Gutter" userId="2abc6f04-74af-430b-bdc8-569c3bfa1dda" providerId="ADAL" clId="{CB1EFBC3-10F5-3048-8961-5969497C0019}" dt="2022-11-25T00:16:45.689" v="201918"/>
          <ac:spMkLst>
            <pc:docMk/>
            <pc:sldMk cId="2192655461" sldId="406"/>
            <ac:spMk id="965" creationId="{5E4D9E19-F8C5-4B06-16A3-6B7F7833A810}"/>
          </ac:spMkLst>
        </pc:spChg>
        <pc:spChg chg="add del mod modVis">
          <ac:chgData name="Merlin Gutter" userId="2abc6f04-74af-430b-bdc8-569c3bfa1dda" providerId="ADAL" clId="{CB1EFBC3-10F5-3048-8961-5969497C0019}" dt="2022-11-25T00:16:48.871" v="202223"/>
          <ac:spMkLst>
            <pc:docMk/>
            <pc:sldMk cId="2192655461" sldId="406"/>
            <ac:spMk id="967" creationId="{28A2F3FA-1B36-1485-EBEA-57623D911CD0}"/>
          </ac:spMkLst>
        </pc:spChg>
        <pc:spChg chg="add del mod modVis">
          <ac:chgData name="Merlin Gutter" userId="2abc6f04-74af-430b-bdc8-569c3bfa1dda" providerId="ADAL" clId="{CB1EFBC3-10F5-3048-8961-5969497C0019}" dt="2022-11-25T00:16:48.997" v="202420"/>
          <ac:spMkLst>
            <pc:docMk/>
            <pc:sldMk cId="2192655461" sldId="406"/>
            <ac:spMk id="969" creationId="{EB63BF2F-696D-2A8B-3F60-7EBA25AB06E1}"/>
          </ac:spMkLst>
        </pc:spChg>
        <pc:spChg chg="add del mod modVis">
          <ac:chgData name="Merlin Gutter" userId="2abc6f04-74af-430b-bdc8-569c3bfa1dda" providerId="ADAL" clId="{CB1EFBC3-10F5-3048-8961-5969497C0019}" dt="2022-11-25T00:16:49.678" v="202617"/>
          <ac:spMkLst>
            <pc:docMk/>
            <pc:sldMk cId="2192655461" sldId="406"/>
            <ac:spMk id="971" creationId="{2A7D9AEA-E519-42BD-D2F4-8936312894AD}"/>
          </ac:spMkLst>
        </pc:spChg>
        <pc:spChg chg="add del mod modVis">
          <ac:chgData name="Merlin Gutter" userId="2abc6f04-74af-430b-bdc8-569c3bfa1dda" providerId="ADAL" clId="{CB1EFBC3-10F5-3048-8961-5969497C0019}" dt="2022-11-25T00:16:50.110" v="202814"/>
          <ac:spMkLst>
            <pc:docMk/>
            <pc:sldMk cId="2192655461" sldId="406"/>
            <ac:spMk id="973" creationId="{555E66D0-EE98-5C73-C61F-A8F92C6BF6FE}"/>
          </ac:spMkLst>
        </pc:spChg>
        <pc:spChg chg="add del mod modVis">
          <ac:chgData name="Merlin Gutter" userId="2abc6f04-74af-430b-bdc8-569c3bfa1dda" providerId="ADAL" clId="{CB1EFBC3-10F5-3048-8961-5969497C0019}" dt="2022-11-25T00:16:52.117" v="203116"/>
          <ac:spMkLst>
            <pc:docMk/>
            <pc:sldMk cId="2192655461" sldId="406"/>
            <ac:spMk id="975" creationId="{178F34D1-E714-8053-5CB8-89E6AB69325C}"/>
          </ac:spMkLst>
        </pc:spChg>
        <pc:spChg chg="add del mod modVis">
          <ac:chgData name="Merlin Gutter" userId="2abc6f04-74af-430b-bdc8-569c3bfa1dda" providerId="ADAL" clId="{CB1EFBC3-10F5-3048-8961-5969497C0019}" dt="2022-11-25T00:16:52.240" v="203313"/>
          <ac:spMkLst>
            <pc:docMk/>
            <pc:sldMk cId="2192655461" sldId="406"/>
            <ac:spMk id="977" creationId="{A6EF8512-2145-3B55-AB2B-55158B8FFAFA}"/>
          </ac:spMkLst>
        </pc:spChg>
        <pc:spChg chg="add del mod modVis">
          <ac:chgData name="Merlin Gutter" userId="2abc6f04-74af-430b-bdc8-569c3bfa1dda" providerId="ADAL" clId="{CB1EFBC3-10F5-3048-8961-5969497C0019}" dt="2022-11-25T00:16:52.963" v="203618"/>
          <ac:spMkLst>
            <pc:docMk/>
            <pc:sldMk cId="2192655461" sldId="406"/>
            <ac:spMk id="979" creationId="{6664E1EE-C228-6B1E-50E3-D6C8F992055C}"/>
          </ac:spMkLst>
        </pc:spChg>
        <pc:spChg chg="add del mod modVis">
          <ac:chgData name="Merlin Gutter" userId="2abc6f04-74af-430b-bdc8-569c3bfa1dda" providerId="ADAL" clId="{CB1EFBC3-10F5-3048-8961-5969497C0019}" dt="2022-11-25T00:16:53.087" v="203815"/>
          <ac:spMkLst>
            <pc:docMk/>
            <pc:sldMk cId="2192655461" sldId="406"/>
            <ac:spMk id="981" creationId="{3E888A84-1933-A2FF-1CD1-F57171DCA684}"/>
          </ac:spMkLst>
        </pc:spChg>
        <pc:spChg chg="add del mod modVis">
          <ac:chgData name="Merlin Gutter" userId="2abc6f04-74af-430b-bdc8-569c3bfa1dda" providerId="ADAL" clId="{CB1EFBC3-10F5-3048-8961-5969497C0019}" dt="2022-11-25T00:16:56.130" v="204012"/>
          <ac:spMkLst>
            <pc:docMk/>
            <pc:sldMk cId="2192655461" sldId="406"/>
            <ac:spMk id="983" creationId="{59ED1EAD-E7E4-7E17-1A01-79CA40C64AC0}"/>
          </ac:spMkLst>
        </pc:spChg>
        <pc:spChg chg="add del mod modVis">
          <ac:chgData name="Merlin Gutter" userId="2abc6f04-74af-430b-bdc8-569c3bfa1dda" providerId="ADAL" clId="{CB1EFBC3-10F5-3048-8961-5969497C0019}" dt="2022-11-25T00:16:56.291" v="204209"/>
          <ac:spMkLst>
            <pc:docMk/>
            <pc:sldMk cId="2192655461" sldId="406"/>
            <ac:spMk id="985" creationId="{30E874E5-1420-6E42-031D-75C03F5F9170}"/>
          </ac:spMkLst>
        </pc:spChg>
        <pc:spChg chg="add del mod modVis">
          <ac:chgData name="Merlin Gutter" userId="2abc6f04-74af-430b-bdc8-569c3bfa1dda" providerId="ADAL" clId="{CB1EFBC3-10F5-3048-8961-5969497C0019}" dt="2022-11-25T00:17:07.881" v="204406"/>
          <ac:spMkLst>
            <pc:docMk/>
            <pc:sldMk cId="2192655461" sldId="406"/>
            <ac:spMk id="987" creationId="{1FD9C9AE-11B0-77CD-4846-5BEF01A358BB}"/>
          </ac:spMkLst>
        </pc:spChg>
        <pc:spChg chg="add del mod modVis">
          <ac:chgData name="Merlin Gutter" userId="2abc6f04-74af-430b-bdc8-569c3bfa1dda" providerId="ADAL" clId="{CB1EFBC3-10F5-3048-8961-5969497C0019}" dt="2022-11-25T00:17:08.223" v="204603"/>
          <ac:spMkLst>
            <pc:docMk/>
            <pc:sldMk cId="2192655461" sldId="406"/>
            <ac:spMk id="989" creationId="{6AAA41AE-3081-6FB4-257C-38B86DEB4636}"/>
          </ac:spMkLst>
        </pc:spChg>
        <pc:spChg chg="add del mod modVis">
          <ac:chgData name="Merlin Gutter" userId="2abc6f04-74af-430b-bdc8-569c3bfa1dda" providerId="ADAL" clId="{CB1EFBC3-10F5-3048-8961-5969497C0019}" dt="2022-11-25T00:17:11.211" v="204800"/>
          <ac:spMkLst>
            <pc:docMk/>
            <pc:sldMk cId="2192655461" sldId="406"/>
            <ac:spMk id="991" creationId="{4B00A8B6-1981-B40C-16E7-6C133D782D32}"/>
          </ac:spMkLst>
        </pc:spChg>
        <pc:spChg chg="add del mod modVis">
          <ac:chgData name="Merlin Gutter" userId="2abc6f04-74af-430b-bdc8-569c3bfa1dda" providerId="ADAL" clId="{CB1EFBC3-10F5-3048-8961-5969497C0019}" dt="2022-11-25T00:17:11.563" v="204997"/>
          <ac:spMkLst>
            <pc:docMk/>
            <pc:sldMk cId="2192655461" sldId="406"/>
            <ac:spMk id="993" creationId="{225F0473-39D0-7823-5C8A-459391D65825}"/>
          </ac:spMkLst>
        </pc:spChg>
        <pc:spChg chg="add del mod modVis">
          <ac:chgData name="Merlin Gutter" userId="2abc6f04-74af-430b-bdc8-569c3bfa1dda" providerId="ADAL" clId="{CB1EFBC3-10F5-3048-8961-5969497C0019}" dt="2022-11-25T00:17:12.972" v="205194"/>
          <ac:spMkLst>
            <pc:docMk/>
            <pc:sldMk cId="2192655461" sldId="406"/>
            <ac:spMk id="995" creationId="{CB54D249-53C3-CE8D-0ED4-78123AB3383F}"/>
          </ac:spMkLst>
        </pc:spChg>
        <pc:spChg chg="add del mod modVis">
          <ac:chgData name="Merlin Gutter" userId="2abc6f04-74af-430b-bdc8-569c3bfa1dda" providerId="ADAL" clId="{CB1EFBC3-10F5-3048-8961-5969497C0019}" dt="2022-11-25T00:17:13.248" v="205391"/>
          <ac:spMkLst>
            <pc:docMk/>
            <pc:sldMk cId="2192655461" sldId="406"/>
            <ac:spMk id="997" creationId="{221FBEC8-282B-93A2-C07D-3320DB8BA1C3}"/>
          </ac:spMkLst>
        </pc:spChg>
        <pc:grpChg chg="add del mod topLvl">
          <ac:chgData name="Merlin Gutter" userId="2abc6f04-74af-430b-bdc8-569c3bfa1dda" providerId="ADAL" clId="{CB1EFBC3-10F5-3048-8961-5969497C0019}" dt="2022-11-24T22:09:32.316" v="150596" actId="165"/>
          <ac:grpSpMkLst>
            <pc:docMk/>
            <pc:sldMk cId="2192655461" sldId="406"/>
            <ac:grpSpMk id="361" creationId="{7EE55F29-B04F-FA47-E5E0-DDDF5C856A5F}"/>
          </ac:grpSpMkLst>
        </pc:grpChg>
        <pc:grpChg chg="add del mod topLvl">
          <ac:chgData name="Merlin Gutter" userId="2abc6f04-74af-430b-bdc8-569c3bfa1dda" providerId="ADAL" clId="{CB1EFBC3-10F5-3048-8961-5969497C0019}" dt="2022-11-24T22:09:32.316" v="150596" actId="165"/>
          <ac:grpSpMkLst>
            <pc:docMk/>
            <pc:sldMk cId="2192655461" sldId="406"/>
            <ac:grpSpMk id="362" creationId="{FBFABD05-12E4-F8EB-4A3D-B0B2ECECECA6}"/>
          </ac:grpSpMkLst>
        </pc:grpChg>
        <pc:grpChg chg="add del mod topLvl">
          <ac:chgData name="Merlin Gutter" userId="2abc6f04-74af-430b-bdc8-569c3bfa1dda" providerId="ADAL" clId="{CB1EFBC3-10F5-3048-8961-5969497C0019}" dt="2022-11-24T22:09:32.316" v="150596" actId="165"/>
          <ac:grpSpMkLst>
            <pc:docMk/>
            <pc:sldMk cId="2192655461" sldId="406"/>
            <ac:grpSpMk id="363" creationId="{7C69D124-F131-D050-812E-0148F4D97C8A}"/>
          </ac:grpSpMkLst>
        </pc:grpChg>
        <pc:grpChg chg="add del mod">
          <ac:chgData name="Merlin Gutter" userId="2abc6f04-74af-430b-bdc8-569c3bfa1dda" providerId="ADAL" clId="{CB1EFBC3-10F5-3048-8961-5969497C0019}" dt="2022-11-24T22:09:31.878" v="150595" actId="165"/>
          <ac:grpSpMkLst>
            <pc:docMk/>
            <pc:sldMk cId="2192655461" sldId="406"/>
            <ac:grpSpMk id="366" creationId="{F4D582B5-AC05-98FF-55F3-0179DFB3264B}"/>
          </ac:grpSpMkLst>
        </pc:grpChg>
        <pc:graphicFrameChg chg="add del mod replST">
          <ac:chgData name="Merlin Gutter" userId="2abc6f04-74af-430b-bdc8-569c3bfa1dda" providerId="ADAL" clId="{CB1EFBC3-10F5-3048-8961-5969497C0019}" dt="2022-11-24T19:53:08.685" v="133061"/>
          <ac:graphicFrameMkLst>
            <pc:docMk/>
            <pc:sldMk cId="2192655461" sldId="406"/>
            <ac:graphicFrameMk id="21" creationId="{0A60A438-903A-854D-CB23-6C9BA5A6E87A}"/>
          </ac:graphicFrameMkLst>
        </pc:graphicFrameChg>
        <pc:graphicFrameChg chg="add mod modVis replST">
          <ac:chgData name="Merlin Gutter" userId="2abc6f04-74af-430b-bdc8-569c3bfa1dda" providerId="ADAL" clId="{CB1EFBC3-10F5-3048-8961-5969497C0019}" dt="2022-11-25T00:17:13.252" v="205393"/>
          <ac:graphicFrameMkLst>
            <pc:docMk/>
            <pc:sldMk cId="2192655461" sldId="406"/>
            <ac:graphicFrameMk id="22" creationId="{E31BC650-3C84-A8BF-22D5-9BC8063E52F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58:55.240" v="133158"/>
          <ac:graphicFrameMkLst>
            <pc:docMk/>
            <pc:sldMk cId="2192655461" sldId="406"/>
            <ac:graphicFrameMk id="24" creationId="{1F496671-27E7-9C9A-3616-229F9794132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58:57.447" v="133231"/>
          <ac:graphicFrameMkLst>
            <pc:docMk/>
            <pc:sldMk cId="2192655461" sldId="406"/>
            <ac:graphicFrameMk id="26" creationId="{10660A3D-1813-BC36-5FF3-B5508ECCCD5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58:59.805" v="133336"/>
          <ac:graphicFrameMkLst>
            <pc:docMk/>
            <pc:sldMk cId="2192655461" sldId="406"/>
            <ac:graphicFrameMk id="28" creationId="{74A5F90B-2688-E497-4F35-1DB9753D36E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59:13.720" v="133417"/>
          <ac:graphicFrameMkLst>
            <pc:docMk/>
            <pc:sldMk cId="2192655461" sldId="406"/>
            <ac:graphicFrameMk id="30" creationId="{1B79C439-7BAB-1E07-3E2D-CAF97778563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59:36.153" v="133518"/>
          <ac:graphicFrameMkLst>
            <pc:docMk/>
            <pc:sldMk cId="2192655461" sldId="406"/>
            <ac:graphicFrameMk id="32" creationId="{1E854AC8-253D-8EF8-DE10-DFF8E4DD3E9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59:52.489" v="133936"/>
          <ac:graphicFrameMkLst>
            <pc:docMk/>
            <pc:sldMk cId="2192655461" sldId="406"/>
            <ac:graphicFrameMk id="34" creationId="{62C99FDC-97D6-7DCE-5589-FB09BD904FF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19:59:52.599" v="134107"/>
          <ac:graphicFrameMkLst>
            <pc:docMk/>
            <pc:sldMk cId="2192655461" sldId="406"/>
            <ac:graphicFrameMk id="41" creationId="{23D065E6-1B23-F129-0DA9-D65AC6D2286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03.510" v="134211"/>
          <ac:graphicFrameMkLst>
            <pc:docMk/>
            <pc:sldMk cId="2192655461" sldId="406"/>
            <ac:graphicFrameMk id="44" creationId="{49794864-9131-B525-3A10-03571F5B6AA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03.606" v="134297"/>
          <ac:graphicFrameMkLst>
            <pc:docMk/>
            <pc:sldMk cId="2192655461" sldId="406"/>
            <ac:graphicFrameMk id="46" creationId="{3B4B0D89-6DDF-F250-D5BB-BFDA05DF22F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05.834" v="134419"/>
          <ac:graphicFrameMkLst>
            <pc:docMk/>
            <pc:sldMk cId="2192655461" sldId="406"/>
            <ac:graphicFrameMk id="48" creationId="{82D0FCC0-899A-57FA-C4D0-B306C77EB83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05.928" v="134505"/>
          <ac:graphicFrameMkLst>
            <pc:docMk/>
            <pc:sldMk cId="2192655461" sldId="406"/>
            <ac:graphicFrameMk id="50" creationId="{48E9D9A8-A14A-F92A-E990-8347A876330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25.264" v="134639"/>
          <ac:graphicFrameMkLst>
            <pc:docMk/>
            <pc:sldMk cId="2192655461" sldId="406"/>
            <ac:graphicFrameMk id="52" creationId="{785965BC-09DF-4CBC-4D72-37550FD16F8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25.340" v="134725"/>
          <ac:graphicFrameMkLst>
            <pc:docMk/>
            <pc:sldMk cId="2192655461" sldId="406"/>
            <ac:graphicFrameMk id="54" creationId="{F3F8C527-437F-38B7-262B-2FB15BD09B4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41.125" v="134859"/>
          <ac:graphicFrameMkLst>
            <pc:docMk/>
            <pc:sldMk cId="2192655461" sldId="406"/>
            <ac:graphicFrameMk id="56" creationId="{10FE273E-9C91-3163-C61B-F4F3BAAFBFB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41.205" v="134945"/>
          <ac:graphicFrameMkLst>
            <pc:docMk/>
            <pc:sldMk cId="2192655461" sldId="406"/>
            <ac:graphicFrameMk id="58" creationId="{79C9AD20-86C8-C677-2AEC-B1F5EEECA22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50.632" v="135073"/>
          <ac:graphicFrameMkLst>
            <pc:docMk/>
            <pc:sldMk cId="2192655461" sldId="406"/>
            <ac:graphicFrameMk id="60" creationId="{80B1CA71-E878-9FFC-3BB3-F145C767407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57.525" v="135503"/>
          <ac:graphicFrameMkLst>
            <pc:docMk/>
            <pc:sldMk cId="2192655461" sldId="406"/>
            <ac:graphicFrameMk id="62" creationId="{595CD014-1B41-005D-D746-183F4773163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0:57.627" v="135672"/>
          <ac:graphicFrameMkLst>
            <pc:docMk/>
            <pc:sldMk cId="2192655461" sldId="406"/>
            <ac:graphicFrameMk id="69" creationId="{E4581E5E-ABE9-36E2-52A1-B148F7CBC1F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10.149" v="135769"/>
          <ac:graphicFrameMkLst>
            <pc:docMk/>
            <pc:sldMk cId="2192655461" sldId="406"/>
            <ac:graphicFrameMk id="72" creationId="{3F120E1E-CB33-E63B-CF5D-00B3EB05A49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10.314" v="135854"/>
          <ac:graphicFrameMkLst>
            <pc:docMk/>
            <pc:sldMk cId="2192655461" sldId="406"/>
            <ac:graphicFrameMk id="75" creationId="{F6A38D4A-E3E8-9C5D-374A-39354B8BAA0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17.443" v="135947"/>
          <ac:graphicFrameMkLst>
            <pc:docMk/>
            <pc:sldMk cId="2192655461" sldId="406"/>
            <ac:graphicFrameMk id="77" creationId="{AE758F5A-E73F-269C-2958-19D5D9FFE5D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17.536" v="136032"/>
          <ac:graphicFrameMkLst>
            <pc:docMk/>
            <pc:sldMk cId="2192655461" sldId="406"/>
            <ac:graphicFrameMk id="79" creationId="{0DF2F798-8B02-73BF-CC89-E586CDF4077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22.178" v="136121"/>
          <ac:graphicFrameMkLst>
            <pc:docMk/>
            <pc:sldMk cId="2192655461" sldId="406"/>
            <ac:graphicFrameMk id="81" creationId="{B4B5E46E-0904-7A9F-0859-8825B8ECAE1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22.267" v="136206"/>
          <ac:graphicFrameMkLst>
            <pc:docMk/>
            <pc:sldMk cId="2192655461" sldId="406"/>
            <ac:graphicFrameMk id="83" creationId="{CA5CB624-5DB8-4F58-59BB-B63EDA68B18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25.108" v="136293"/>
          <ac:graphicFrameMkLst>
            <pc:docMk/>
            <pc:sldMk cId="2192655461" sldId="406"/>
            <ac:graphicFrameMk id="85" creationId="{986889E9-8C81-8B7A-C30A-6379C080E0B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25.195" v="136377"/>
          <ac:graphicFrameMkLst>
            <pc:docMk/>
            <pc:sldMk cId="2192655461" sldId="406"/>
            <ac:graphicFrameMk id="87" creationId="{D0373E7F-C72A-48A5-F050-DB633097DA0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37.729" v="136979"/>
          <ac:graphicFrameMkLst>
            <pc:docMk/>
            <pc:sldMk cId="2192655461" sldId="406"/>
            <ac:graphicFrameMk id="89" creationId="{4283677E-02C3-CDA6-38D2-5E81095FE5A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37.876" v="137201"/>
          <ac:graphicFrameMkLst>
            <pc:docMk/>
            <pc:sldMk cId="2192655461" sldId="406"/>
            <ac:graphicFrameMk id="96" creationId="{E7503886-2496-41EC-A13A-A3400F23C96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44.045" v="137303"/>
          <ac:graphicFrameMkLst>
            <pc:docMk/>
            <pc:sldMk cId="2192655461" sldId="406"/>
            <ac:graphicFrameMk id="100" creationId="{CAF65779-DBB1-6792-952B-DEFAA9DB511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44.162" v="137435"/>
          <ac:graphicFrameMkLst>
            <pc:docMk/>
            <pc:sldMk cId="2192655461" sldId="406"/>
            <ac:graphicFrameMk id="102" creationId="{6C7792B5-45DA-9257-79DB-15D487F2098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45.886" v="137539"/>
          <ac:graphicFrameMkLst>
            <pc:docMk/>
            <pc:sldMk cId="2192655461" sldId="406"/>
            <ac:graphicFrameMk id="107" creationId="{C5385831-31F6-0201-CD0B-14057A9AB1F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48.597" v="137955"/>
          <ac:graphicFrameMkLst>
            <pc:docMk/>
            <pc:sldMk cId="2192655461" sldId="406"/>
            <ac:graphicFrameMk id="109" creationId="{08417E2C-1AB3-47B5-DB02-CF2A880C577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1:48.724" v="138124"/>
          <ac:graphicFrameMkLst>
            <pc:docMk/>
            <pc:sldMk cId="2192655461" sldId="406"/>
            <ac:graphicFrameMk id="116" creationId="{7F74ABBB-970B-25AC-CF66-CD42FA43559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11.738" v="138496"/>
          <ac:graphicFrameMkLst>
            <pc:docMk/>
            <pc:sldMk cId="2192655461" sldId="406"/>
            <ac:graphicFrameMk id="119" creationId="{DB9CC250-C1A4-4F4A-ACE6-F3CF69988BE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11.848" v="138581"/>
          <ac:graphicFrameMkLst>
            <pc:docMk/>
            <pc:sldMk cId="2192655461" sldId="406"/>
            <ac:graphicFrameMk id="124" creationId="{7EBB521C-3894-B902-1DD1-12F0C680C6A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13.454" v="138927"/>
          <ac:graphicFrameMkLst>
            <pc:docMk/>
            <pc:sldMk cId="2192655461" sldId="406"/>
            <ac:graphicFrameMk id="126" creationId="{6F557844-D466-B763-25AC-AFBA8860B6D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13.583" v="139059"/>
          <ac:graphicFrameMkLst>
            <pc:docMk/>
            <pc:sldMk cId="2192655461" sldId="406"/>
            <ac:graphicFrameMk id="133" creationId="{47FB3EB8-E27D-110F-4EDA-3B911D8788A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38.229" v="139186"/>
          <ac:graphicFrameMkLst>
            <pc:docMk/>
            <pc:sldMk cId="2192655461" sldId="406"/>
            <ac:graphicFrameMk id="135" creationId="{BA893D27-31B9-AF83-A781-5AF24D9F853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38.331" v="139311"/>
          <ac:graphicFrameMkLst>
            <pc:docMk/>
            <pc:sldMk cId="2192655461" sldId="406"/>
            <ac:graphicFrameMk id="137" creationId="{ED9BD418-D075-F281-82BB-E1111B93DE1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0.149" v="139871"/>
          <ac:graphicFrameMkLst>
            <pc:docMk/>
            <pc:sldMk cId="2192655461" sldId="406"/>
            <ac:graphicFrameMk id="140" creationId="{41B5A3E8-105D-BDBF-41C0-B985DC12CAF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0.358" v="140017"/>
          <ac:graphicFrameMkLst>
            <pc:docMk/>
            <pc:sldMk cId="2192655461" sldId="406"/>
            <ac:graphicFrameMk id="149" creationId="{9DFF2274-12F6-6F61-91B9-70A83ED5B4A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2.345" v="140190"/>
          <ac:graphicFrameMkLst>
            <pc:docMk/>
            <pc:sldMk cId="2192655461" sldId="406"/>
            <ac:graphicFrameMk id="151" creationId="{7BD114D6-9B7E-C3E3-9A37-03705378059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2.639" v="140382"/>
          <ac:graphicFrameMkLst>
            <pc:docMk/>
            <pc:sldMk cId="2192655461" sldId="406"/>
            <ac:graphicFrameMk id="153" creationId="{4FFFA0AD-7B65-28DC-D2F7-15DD7BEBFE7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2.805" v="140510"/>
          <ac:graphicFrameMkLst>
            <pc:docMk/>
            <pc:sldMk cId="2192655461" sldId="406"/>
            <ac:graphicFrameMk id="155" creationId="{382689B9-CC5B-19F7-B245-EF8458B24AE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2.900" v="140596"/>
          <ac:graphicFrameMkLst>
            <pc:docMk/>
            <pc:sldMk cId="2192655461" sldId="406"/>
            <ac:graphicFrameMk id="157" creationId="{629D512B-DDC8-3D61-C590-3F6DFCA9370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4.428" v="140821"/>
          <ac:graphicFrameMkLst>
            <pc:docMk/>
            <pc:sldMk cId="2192655461" sldId="406"/>
            <ac:graphicFrameMk id="159" creationId="{EF50F0A0-A416-FE98-8E92-116632B61FE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4.598" v="140937"/>
          <ac:graphicFrameMkLst>
            <pc:docMk/>
            <pc:sldMk cId="2192655461" sldId="406"/>
            <ac:graphicFrameMk id="163" creationId="{E1275E8F-A886-713D-0D9B-DCC901E7EB9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6.880" v="141053"/>
          <ac:graphicFrameMkLst>
            <pc:docMk/>
            <pc:sldMk cId="2192655461" sldId="406"/>
            <ac:graphicFrameMk id="165" creationId="{6EE95272-3B22-52E6-2F8C-B143B184714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6.993" v="141169"/>
          <ac:graphicFrameMkLst>
            <pc:docMk/>
            <pc:sldMk cId="2192655461" sldId="406"/>
            <ac:graphicFrameMk id="167" creationId="{95D9EA3B-2E26-BFD1-054C-F02A5B567D0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9.138" v="141307"/>
          <ac:graphicFrameMkLst>
            <pc:docMk/>
            <pc:sldMk cId="2192655461" sldId="406"/>
            <ac:graphicFrameMk id="169" creationId="{14F6B6BE-2DB1-5F7E-3BAE-C2146DCE62B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9.304" v="141439"/>
          <ac:graphicFrameMkLst>
            <pc:docMk/>
            <pc:sldMk cId="2192655461" sldId="406"/>
            <ac:graphicFrameMk id="171" creationId="{91C1F118-C724-560E-A0AF-51D374BA42F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9.403" v="141525"/>
          <ac:graphicFrameMkLst>
            <pc:docMk/>
            <pc:sldMk cId="2192655461" sldId="406"/>
            <ac:graphicFrameMk id="173" creationId="{0426492B-C64C-2D07-5AA9-DFAA07594F9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49.488" v="141611"/>
          <ac:graphicFrameMkLst>
            <pc:docMk/>
            <pc:sldMk cId="2192655461" sldId="406"/>
            <ac:graphicFrameMk id="175" creationId="{6C49A846-EB3F-3D83-7E9D-5A631D9EC8E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52.723" v="141703"/>
          <ac:graphicFrameMkLst>
            <pc:docMk/>
            <pc:sldMk cId="2192655461" sldId="406"/>
            <ac:graphicFrameMk id="177" creationId="{0FDC85F6-E02D-9595-53A2-74F0A3BC5A7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52.814" v="141789"/>
          <ac:graphicFrameMkLst>
            <pc:docMk/>
            <pc:sldMk cId="2192655461" sldId="406"/>
            <ac:graphicFrameMk id="179" creationId="{7A1A7DFD-F0FD-2696-D3AF-5FFED4FA7BF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56.091" v="141881"/>
          <ac:graphicFrameMkLst>
            <pc:docMk/>
            <pc:sldMk cId="2192655461" sldId="406"/>
            <ac:graphicFrameMk id="181" creationId="{160F6690-4599-290A-7442-E10BE427447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2:56.180" v="141967"/>
          <ac:graphicFrameMkLst>
            <pc:docMk/>
            <pc:sldMk cId="2192655461" sldId="406"/>
            <ac:graphicFrameMk id="183" creationId="{8B96FF63-F07E-8E0D-1872-35DF78F11F4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00.674" v="142076"/>
          <ac:graphicFrameMkLst>
            <pc:docMk/>
            <pc:sldMk cId="2192655461" sldId="406"/>
            <ac:graphicFrameMk id="185" creationId="{A2C64BE5-531B-CBE4-FBA9-6B295561544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00.813" v="142162"/>
          <ac:graphicFrameMkLst>
            <pc:docMk/>
            <pc:sldMk cId="2192655461" sldId="406"/>
            <ac:graphicFrameMk id="187" creationId="{9C92081A-039B-F4F6-745D-2C213E653BD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03.883" v="142292"/>
          <ac:graphicFrameMkLst>
            <pc:docMk/>
            <pc:sldMk cId="2192655461" sldId="406"/>
            <ac:graphicFrameMk id="189" creationId="{5F46FA5C-B635-315D-CFC3-28CFEB7B12E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03.980" v="142378"/>
          <ac:graphicFrameMkLst>
            <pc:docMk/>
            <pc:sldMk cId="2192655461" sldId="406"/>
            <ac:graphicFrameMk id="191" creationId="{520CADAD-DFD1-11B9-D818-131AAB038C8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5:52.814" v="144197"/>
          <ac:graphicFrameMkLst>
            <pc:docMk/>
            <pc:sldMk cId="2192655461" sldId="406"/>
            <ac:graphicFrameMk id="193" creationId="{B119F918-880C-DD24-98DE-4D2279815EA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20.431" v="142618"/>
          <ac:graphicFrameMkLst>
            <pc:docMk/>
            <pc:sldMk cId="2192655461" sldId="406"/>
            <ac:graphicFrameMk id="194" creationId="{B1833235-21FF-5CB4-B585-3D3BF841AC3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20.539" v="142714"/>
          <ac:graphicFrameMkLst>
            <pc:docMk/>
            <pc:sldMk cId="2192655461" sldId="406"/>
            <ac:graphicFrameMk id="205" creationId="{07AE840C-A56A-4423-D7D6-7C220DF2D27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43.262" v="142869"/>
          <ac:graphicFrameMkLst>
            <pc:docMk/>
            <pc:sldMk cId="2192655461" sldId="406"/>
            <ac:graphicFrameMk id="207" creationId="{B3A635B3-0154-F858-EE55-83361608C34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43.342" v="143001"/>
          <ac:graphicFrameMkLst>
            <pc:docMk/>
            <pc:sldMk cId="2192655461" sldId="406"/>
            <ac:graphicFrameMk id="212" creationId="{A0090363-0AE2-C945-B4AD-BBC856152CB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56.792" v="143123"/>
          <ac:graphicFrameMkLst>
            <pc:docMk/>
            <pc:sldMk cId="2192655461" sldId="406"/>
            <ac:graphicFrameMk id="214" creationId="{386EF543-1EC7-32B4-405C-EF92FA47FB8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3:56.861" v="143218"/>
          <ac:graphicFrameMkLst>
            <pc:docMk/>
            <pc:sldMk cId="2192655461" sldId="406"/>
            <ac:graphicFrameMk id="216" creationId="{2F6C6AD6-953A-2F1E-8539-E0F64B70184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5:56.878" v="144420"/>
          <ac:graphicFrameMkLst>
            <pc:docMk/>
            <pc:sldMk cId="2192655461" sldId="406"/>
            <ac:graphicFrameMk id="218" creationId="{A365B740-4064-05F5-42C2-8B119D4B08E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4:09.516" v="143458"/>
          <ac:graphicFrameMkLst>
            <pc:docMk/>
            <pc:sldMk cId="2192655461" sldId="406"/>
            <ac:graphicFrameMk id="219" creationId="{67D8AC31-1317-57A8-276A-66A5084B474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4:09.617" v="143562"/>
          <ac:graphicFrameMkLst>
            <pc:docMk/>
            <pc:sldMk cId="2192655461" sldId="406"/>
            <ac:graphicFrameMk id="229" creationId="{AA4C6A4E-5B0E-F299-7030-B95C3E3A88C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4:43.805" v="143697"/>
          <ac:graphicFrameMkLst>
            <pc:docMk/>
            <pc:sldMk cId="2192655461" sldId="406"/>
            <ac:graphicFrameMk id="231" creationId="{15A36E91-8F99-E058-0DE0-A9A300A1387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4:43.893" v="143845"/>
          <ac:graphicFrameMkLst>
            <pc:docMk/>
            <pc:sldMk cId="2192655461" sldId="406"/>
            <ac:graphicFrameMk id="234" creationId="{0AAA904F-2800-E95B-9501-C6F726B36F2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4:54.304" v="143976"/>
          <ac:graphicFrameMkLst>
            <pc:docMk/>
            <pc:sldMk cId="2192655461" sldId="406"/>
            <ac:graphicFrameMk id="237" creationId="{32175A7E-B5C2-CB9E-0CB7-A43D53AAE51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4:54.374" v="144080"/>
          <ac:graphicFrameMkLst>
            <pc:docMk/>
            <pc:sldMk cId="2192655461" sldId="406"/>
            <ac:graphicFrameMk id="239" creationId="{452E1CA8-3CD9-CC72-0867-45C86C2D430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5:59.722" v="144645"/>
          <ac:graphicFrameMkLst>
            <pc:docMk/>
            <pc:sldMk cId="2192655461" sldId="406"/>
            <ac:graphicFrameMk id="241" creationId="{2405ACAC-E5C4-B816-ED37-530497B6D71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5:52.988" v="144302"/>
          <ac:graphicFrameMkLst>
            <pc:docMk/>
            <pc:sldMk cId="2192655461" sldId="406"/>
            <ac:graphicFrameMk id="244" creationId="{833D62A8-EF6D-38A8-5CF9-6B63D2F3EC2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20.138" v="145505"/>
          <ac:graphicFrameMkLst>
            <pc:docMk/>
            <pc:sldMk cId="2192655461" sldId="406"/>
            <ac:graphicFrameMk id="246" creationId="{1C1B539B-1258-1576-AD13-8F9A0E94D32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5:57.033" v="144526"/>
          <ac:graphicFrameMkLst>
            <pc:docMk/>
            <pc:sldMk cId="2192655461" sldId="406"/>
            <ac:graphicFrameMk id="249" creationId="{D4B6D0BD-F71D-84E6-79C0-970627343EC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14.439" v="145293"/>
          <ac:graphicFrameMkLst>
            <pc:docMk/>
            <pc:sldMk cId="2192655461" sldId="406"/>
            <ac:graphicFrameMk id="251" creationId="{3B2726AE-86D7-663F-BF7F-316CE30C161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5:59.871" v="144752"/>
          <ac:graphicFrameMkLst>
            <pc:docMk/>
            <pc:sldMk cId="2192655461" sldId="406"/>
            <ac:graphicFrameMk id="254" creationId="{E111CEE1-D5E2-BF64-778B-5A050E881D8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04.427" v="144863"/>
          <ac:graphicFrameMkLst>
            <pc:docMk/>
            <pc:sldMk cId="2192655461" sldId="406"/>
            <ac:graphicFrameMk id="256" creationId="{7E279A58-CB2B-95F2-8109-E9D71C708A8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04.590" v="144969"/>
          <ac:graphicFrameMkLst>
            <pc:docMk/>
            <pc:sldMk cId="2192655461" sldId="406"/>
            <ac:graphicFrameMk id="258" creationId="{6794FA30-E36E-16E6-D3E5-7B10C2258A0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07.642" v="145075"/>
          <ac:graphicFrameMkLst>
            <pc:docMk/>
            <pc:sldMk cId="2192655461" sldId="406"/>
            <ac:graphicFrameMk id="260" creationId="{BD87F38C-0DC7-9313-8BC5-65644F61B43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07.791" v="145181"/>
          <ac:graphicFrameMkLst>
            <pc:docMk/>
            <pc:sldMk cId="2192655461" sldId="406"/>
            <ac:graphicFrameMk id="262" creationId="{FD497700-20B5-FFEE-3773-A0AA9C406D2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19.515" v="146964"/>
          <ac:graphicFrameMkLst>
            <pc:docMk/>
            <pc:sldMk cId="2192655461" sldId="406"/>
            <ac:graphicFrameMk id="264" creationId="{B9555C0C-9A54-1879-F70C-E1CA470182B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14.600" v="145398"/>
          <ac:graphicFrameMkLst>
            <pc:docMk/>
            <pc:sldMk cId="2192655461" sldId="406"/>
            <ac:graphicFrameMk id="266" creationId="{F9CDA810-E3A7-A998-4DD9-72B6B494F18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08.418" v="146547"/>
          <ac:graphicFrameMkLst>
            <pc:docMk/>
            <pc:sldMk cId="2192655461" sldId="406"/>
            <ac:graphicFrameMk id="268" creationId="{57960A61-9050-A4B1-4613-1FAB880CF10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20.305" v="145609"/>
          <ac:graphicFrameMkLst>
            <pc:docMk/>
            <pc:sldMk cId="2192655461" sldId="406"/>
            <ac:graphicFrameMk id="270" creationId="{8CE12790-6F05-079D-5DFC-5E5906701CF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28.293" v="145713"/>
          <ac:graphicFrameMkLst>
            <pc:docMk/>
            <pc:sldMk cId="2192655461" sldId="406"/>
            <ac:graphicFrameMk id="272" creationId="{88D14A23-0CD6-4129-DC7F-F3FBF96A882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28.460" v="145817"/>
          <ac:graphicFrameMkLst>
            <pc:docMk/>
            <pc:sldMk cId="2192655461" sldId="406"/>
            <ac:graphicFrameMk id="274" creationId="{65FD2736-B8C5-BBF2-D01F-3B9863E329D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31.680" v="145921"/>
          <ac:graphicFrameMkLst>
            <pc:docMk/>
            <pc:sldMk cId="2192655461" sldId="406"/>
            <ac:graphicFrameMk id="276" creationId="{95A72AFC-A17D-F3C6-CE59-2D021EF3753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31.840" v="146025"/>
          <ac:graphicFrameMkLst>
            <pc:docMk/>
            <pc:sldMk cId="2192655461" sldId="406"/>
            <ac:graphicFrameMk id="278" creationId="{F8D3EC5E-DE6A-116B-736B-97430451D40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40.380" v="146129"/>
          <ac:graphicFrameMkLst>
            <pc:docMk/>
            <pc:sldMk cId="2192655461" sldId="406"/>
            <ac:graphicFrameMk id="280" creationId="{61DC2B49-257D-2972-AC45-E303210FF0F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40.593" v="146234"/>
          <ac:graphicFrameMkLst>
            <pc:docMk/>
            <pc:sldMk cId="2192655461" sldId="406"/>
            <ac:graphicFrameMk id="282" creationId="{2E73CD2E-0CAE-B644-017E-CFF37968D71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57.224" v="146338"/>
          <ac:graphicFrameMkLst>
            <pc:docMk/>
            <pc:sldMk cId="2192655461" sldId="406"/>
            <ac:graphicFrameMk id="284" creationId="{54CCF41A-1ACC-9272-1397-CF4E4FC1239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6:57.421" v="146443"/>
          <ac:graphicFrameMkLst>
            <pc:docMk/>
            <pc:sldMk cId="2192655461" sldId="406"/>
            <ac:graphicFrameMk id="286" creationId="{31B00AE6-396F-E7E9-6A02-A9277B3A9EC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8:29.680" v="148008"/>
          <ac:graphicFrameMkLst>
            <pc:docMk/>
            <pc:sldMk cId="2192655461" sldId="406"/>
            <ac:graphicFrameMk id="288" creationId="{C92BC63E-AB3F-B199-45C6-BEBF6E49968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08.585" v="146651"/>
          <ac:graphicFrameMkLst>
            <pc:docMk/>
            <pc:sldMk cId="2192655461" sldId="406"/>
            <ac:graphicFrameMk id="290" creationId="{64B3F125-9568-35C1-E880-27BD79E58E3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12.204" v="146755"/>
          <ac:graphicFrameMkLst>
            <pc:docMk/>
            <pc:sldMk cId="2192655461" sldId="406"/>
            <ac:graphicFrameMk id="292" creationId="{43133648-1670-76A1-86DF-EBD22A400D1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12.420" v="146860"/>
          <ac:graphicFrameMkLst>
            <pc:docMk/>
            <pc:sldMk cId="2192655461" sldId="406"/>
            <ac:graphicFrameMk id="294" creationId="{1CFD374C-568F-A54A-04B1-2B6BA301813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8:19.516" v="147799"/>
          <ac:graphicFrameMkLst>
            <pc:docMk/>
            <pc:sldMk cId="2192655461" sldId="406"/>
            <ac:graphicFrameMk id="296" creationId="{F06B31C5-7DA0-0C53-D917-351A4F0CD26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19.677" v="147069"/>
          <ac:graphicFrameMkLst>
            <pc:docMk/>
            <pc:sldMk cId="2192655461" sldId="406"/>
            <ac:graphicFrameMk id="298" creationId="{51DB7F1A-0163-0D66-D0E5-56F8C6294E4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22.645" v="147173"/>
          <ac:graphicFrameMkLst>
            <pc:docMk/>
            <pc:sldMk cId="2192655461" sldId="406"/>
            <ac:graphicFrameMk id="300" creationId="{9594D88F-E9B8-5C63-33C1-10083A4C2CD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22.800" v="147277"/>
          <ac:graphicFrameMkLst>
            <pc:docMk/>
            <pc:sldMk cId="2192655461" sldId="406"/>
            <ac:graphicFrameMk id="302" creationId="{B584CF23-C900-9CD7-A30C-70ABD788903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36.122" v="147381"/>
          <ac:graphicFrameMkLst>
            <pc:docMk/>
            <pc:sldMk cId="2192655461" sldId="406"/>
            <ac:graphicFrameMk id="304" creationId="{472DE41C-1953-3EB6-E323-BE3CE9CEEF0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36.284" v="147486"/>
          <ac:graphicFrameMkLst>
            <pc:docMk/>
            <pc:sldMk cId="2192655461" sldId="406"/>
            <ac:graphicFrameMk id="306" creationId="{C1B5D723-0468-0AEF-ADA9-48B5CF23C82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45.594" v="147590"/>
          <ac:graphicFrameMkLst>
            <pc:docMk/>
            <pc:sldMk cId="2192655461" sldId="406"/>
            <ac:graphicFrameMk id="308" creationId="{EC172557-D3C0-5A9C-CFBB-F99CB081FE9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7:45.783" v="147695"/>
          <ac:graphicFrameMkLst>
            <pc:docMk/>
            <pc:sldMk cId="2192655461" sldId="406"/>
            <ac:graphicFrameMk id="310" creationId="{50B2646D-5F0A-6287-AC3B-51D09240642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9:18.122" v="149868"/>
          <ac:graphicFrameMkLst>
            <pc:docMk/>
            <pc:sldMk cId="2192655461" sldId="406"/>
            <ac:graphicFrameMk id="312" creationId="{DC7C5ABC-BAAE-29DA-6740-5E9A93E0E5F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8:19.689" v="147904"/>
          <ac:graphicFrameMkLst>
            <pc:docMk/>
            <pc:sldMk cId="2192655461" sldId="406"/>
            <ac:graphicFrameMk id="314" creationId="{8025384B-FBC3-C8F8-EF0F-5D19A896C21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9:15.818" v="149611"/>
          <ac:graphicFrameMkLst>
            <pc:docMk/>
            <pc:sldMk cId="2192655461" sldId="406"/>
            <ac:graphicFrameMk id="316" creationId="{4191F776-642D-14DE-3271-AF47A593B6D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8:29.887" v="148113"/>
          <ac:graphicFrameMkLst>
            <pc:docMk/>
            <pc:sldMk cId="2192655461" sldId="406"/>
            <ac:graphicFrameMk id="318" creationId="{DF7C7D2A-7C31-FBBF-62DA-D7CBAA347A7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09:52.438" v="151458"/>
          <ac:graphicFrameMkLst>
            <pc:docMk/>
            <pc:sldMk cId="2192655461" sldId="406"/>
            <ac:graphicFrameMk id="320" creationId="{B9C03E33-58D2-D9C1-0B94-42164A57B280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24T20:09:11.263" v="149499"/>
          <ac:graphicFrameMkLst>
            <pc:docMk/>
            <pc:sldMk cId="2192655461" sldId="406"/>
            <ac:graphicFrameMk id="322" creationId="{4666EDDB-0220-DA13-07B3-12CFB35B9F27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24T20:09:11.263" v="149499"/>
          <ac:graphicFrameMkLst>
            <pc:docMk/>
            <pc:sldMk cId="2192655461" sldId="406"/>
            <ac:graphicFrameMk id="324" creationId="{5815756B-339F-C603-715B-DF39CC48F785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24T20:09:10.515" v="149373"/>
          <ac:graphicFrameMkLst>
            <pc:docMk/>
            <pc:sldMk cId="2192655461" sldId="406"/>
            <ac:graphicFrameMk id="326" creationId="{8358511D-9BB7-3B6F-D9F9-9E0505992A4E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4T20:09:10.515" v="149373"/>
          <ac:graphicFrameMkLst>
            <pc:docMk/>
            <pc:sldMk cId="2192655461" sldId="406"/>
            <ac:graphicFrameMk id="328" creationId="{4C106728-3CAD-09B4-8E2E-C4D8DF7F3C13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24T20:09:10.110" v="149253"/>
          <ac:graphicFrameMkLst>
            <pc:docMk/>
            <pc:sldMk cId="2192655461" sldId="406"/>
            <ac:graphicFrameMk id="330" creationId="{04AD4B19-5CA7-2068-BE88-16790E0B9262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24T20:09:10.110" v="149253"/>
          <ac:graphicFrameMkLst>
            <pc:docMk/>
            <pc:sldMk cId="2192655461" sldId="406"/>
            <ac:graphicFrameMk id="332" creationId="{3E60A317-79BC-762C-9879-0EF2014B4A62}"/>
          </ac:graphicFrameMkLst>
        </pc:graphicFrameChg>
        <pc:graphicFrameChg chg="add del mod replST delST">
          <ac:chgData name="Merlin Gutter" userId="2abc6f04-74af-430b-bdc8-569c3bfa1dda" providerId="ADAL" clId="{CB1EFBC3-10F5-3048-8961-5969497C0019}" dt="2022-11-24T20:09:09.652" v="149135"/>
          <ac:graphicFrameMkLst>
            <pc:docMk/>
            <pc:sldMk cId="2192655461" sldId="406"/>
            <ac:graphicFrameMk id="334" creationId="{66FA497E-15E1-DC74-7BA4-5B65B61FAB60}"/>
          </ac:graphicFrameMkLst>
        </pc:graphicFrameChg>
        <pc:graphicFrameChg chg="add mod replST delST">
          <ac:chgData name="Merlin Gutter" userId="2abc6f04-74af-430b-bdc8-569c3bfa1dda" providerId="ADAL" clId="{CB1EFBC3-10F5-3048-8961-5969497C0019}" dt="2022-11-24T20:09:09.652" v="149135"/>
          <ac:graphicFrameMkLst>
            <pc:docMk/>
            <pc:sldMk cId="2192655461" sldId="406"/>
            <ac:graphicFrameMk id="336" creationId="{751C06EB-AE7E-9756-EBEB-AFAB9BCD118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9:15.925" v="149715"/>
          <ac:graphicFrameMkLst>
            <pc:docMk/>
            <pc:sldMk cId="2192655461" sldId="406"/>
            <ac:graphicFrameMk id="338" creationId="{5C4A1C70-6E7C-9CBC-DDD8-890585E37C3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9:23.104" v="150098"/>
          <ac:graphicFrameMkLst>
            <pc:docMk/>
            <pc:sldMk cId="2192655461" sldId="406"/>
            <ac:graphicFrameMk id="340" creationId="{04B91789-B56A-3CF9-A3FC-B38B56E8CB9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9:18.214" v="149972"/>
          <ac:graphicFrameMkLst>
            <pc:docMk/>
            <pc:sldMk cId="2192655461" sldId="406"/>
            <ac:graphicFrameMk id="342" creationId="{D324260D-23FA-8268-2E2C-9090FD13C5E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09:41.093" v="150675"/>
          <ac:graphicFrameMkLst>
            <pc:docMk/>
            <pc:sldMk cId="2192655461" sldId="406"/>
            <ac:graphicFrameMk id="344" creationId="{A6EB360A-125C-9282-1322-E3F2AB779DA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0:09:23.207" v="150202"/>
          <ac:graphicFrameMkLst>
            <pc:docMk/>
            <pc:sldMk cId="2192655461" sldId="406"/>
            <ac:graphicFrameMk id="346" creationId="{60480388-54A4-5297-3C0D-4BCEF6F9F14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09:48.794" v="151177"/>
          <ac:graphicFrameMkLst>
            <pc:docMk/>
            <pc:sldMk cId="2192655461" sldId="406"/>
            <ac:graphicFrameMk id="348" creationId="{6489101F-C865-B766-2A0C-313F4F93CEF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09:41.222" v="150790"/>
          <ac:graphicFrameMkLst>
            <pc:docMk/>
            <pc:sldMk cId="2192655461" sldId="406"/>
            <ac:graphicFrameMk id="368" creationId="{E4017679-02FE-3408-E514-D88455DA554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09:44.134" v="150925"/>
          <ac:graphicFrameMkLst>
            <pc:docMk/>
            <pc:sldMk cId="2192655461" sldId="406"/>
            <ac:graphicFrameMk id="370" creationId="{3046620E-FC11-81A2-3B99-07ABBE1601A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09:44.235" v="151040"/>
          <ac:graphicFrameMkLst>
            <pc:docMk/>
            <pc:sldMk cId="2192655461" sldId="406"/>
            <ac:graphicFrameMk id="372" creationId="{EEE7AC9A-BBE0-F276-1F0E-2E5895F72EC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3:58.800" v="152888"/>
          <ac:graphicFrameMkLst>
            <pc:docMk/>
            <pc:sldMk cId="2192655461" sldId="406"/>
            <ac:graphicFrameMk id="374" creationId="{6089BFCE-AE55-72D6-AE19-25F7F1113BC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09:48.916" v="151292"/>
          <ac:graphicFrameMkLst>
            <pc:docMk/>
            <pc:sldMk cId="2192655461" sldId="406"/>
            <ac:graphicFrameMk id="376" creationId="{02D1B414-31D6-04D2-CCC1-4B8CE1AACB9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10:48.511" v="151993"/>
          <ac:graphicFrameMkLst>
            <pc:docMk/>
            <pc:sldMk cId="2192655461" sldId="406"/>
            <ac:graphicFrameMk id="378" creationId="{000AE0AB-AE72-77C5-558C-5E3D9941AB5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09:52.551" v="151573"/>
          <ac:graphicFrameMkLst>
            <pc:docMk/>
            <pc:sldMk cId="2192655461" sldId="406"/>
            <ac:graphicFrameMk id="380" creationId="{6A453812-6559-572F-D457-07D07C3D773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10:24.995" v="151718"/>
          <ac:graphicFrameMkLst>
            <pc:docMk/>
            <pc:sldMk cId="2192655461" sldId="406"/>
            <ac:graphicFrameMk id="382" creationId="{32F84A70-A28B-5E26-593B-EBFF9FA7942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10:25.120" v="151833"/>
          <ac:graphicFrameMkLst>
            <pc:docMk/>
            <pc:sldMk cId="2192655461" sldId="406"/>
            <ac:graphicFrameMk id="384" creationId="{5971A324-9870-0258-4D38-DE244DC3458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11.278" v="153362"/>
          <ac:graphicFrameMkLst>
            <pc:docMk/>
            <pc:sldMk cId="2192655461" sldId="406"/>
            <ac:graphicFrameMk id="386" creationId="{EEF8910A-ABCA-4392-F3AD-553E4A22D7F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10:48.631" v="152108"/>
          <ac:graphicFrameMkLst>
            <pc:docMk/>
            <pc:sldMk cId="2192655461" sldId="406"/>
            <ac:graphicFrameMk id="388" creationId="{BF5C6B26-06FE-BF56-1161-F7CAD628799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3:19.293" v="152406"/>
          <ac:graphicFrameMkLst>
            <pc:docMk/>
            <pc:sldMk cId="2192655461" sldId="406"/>
            <ac:graphicFrameMk id="390" creationId="{ABB32B8B-4780-A733-B055-3593D8875C4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3:19.472" v="152521"/>
          <ac:graphicFrameMkLst>
            <pc:docMk/>
            <pc:sldMk cId="2192655461" sldId="406"/>
            <ac:graphicFrameMk id="392" creationId="{840AF031-FC95-5D8D-374E-3A73B0400ED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3:22.777" v="152644"/>
          <ac:graphicFrameMkLst>
            <pc:docMk/>
            <pc:sldMk cId="2192655461" sldId="406"/>
            <ac:graphicFrameMk id="394" creationId="{7F1720FF-92F2-1B03-A570-1A378C9481B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3:22.907" v="152759"/>
          <ac:graphicFrameMkLst>
            <pc:docMk/>
            <pc:sldMk cId="2192655461" sldId="406"/>
            <ac:graphicFrameMk id="396" creationId="{100C40FD-ED00-BA8E-EB77-B7596198DC3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13.612" v="158704"/>
          <ac:graphicFrameMkLst>
            <pc:docMk/>
            <pc:sldMk cId="2192655461" sldId="406"/>
            <ac:graphicFrameMk id="398" creationId="{7C850592-7CFB-D8D1-D6BD-1DF864B96DD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3:58.922" v="153003"/>
          <ac:graphicFrameMkLst>
            <pc:docMk/>
            <pc:sldMk cId="2192655461" sldId="406"/>
            <ac:graphicFrameMk id="400" creationId="{6CAADCCC-0727-F81C-41B5-CA6A923F851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06.188" v="153128"/>
          <ac:graphicFrameMkLst>
            <pc:docMk/>
            <pc:sldMk cId="2192655461" sldId="406"/>
            <ac:graphicFrameMk id="402" creationId="{99085A24-22F1-6530-2D51-7E8414B29B0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06.295" v="153243"/>
          <ac:graphicFrameMkLst>
            <pc:docMk/>
            <pc:sldMk cId="2192655461" sldId="406"/>
            <ac:graphicFrameMk id="404" creationId="{87D35927-62BA-1220-EEC7-D9C893FC1AD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26.214" v="160263"/>
          <ac:graphicFrameMkLst>
            <pc:docMk/>
            <pc:sldMk cId="2192655461" sldId="406"/>
            <ac:graphicFrameMk id="406" creationId="{CB9FB1B3-B595-D870-30AC-E56A15CBC63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11.399" v="153477"/>
          <ac:graphicFrameMkLst>
            <pc:docMk/>
            <pc:sldMk cId="2192655461" sldId="406"/>
            <ac:graphicFrameMk id="408" creationId="{F9E60C8A-DBC3-E2D5-F3B4-E2C536B5ACB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14.290" v="153606"/>
          <ac:graphicFrameMkLst>
            <pc:docMk/>
            <pc:sldMk cId="2192655461" sldId="406"/>
            <ac:graphicFrameMk id="410" creationId="{632C7B7F-9A0F-AE57-AC8E-9C3A118BD69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14.417" v="153721"/>
          <ac:graphicFrameMkLst>
            <pc:docMk/>
            <pc:sldMk cId="2192655461" sldId="406"/>
            <ac:graphicFrameMk id="412" creationId="{881B1D02-262D-7401-12D1-DD038801F69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22.295" v="154310"/>
          <ac:graphicFrameMkLst>
            <pc:docMk/>
            <pc:sldMk cId="2192655461" sldId="406"/>
            <ac:graphicFrameMk id="414" creationId="{6017511E-C5F9-29D0-F15B-0F89C78BB68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22.596" v="154485"/>
          <ac:graphicFrameMkLst>
            <pc:docMk/>
            <pc:sldMk cId="2192655461" sldId="406"/>
            <ac:graphicFrameMk id="423" creationId="{715BCDA5-3D9B-A5CD-DC67-2FB4624960B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24.297" v="154687"/>
          <ac:graphicFrameMkLst>
            <pc:docMk/>
            <pc:sldMk cId="2192655461" sldId="406"/>
            <ac:graphicFrameMk id="425" creationId="{8BDA04CD-2F8D-5C2C-421A-17A17323596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24.641" v="154908"/>
          <ac:graphicFrameMkLst>
            <pc:docMk/>
            <pc:sldMk cId="2192655461" sldId="406"/>
            <ac:graphicFrameMk id="427" creationId="{D70AAFA5-37FC-D179-93AA-A940061AA17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33.700" v="155590"/>
          <ac:graphicFrameMkLst>
            <pc:docMk/>
            <pc:sldMk cId="2192655461" sldId="406"/>
            <ac:graphicFrameMk id="429" creationId="{A67BF467-047C-C333-C3FE-DAF970A59FC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33.921" v="155765"/>
          <ac:graphicFrameMkLst>
            <pc:docMk/>
            <pc:sldMk cId="2192655461" sldId="406"/>
            <ac:graphicFrameMk id="438" creationId="{A96AB638-E326-6AB3-D13D-82731D010D2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41.853" v="155960"/>
          <ac:graphicFrameMkLst>
            <pc:docMk/>
            <pc:sldMk cId="2192655461" sldId="406"/>
            <ac:graphicFrameMk id="440" creationId="{E17F157B-32C2-3691-989E-AF4C9FE06BB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41.966" v="156135"/>
          <ac:graphicFrameMkLst>
            <pc:docMk/>
            <pc:sldMk cId="2192655461" sldId="406"/>
            <ac:graphicFrameMk id="442" creationId="{AF009835-D93D-C378-64C7-A994488E5EB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44.037" v="156332"/>
          <ac:graphicFrameMkLst>
            <pc:docMk/>
            <pc:sldMk cId="2192655461" sldId="406"/>
            <ac:graphicFrameMk id="444" creationId="{CB5C7E82-65F9-83EB-A8B4-29027BE1DCD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44.152" v="156507"/>
          <ac:graphicFrameMkLst>
            <pc:docMk/>
            <pc:sldMk cId="2192655461" sldId="406"/>
            <ac:graphicFrameMk id="446" creationId="{8425F94C-C77D-85D7-5EE2-F8F13E00C3D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47.083" v="156704"/>
          <ac:graphicFrameMkLst>
            <pc:docMk/>
            <pc:sldMk cId="2192655461" sldId="406"/>
            <ac:graphicFrameMk id="448" creationId="{3D822BB5-5201-D8A3-DAA4-DEED2832E37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47.194" v="156879"/>
          <ac:graphicFrameMkLst>
            <pc:docMk/>
            <pc:sldMk cId="2192655461" sldId="406"/>
            <ac:graphicFrameMk id="450" creationId="{4816B526-C14E-DD4A-66B6-1C8509EFAF3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4:59.827" v="157453"/>
          <ac:graphicFrameMkLst>
            <pc:docMk/>
            <pc:sldMk cId="2192655461" sldId="406"/>
            <ac:graphicFrameMk id="452" creationId="{D30A46FC-8388-5B93-2952-ABA8CA6533E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00.056" v="157598"/>
          <ac:graphicFrameMkLst>
            <pc:docMk/>
            <pc:sldMk cId="2192655461" sldId="406"/>
            <ac:graphicFrameMk id="460" creationId="{ED3E3E77-CD65-34A0-1479-5B257537BF3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03.988" v="157763"/>
          <ac:graphicFrameMkLst>
            <pc:docMk/>
            <pc:sldMk cId="2192655461" sldId="406"/>
            <ac:graphicFrameMk id="462" creationId="{F164A31F-87A7-E8D6-31F8-F3F485E24FC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04.087" v="157908"/>
          <ac:graphicFrameMkLst>
            <pc:docMk/>
            <pc:sldMk cId="2192655461" sldId="406"/>
            <ac:graphicFrameMk id="464" creationId="{C70F3CB5-B188-4443-1386-22DAE11CCE4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05.278" v="158071"/>
          <ac:graphicFrameMkLst>
            <pc:docMk/>
            <pc:sldMk cId="2192655461" sldId="406"/>
            <ac:graphicFrameMk id="466" creationId="{817568CC-E0BD-AD66-0E5C-530E7D69A17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05.376" v="158216"/>
          <ac:graphicFrameMkLst>
            <pc:docMk/>
            <pc:sldMk cId="2192655461" sldId="406"/>
            <ac:graphicFrameMk id="468" creationId="{15D32FD6-C178-242A-2E13-DA663BDDFF9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06.234" v="158381"/>
          <ac:graphicFrameMkLst>
            <pc:docMk/>
            <pc:sldMk cId="2192655461" sldId="406"/>
            <ac:graphicFrameMk id="470" creationId="{5F2E48DE-7745-2CE7-8304-478E397B3AB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06.329" v="158526"/>
          <ac:graphicFrameMkLst>
            <pc:docMk/>
            <pc:sldMk cId="2192655461" sldId="406"/>
            <ac:graphicFrameMk id="472" creationId="{6F218B6E-957A-F879-211B-6FAFDB37DB9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6:14.844" v="164388"/>
          <ac:graphicFrameMkLst>
            <pc:docMk/>
            <pc:sldMk cId="2192655461" sldId="406"/>
            <ac:graphicFrameMk id="474" creationId="{35C3CA1E-EF69-727B-40F6-365AE4E3975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13.695" v="158832"/>
          <ac:graphicFrameMkLst>
            <pc:docMk/>
            <pc:sldMk cId="2192655461" sldId="406"/>
            <ac:graphicFrameMk id="476" creationId="{24A67B7C-AB2C-6185-A3C1-7F060B1E6C6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20.863" v="159450"/>
          <ac:graphicFrameMkLst>
            <pc:docMk/>
            <pc:sldMk cId="2192655461" sldId="406"/>
            <ac:graphicFrameMk id="478" creationId="{D9547AE4-48D3-C7B9-2850-76800305C34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21.072" v="159640"/>
          <ac:graphicFrameMkLst>
            <pc:docMk/>
            <pc:sldMk cId="2192655461" sldId="406"/>
            <ac:graphicFrameMk id="487" creationId="{753D4FAE-FD58-9332-9204-8D152FFEFFA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37.004" v="161099"/>
          <ac:graphicFrameMkLst>
            <pc:docMk/>
            <pc:sldMk cId="2192655461" sldId="406"/>
            <ac:graphicFrameMk id="489" creationId="{9AA88D14-3728-2C71-6077-98CC1045C2D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26.456" v="160460"/>
          <ac:graphicFrameMkLst>
            <pc:docMk/>
            <pc:sldMk cId="2192655461" sldId="406"/>
            <ac:graphicFrameMk id="498" creationId="{BE850504-F0A8-5CE7-EF6E-A2D979FEE28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31.039" v="160683"/>
          <ac:graphicFrameMkLst>
            <pc:docMk/>
            <pc:sldMk cId="2192655461" sldId="406"/>
            <ac:graphicFrameMk id="500" creationId="{5AEF3E2C-80A6-D8E4-F7CC-A638F97B689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31.166" v="160880"/>
          <ac:graphicFrameMkLst>
            <pc:docMk/>
            <pc:sldMk cId="2192655461" sldId="406"/>
            <ac:graphicFrameMk id="502" creationId="{CD93B46F-814B-39E2-9A0B-57D350316EC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46.912" v="162154"/>
          <ac:graphicFrameMkLst>
            <pc:docMk/>
            <pc:sldMk cId="2192655461" sldId="406"/>
            <ac:graphicFrameMk id="504" creationId="{655F721B-EFC2-110C-51D4-3D9D18900BE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37.133" v="161296"/>
          <ac:graphicFrameMkLst>
            <pc:docMk/>
            <pc:sldMk cId="2192655461" sldId="406"/>
            <ac:graphicFrameMk id="506" creationId="{74907AE9-34B5-A8B3-9B48-77408E9C80B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41.635" v="161766"/>
          <ac:graphicFrameMkLst>
            <pc:docMk/>
            <pc:sldMk cId="2192655461" sldId="406"/>
            <ac:graphicFrameMk id="508" creationId="{EE036445-5F67-84A3-AF2E-C23FEF3CD95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41.859" v="161931"/>
          <ac:graphicFrameMkLst>
            <pc:docMk/>
            <pc:sldMk cId="2192655461" sldId="406"/>
            <ac:graphicFrameMk id="514" creationId="{DCFC5144-192B-D0B1-0F21-7C36B87100F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13.952" v="167824"/>
          <ac:graphicFrameMkLst>
            <pc:docMk/>
            <pc:sldMk cId="2192655461" sldId="406"/>
            <ac:graphicFrameMk id="516" creationId="{189E2879-1F9C-5EA3-5806-BC7B4268A78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47.039" v="162355"/>
          <ac:graphicFrameMkLst>
            <pc:docMk/>
            <pc:sldMk cId="2192655461" sldId="406"/>
            <ac:graphicFrameMk id="518" creationId="{1357377E-8DB3-D907-59B0-B5DA1C8FC2E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51.781" v="163148"/>
          <ac:graphicFrameMkLst>
            <pc:docMk/>
            <pc:sldMk cId="2192655461" sldId="406"/>
            <ac:graphicFrameMk id="520" creationId="{B8DFEB8D-A55F-A6D3-6DF5-AAA549DEB37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5:52.052" v="163323"/>
          <ac:graphicFrameMkLst>
            <pc:docMk/>
            <pc:sldMk cId="2192655461" sldId="406"/>
            <ac:graphicFrameMk id="531" creationId="{5567E7F2-A94A-0D6F-DE92-B7107590191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42.277" v="172919"/>
          <ac:graphicFrameMkLst>
            <pc:docMk/>
            <pc:sldMk cId="2192655461" sldId="406"/>
            <ac:graphicFrameMk id="533" creationId="{A838AA0E-7F6E-7AF1-8FAA-80187D36E2A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6:14.980" v="164595"/>
          <ac:graphicFrameMkLst>
            <pc:docMk/>
            <pc:sldMk cId="2192655461" sldId="406"/>
            <ac:graphicFrameMk id="550" creationId="{A5651919-D888-4135-4488-3D43BECE297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6:25.207" v="164777"/>
          <ac:graphicFrameMkLst>
            <pc:docMk/>
            <pc:sldMk cId="2192655461" sldId="406"/>
            <ac:graphicFrameMk id="552" creationId="{ADC8374A-43E7-47EB-8061-074A26D8805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6:25.340" v="164959"/>
          <ac:graphicFrameMkLst>
            <pc:docMk/>
            <pc:sldMk cId="2192655461" sldId="406"/>
            <ac:graphicFrameMk id="554" creationId="{3DBCBF13-2D38-0DEB-019E-D17B8E21014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6:42.745" v="166070"/>
          <ac:graphicFrameMkLst>
            <pc:docMk/>
            <pc:sldMk cId="2192655461" sldId="406"/>
            <ac:graphicFrameMk id="556" creationId="{09194820-C74D-7F38-0CE0-35BBDD0CD98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6:42.897" v="166334"/>
          <ac:graphicFrameMkLst>
            <pc:docMk/>
            <pc:sldMk cId="2192655461" sldId="406"/>
            <ac:graphicFrameMk id="573" creationId="{69351A44-FA4B-49B4-7546-CE3268AC3AF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03.850" v="166539"/>
          <ac:graphicFrameMkLst>
            <pc:docMk/>
            <pc:sldMk cId="2192655461" sldId="406"/>
            <ac:graphicFrameMk id="577" creationId="{C8D6F1D4-AB39-7005-54D8-665900ECE42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04.023" v="166746"/>
          <ac:graphicFrameMkLst>
            <pc:docMk/>
            <pc:sldMk cId="2192655461" sldId="406"/>
            <ac:graphicFrameMk id="579" creationId="{77871855-8EA6-CDE9-B055-7BD93365040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12.403" v="170092"/>
          <ac:graphicFrameMkLst>
            <pc:docMk/>
            <pc:sldMk cId="2192655461" sldId="406"/>
            <ac:graphicFrameMk id="581" creationId="{8DFB3363-2E6F-8460-AA3D-47E24E70D91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14.089" v="168039"/>
          <ac:graphicFrameMkLst>
            <pc:docMk/>
            <pc:sldMk cId="2192655461" sldId="406"/>
            <ac:graphicFrameMk id="598" creationId="{1F9961F3-372F-943C-B711-605BF39AF8B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35.258" v="168230"/>
          <ac:graphicFrameMkLst>
            <pc:docMk/>
            <pc:sldMk cId="2192655461" sldId="406"/>
            <ac:graphicFrameMk id="600" creationId="{7A5D562C-D23A-A787-1B29-87D8BC552E8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35.380" v="168421"/>
          <ac:graphicFrameMkLst>
            <pc:docMk/>
            <pc:sldMk cId="2192655461" sldId="406"/>
            <ac:graphicFrameMk id="602" creationId="{D0536191-81C7-4C42-6AC3-8225FBB4ABD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46.898" v="168612"/>
          <ac:graphicFrameMkLst>
            <pc:docMk/>
            <pc:sldMk cId="2192655461" sldId="406"/>
            <ac:graphicFrameMk id="604" creationId="{8C120F12-292B-8AB0-C2C6-BE9FC90254A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47.011" v="168803"/>
          <ac:graphicFrameMkLst>
            <pc:docMk/>
            <pc:sldMk cId="2192655461" sldId="406"/>
            <ac:graphicFrameMk id="606" creationId="{32670FB9-A86C-6A4C-6A48-2813FD0E6AD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58.836" v="169639"/>
          <ac:graphicFrameMkLst>
            <pc:docMk/>
            <pc:sldMk cId="2192655461" sldId="406"/>
            <ac:graphicFrameMk id="608" creationId="{5E38BBE9-0E1E-8EB9-3510-725990E350F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7:58.985" v="169904"/>
          <ac:graphicFrameMkLst>
            <pc:docMk/>
            <pc:sldMk cId="2192655461" sldId="406"/>
            <ac:graphicFrameMk id="622" creationId="{E98BEF29-FCFA-7999-AF3B-81380F771A6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02.286" v="176223"/>
          <ac:graphicFrameMkLst>
            <pc:docMk/>
            <pc:sldMk cId="2192655461" sldId="406"/>
            <ac:graphicFrameMk id="626" creationId="{EAD25BF7-639F-95BC-546A-6A5BFAA5BC6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12.578" v="170280"/>
          <ac:graphicFrameMkLst>
            <pc:docMk/>
            <pc:sldMk cId="2192655461" sldId="406"/>
            <ac:graphicFrameMk id="628" creationId="{5A0623C6-9B08-1B6F-D9C6-602A180DE97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16.337" v="170481"/>
          <ac:graphicFrameMkLst>
            <pc:docMk/>
            <pc:sldMk cId="2192655461" sldId="406"/>
            <ac:graphicFrameMk id="630" creationId="{4AFFE420-325E-5A32-47AA-F97A21F62CE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16.553" v="170670"/>
          <ac:graphicFrameMkLst>
            <pc:docMk/>
            <pc:sldMk cId="2192655461" sldId="406"/>
            <ac:graphicFrameMk id="633" creationId="{6028E902-F518-B3C5-F69C-F6D637988E6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19.530" v="170861"/>
          <ac:graphicFrameMkLst>
            <pc:docMk/>
            <pc:sldMk cId="2192655461" sldId="406"/>
            <ac:graphicFrameMk id="635" creationId="{E490E7CC-58F4-E66F-D173-D1833B0C210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19.755" v="171049"/>
          <ac:graphicFrameMkLst>
            <pc:docMk/>
            <pc:sldMk cId="2192655461" sldId="406"/>
            <ac:graphicFrameMk id="637" creationId="{53F86EDC-D7F5-1146-1630-E3F3BE76567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22.735" v="171237"/>
          <ac:graphicFrameMkLst>
            <pc:docMk/>
            <pc:sldMk cId="2192655461" sldId="406"/>
            <ac:graphicFrameMk id="639" creationId="{D5347E08-B36D-682D-4A4E-CA0FB55D13C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22.974" v="171425"/>
          <ac:graphicFrameMkLst>
            <pc:docMk/>
            <pc:sldMk cId="2192655461" sldId="406"/>
            <ac:graphicFrameMk id="641" creationId="{C28DD606-2413-3612-12D4-B150C912FFC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26.261" v="171613"/>
          <ac:graphicFrameMkLst>
            <pc:docMk/>
            <pc:sldMk cId="2192655461" sldId="406"/>
            <ac:graphicFrameMk id="643" creationId="{F437BFEE-DEBA-C62F-3CB9-E2364FDCAB1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26.488" v="171802"/>
          <ac:graphicFrameMkLst>
            <pc:docMk/>
            <pc:sldMk cId="2192655461" sldId="406"/>
            <ac:graphicFrameMk id="645" creationId="{84C92734-3C02-7F0F-FC70-15C49015601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1:34.577" v="182978"/>
          <ac:graphicFrameMkLst>
            <pc:docMk/>
            <pc:sldMk cId="2192655461" sldId="406"/>
            <ac:graphicFrameMk id="647" creationId="{A3DF3F52-2932-39FB-A0CF-1036CDA6AFF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8:42.413" v="173137"/>
          <ac:graphicFrameMkLst>
            <pc:docMk/>
            <pc:sldMk cId="2192655461" sldId="406"/>
            <ac:graphicFrameMk id="665" creationId="{8E5E6E6C-77F4-EDB1-07DB-812C685B943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9:00.594" v="173328"/>
          <ac:graphicFrameMkLst>
            <pc:docMk/>
            <pc:sldMk cId="2192655461" sldId="406"/>
            <ac:graphicFrameMk id="667" creationId="{68A0EB28-7F7D-2BE3-D502-67BF33FC9CA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9:00.703" v="173519"/>
          <ac:graphicFrameMkLst>
            <pc:docMk/>
            <pc:sldMk cId="2192655461" sldId="406"/>
            <ac:graphicFrameMk id="669" creationId="{F22E7778-0913-9C16-34F4-40DDCEE459D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9:14.548" v="173710"/>
          <ac:graphicFrameMkLst>
            <pc:docMk/>
            <pc:sldMk cId="2192655461" sldId="406"/>
            <ac:graphicFrameMk id="671" creationId="{0EBD142E-2852-459A-8C4D-1BBC65C28C8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9:14.659" v="173901"/>
          <ac:graphicFrameMkLst>
            <pc:docMk/>
            <pc:sldMk cId="2192655461" sldId="406"/>
            <ac:graphicFrameMk id="673" creationId="{FAC02D8C-B9CD-5DD6-22E4-931AF308934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9:26.659" v="174865"/>
          <ac:graphicFrameMkLst>
            <pc:docMk/>
            <pc:sldMk cId="2192655461" sldId="406"/>
            <ac:graphicFrameMk id="675" creationId="{28F353FC-6390-EC7F-B8F2-13439A02FC5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39:26.801" v="175116"/>
          <ac:graphicFrameMkLst>
            <pc:docMk/>
            <pc:sldMk cId="2192655461" sldId="406"/>
            <ac:graphicFrameMk id="692" creationId="{76D7FE97-DD13-75A5-4212-AA712C8E573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28.171" v="179170"/>
          <ac:graphicFrameMkLst>
            <pc:docMk/>
            <pc:sldMk cId="2192655461" sldId="406"/>
            <ac:graphicFrameMk id="695" creationId="{2D6FE181-F7DC-BF76-1E5C-AADD2670A60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02.438" v="176474"/>
          <ac:graphicFrameMkLst>
            <pc:docMk/>
            <pc:sldMk cId="2192655461" sldId="406"/>
            <ac:graphicFrameMk id="713" creationId="{88AA6E8E-47F6-ADE9-B57B-28444EE0181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06.348" v="176674"/>
          <ac:graphicFrameMkLst>
            <pc:docMk/>
            <pc:sldMk cId="2192655461" sldId="406"/>
            <ac:graphicFrameMk id="715" creationId="{A9BFA3A5-5C8E-C48C-5E56-6D95310B6E8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06.458" v="176863"/>
          <ac:graphicFrameMkLst>
            <pc:docMk/>
            <pc:sldMk cId="2192655461" sldId="406"/>
            <ac:graphicFrameMk id="717" creationId="{E2E07E40-B833-4A84-4227-C15D0DC3CF6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17.165" v="177596"/>
          <ac:graphicFrameMkLst>
            <pc:docMk/>
            <pc:sldMk cId="2192655461" sldId="406"/>
            <ac:graphicFrameMk id="719" creationId="{A04370C6-388E-22FD-ACED-3E5B0AB2E84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17.305" v="177836"/>
          <ac:graphicFrameMkLst>
            <pc:docMk/>
            <pc:sldMk cId="2192655461" sldId="406"/>
            <ac:graphicFrameMk id="729" creationId="{DE1B57D8-49AD-BF04-0848-D8E37B2E87FF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5T00:17:13.156" v="205309"/>
          <ac:graphicFrameMkLst>
            <pc:docMk/>
            <pc:sldMk cId="2192655461" sldId="406"/>
            <ac:graphicFrameMk id="733" creationId="{DAFBDA4A-1465-2492-E2EB-797FE42BB33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28.309" v="179384"/>
          <ac:graphicFrameMkLst>
            <pc:docMk/>
            <pc:sldMk cId="2192655461" sldId="406"/>
            <ac:graphicFrameMk id="755" creationId="{7A99CB99-23FF-39A9-D5D5-9D733AD9E48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35.263" v="180426"/>
          <ac:graphicFrameMkLst>
            <pc:docMk/>
            <pc:sldMk cId="2192655461" sldId="406"/>
            <ac:graphicFrameMk id="757" creationId="{DD2B46B4-C70C-89A6-5E0B-E02F3CFABA8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35.396" v="180660"/>
          <ac:graphicFrameMkLst>
            <pc:docMk/>
            <pc:sldMk cId="2192655461" sldId="406"/>
            <ac:graphicFrameMk id="775" creationId="{04CBC045-5C75-2B8B-C04A-DC9654D094C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51.025" v="180866"/>
          <ac:graphicFrameMkLst>
            <pc:docMk/>
            <pc:sldMk cId="2192655461" sldId="406"/>
            <ac:graphicFrameMk id="777" creationId="{928688A5-CAB9-3611-7C5D-8C4BA7882F4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51.188" v="181092"/>
          <ac:graphicFrameMkLst>
            <pc:docMk/>
            <pc:sldMk cId="2192655461" sldId="406"/>
            <ac:graphicFrameMk id="780" creationId="{54177957-3A02-44AC-3F77-E56A170C1AD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53.880" v="181288"/>
          <ac:graphicFrameMkLst>
            <pc:docMk/>
            <pc:sldMk cId="2192655461" sldId="406"/>
            <ac:graphicFrameMk id="783" creationId="{C8FFB96A-F7E2-21D2-787D-FA0D8654CD0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0:54.043" v="181525"/>
          <ac:graphicFrameMkLst>
            <pc:docMk/>
            <pc:sldMk cId="2192655461" sldId="406"/>
            <ac:graphicFrameMk id="785" creationId="{424B9A52-4730-E526-4BC3-294C8FFD0ED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1:05.327" v="181738"/>
          <ac:graphicFrameMkLst>
            <pc:docMk/>
            <pc:sldMk cId="2192655461" sldId="406"/>
            <ac:graphicFrameMk id="789" creationId="{24CE659E-49BD-1923-969E-0903B49C004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1:05.473" v="181933"/>
          <ac:graphicFrameMkLst>
            <pc:docMk/>
            <pc:sldMk cId="2192655461" sldId="406"/>
            <ac:graphicFrameMk id="791" creationId="{7BCC60E6-2DAA-1F96-36CA-C8B442D45D5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03.310" v="185265"/>
          <ac:graphicFrameMkLst>
            <pc:docMk/>
            <pc:sldMk cId="2192655461" sldId="406"/>
            <ac:graphicFrameMk id="793" creationId="{1BD682E6-6D82-F398-83A7-9D6A14F2F65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1:34.712" v="183184"/>
          <ac:graphicFrameMkLst>
            <pc:docMk/>
            <pc:sldMk cId="2192655461" sldId="406"/>
            <ac:graphicFrameMk id="807" creationId="{D6C44EC0-6B18-BF58-E0E6-963999554C6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1:42.746" v="183896"/>
          <ac:graphicFrameMkLst>
            <pc:docMk/>
            <pc:sldMk cId="2192655461" sldId="406"/>
            <ac:graphicFrameMk id="809" creationId="{951D6066-E50D-0B69-367A-441CF488567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2:41:42.886" v="184133"/>
          <ac:graphicFrameMkLst>
            <pc:docMk/>
            <pc:sldMk cId="2192655461" sldId="406"/>
            <ac:graphicFrameMk id="819" creationId="{59B19CDB-FDFF-406F-20BC-04B1EE5D48D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0:07.865" v="192520"/>
          <ac:graphicFrameMkLst>
            <pc:docMk/>
            <pc:sldMk cId="2192655461" sldId="406"/>
            <ac:graphicFrameMk id="823" creationId="{FE61A202-EA81-56AE-0E35-82F2FD49E28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03.521" v="185503"/>
          <ac:graphicFrameMkLst>
            <pc:docMk/>
            <pc:sldMk cId="2192655461" sldId="406"/>
            <ac:graphicFrameMk id="846" creationId="{A7A9F854-6247-66D9-5759-3443B0F7385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09.562" v="186288"/>
          <ac:graphicFrameMkLst>
            <pc:docMk/>
            <pc:sldMk cId="2192655461" sldId="406"/>
            <ac:graphicFrameMk id="848" creationId="{6A4E94E5-AA80-585F-EEB6-C88EF4F0BEF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09.756" v="186525"/>
          <ac:graphicFrameMkLst>
            <pc:docMk/>
            <pc:sldMk cId="2192655461" sldId="406"/>
            <ac:graphicFrameMk id="867" creationId="{2CEB220D-102F-E49B-93CD-519D5A96F01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15.911" v="186748"/>
          <ac:graphicFrameMkLst>
            <pc:docMk/>
            <pc:sldMk cId="2192655461" sldId="406"/>
            <ac:graphicFrameMk id="869" creationId="{D8BB4F23-ABAB-1DFE-EE82-C124985F14D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16.090" v="187005"/>
          <ac:graphicFrameMkLst>
            <pc:docMk/>
            <pc:sldMk cId="2192655461" sldId="406"/>
            <ac:graphicFrameMk id="871" creationId="{AC042D7F-C441-19F1-22FC-91A575C107B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20.830" v="187237"/>
          <ac:graphicFrameMkLst>
            <pc:docMk/>
            <pc:sldMk cId="2192655461" sldId="406"/>
            <ac:graphicFrameMk id="874" creationId="{4E3326AA-CABF-7152-B1F3-2F866419773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21.002" v="187470"/>
          <ac:graphicFrameMkLst>
            <pc:docMk/>
            <pc:sldMk cId="2192655461" sldId="406"/>
            <ac:graphicFrameMk id="876" creationId="{D34C0EB3-AE4B-0339-C315-C1ECCE6112C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25.517" v="187676"/>
          <ac:graphicFrameMkLst>
            <pc:docMk/>
            <pc:sldMk cId="2192655461" sldId="406"/>
            <ac:graphicFrameMk id="878" creationId="{9585FD8E-8AE3-4D68-F696-DDAA4D57DBA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4T23:03:25.680" v="187889"/>
          <ac:graphicFrameMkLst>
            <pc:docMk/>
            <pc:sldMk cId="2192655461" sldId="406"/>
            <ac:graphicFrameMk id="880" creationId="{CA6A43C0-26D9-05EF-73D4-260E315FF002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5T00:17:13.198" v="205346"/>
          <ac:graphicFrameMkLst>
            <pc:docMk/>
            <pc:sldMk cId="2192655461" sldId="406"/>
            <ac:graphicFrameMk id="882" creationId="{E51AF77C-BCE1-03A6-A126-C13281024BB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0:07.969" v="192717"/>
          <ac:graphicFrameMkLst>
            <pc:docMk/>
            <pc:sldMk cId="2192655461" sldId="406"/>
            <ac:graphicFrameMk id="884" creationId="{23E6AAEF-AFD2-31BE-81E5-9D9CC2824BB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1:51.439" v="193133"/>
          <ac:graphicFrameMkLst>
            <pc:docMk/>
            <pc:sldMk cId="2192655461" sldId="406"/>
            <ac:graphicFrameMk id="886" creationId="{FA5301D6-C5AE-69D1-9BB4-4553280C8C0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1:51.632" v="193330"/>
          <ac:graphicFrameMkLst>
            <pc:docMk/>
            <pc:sldMk cId="2192655461" sldId="406"/>
            <ac:graphicFrameMk id="888" creationId="{051C6137-B62A-5EEE-3124-73EA6011226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1:53.278" v="193527"/>
          <ac:graphicFrameMkLst>
            <pc:docMk/>
            <pc:sldMk cId="2192655461" sldId="406"/>
            <ac:graphicFrameMk id="890" creationId="{7D6C9C6C-BA15-0196-384B-3A39A3FF7D4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1:53.441" v="193724"/>
          <ac:graphicFrameMkLst>
            <pc:docMk/>
            <pc:sldMk cId="2192655461" sldId="406"/>
            <ac:graphicFrameMk id="892" creationId="{751A729C-B4E4-C0A7-2E7A-167E1D8BC4A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0.350" v="193921"/>
          <ac:graphicFrameMkLst>
            <pc:docMk/>
            <pc:sldMk cId="2192655461" sldId="406"/>
            <ac:graphicFrameMk id="894" creationId="{2B1CECC1-C6D0-FB66-A82B-611FBF50A8E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0.607" v="194118"/>
          <ac:graphicFrameMkLst>
            <pc:docMk/>
            <pc:sldMk cId="2192655461" sldId="406"/>
            <ac:graphicFrameMk id="896" creationId="{B3EE337D-E65E-FF16-411C-4F64E749304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1.543" v="194315"/>
          <ac:graphicFrameMkLst>
            <pc:docMk/>
            <pc:sldMk cId="2192655461" sldId="406"/>
            <ac:graphicFrameMk id="898" creationId="{D046BFF8-79CD-6FA6-BAB8-276FA5014FC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1.766" v="194512"/>
          <ac:graphicFrameMkLst>
            <pc:docMk/>
            <pc:sldMk cId="2192655461" sldId="406"/>
            <ac:graphicFrameMk id="900" creationId="{D2962D70-4DF2-C36C-AA7C-70C2F432911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4.727" v="194709"/>
          <ac:graphicFrameMkLst>
            <pc:docMk/>
            <pc:sldMk cId="2192655461" sldId="406"/>
            <ac:graphicFrameMk id="902" creationId="{59DC7AF2-4184-B2FF-3674-E893734C64C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4.865" v="194906"/>
          <ac:graphicFrameMkLst>
            <pc:docMk/>
            <pc:sldMk cId="2192655461" sldId="406"/>
            <ac:graphicFrameMk id="904" creationId="{8486067B-12A4-B435-0693-41CF9C67624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5.706" v="195103"/>
          <ac:graphicFrameMkLst>
            <pc:docMk/>
            <pc:sldMk cId="2192655461" sldId="406"/>
            <ac:graphicFrameMk id="906" creationId="{65BC9314-61D1-DA9A-B03F-CFBAE94DEA1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5.918" v="195300"/>
          <ac:graphicFrameMkLst>
            <pc:docMk/>
            <pc:sldMk cId="2192655461" sldId="406"/>
            <ac:graphicFrameMk id="908" creationId="{2AABE589-60CE-0F11-5F39-9F65EED110B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7.025" v="195611"/>
          <ac:graphicFrameMkLst>
            <pc:docMk/>
            <pc:sldMk cId="2192655461" sldId="406"/>
            <ac:graphicFrameMk id="910" creationId="{BD4AEE59-0565-4C81-5D0A-BC307ED2B1E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47.197" v="195808"/>
          <ac:graphicFrameMkLst>
            <pc:docMk/>
            <pc:sldMk cId="2192655461" sldId="406"/>
            <ac:graphicFrameMk id="912" creationId="{70239922-9558-BB8C-1F90-E6518B1C02F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57.593" v="196105"/>
          <ac:graphicFrameMkLst>
            <pc:docMk/>
            <pc:sldMk cId="2192655461" sldId="406"/>
            <ac:graphicFrameMk id="914" creationId="{97513A53-56FA-2B4E-7226-85E9CCE5866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57.697" v="196302"/>
          <ac:graphicFrameMkLst>
            <pc:docMk/>
            <pc:sldMk cId="2192655461" sldId="406"/>
            <ac:graphicFrameMk id="916" creationId="{AB51A312-1E0A-A151-4B23-0884CAB5271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58.438" v="196600"/>
          <ac:graphicFrameMkLst>
            <pc:docMk/>
            <pc:sldMk cId="2192655461" sldId="406"/>
            <ac:graphicFrameMk id="918" creationId="{3F2A0E8A-35BC-74AF-C5BE-5FF587560C6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58.541" v="196797"/>
          <ac:graphicFrameMkLst>
            <pc:docMk/>
            <pc:sldMk cId="2192655461" sldId="406"/>
            <ac:graphicFrameMk id="920" creationId="{EE11DD3C-BFB8-847B-E50D-B8B3E6D0FF0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59.653" v="196994"/>
          <ac:graphicFrameMkLst>
            <pc:docMk/>
            <pc:sldMk cId="2192655461" sldId="406"/>
            <ac:graphicFrameMk id="922" creationId="{401D0CE8-AD1F-FC96-CF6A-084084AEE81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4:59.918" v="197191"/>
          <ac:graphicFrameMkLst>
            <pc:docMk/>
            <pc:sldMk cId="2192655461" sldId="406"/>
            <ac:graphicFrameMk id="924" creationId="{AE655E88-2DA7-5F7D-C07B-6E6354422A4B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5:00.857" v="197504"/>
          <ac:graphicFrameMkLst>
            <pc:docMk/>
            <pc:sldMk cId="2192655461" sldId="406"/>
            <ac:graphicFrameMk id="926" creationId="{902D7AD3-538B-EAA4-337D-C6ABDC933C1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5:01.028" v="197701"/>
          <ac:graphicFrameMkLst>
            <pc:docMk/>
            <pc:sldMk cId="2192655461" sldId="406"/>
            <ac:graphicFrameMk id="928" creationId="{0D117641-241B-CCF9-8A87-D72922704C9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5:02.832" v="198000"/>
          <ac:graphicFrameMkLst>
            <pc:docMk/>
            <pc:sldMk cId="2192655461" sldId="406"/>
            <ac:graphicFrameMk id="930" creationId="{AF054D56-C191-240E-954B-FF9DF2F6AC9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5:02.935" v="198197"/>
          <ac:graphicFrameMkLst>
            <pc:docMk/>
            <pc:sldMk cId="2192655461" sldId="406"/>
            <ac:graphicFrameMk id="932" creationId="{860D3A9D-97D0-8A53-6B07-4DAF02C40B7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5:03.684" v="198497"/>
          <ac:graphicFrameMkLst>
            <pc:docMk/>
            <pc:sldMk cId="2192655461" sldId="406"/>
            <ac:graphicFrameMk id="934" creationId="{4821A32A-2FA5-31C5-C066-3FCBA8C3C8D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5:03.797" v="198694"/>
          <ac:graphicFrameMkLst>
            <pc:docMk/>
            <pc:sldMk cId="2192655461" sldId="406"/>
            <ac:graphicFrameMk id="936" creationId="{86E05D7F-7D83-D624-A186-EF6639FD0FA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35.910" v="198891"/>
          <ac:graphicFrameMkLst>
            <pc:docMk/>
            <pc:sldMk cId="2192655461" sldId="406"/>
            <ac:graphicFrameMk id="938" creationId="{4592346E-D993-E163-C5C6-2501A9723BA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36.198" v="199088"/>
          <ac:graphicFrameMkLst>
            <pc:docMk/>
            <pc:sldMk cId="2192655461" sldId="406"/>
            <ac:graphicFrameMk id="940" creationId="{5E81E22A-7986-D76F-6E4A-2E749425D5C4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37.013" v="199403"/>
          <ac:graphicFrameMkLst>
            <pc:docMk/>
            <pc:sldMk cId="2192655461" sldId="406"/>
            <ac:graphicFrameMk id="942" creationId="{B5E1389B-A88E-E698-C671-B2BE03DDC4A8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37.184" v="199600"/>
          <ac:graphicFrameMkLst>
            <pc:docMk/>
            <pc:sldMk cId="2192655461" sldId="406"/>
            <ac:graphicFrameMk id="944" creationId="{14F0EC36-DF96-DECA-D848-2B7082856BA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38.075" v="199797"/>
          <ac:graphicFrameMkLst>
            <pc:docMk/>
            <pc:sldMk cId="2192655461" sldId="406"/>
            <ac:graphicFrameMk id="946" creationId="{0EA7D340-6420-1FE7-DBFD-A368FACF412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38.351" v="199994"/>
          <ac:graphicFrameMkLst>
            <pc:docMk/>
            <pc:sldMk cId="2192655461" sldId="406"/>
            <ac:graphicFrameMk id="948" creationId="{69DF17D0-6C13-BBD5-3E8A-212CF0294AD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38.988" v="200312"/>
          <ac:graphicFrameMkLst>
            <pc:docMk/>
            <pc:sldMk cId="2192655461" sldId="406"/>
            <ac:graphicFrameMk id="950" creationId="{C4813C93-E991-07F7-6E20-6E47D4DE2CF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39.158" v="200509"/>
          <ac:graphicFrameMkLst>
            <pc:docMk/>
            <pc:sldMk cId="2192655461" sldId="406"/>
            <ac:graphicFrameMk id="952" creationId="{39062D8D-E7E5-1F29-DFC3-9E47939BD096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40.852" v="200706"/>
          <ac:graphicFrameMkLst>
            <pc:docMk/>
            <pc:sldMk cId="2192655461" sldId="406"/>
            <ac:graphicFrameMk id="954" creationId="{62717DC7-43F0-E785-13D6-10CE70C94E6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41.002" v="200903"/>
          <ac:graphicFrameMkLst>
            <pc:docMk/>
            <pc:sldMk cId="2192655461" sldId="406"/>
            <ac:graphicFrameMk id="956" creationId="{7AC84520-8C04-3C27-3F13-2524BED039A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43.261" v="201209"/>
          <ac:graphicFrameMkLst>
            <pc:docMk/>
            <pc:sldMk cId="2192655461" sldId="406"/>
            <ac:graphicFrameMk id="958" creationId="{B640184A-B8EC-993A-E331-71A7B56BE507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43.369" v="201406"/>
          <ac:graphicFrameMkLst>
            <pc:docMk/>
            <pc:sldMk cId="2192655461" sldId="406"/>
            <ac:graphicFrameMk id="960" creationId="{00C549C9-5495-A4D2-31DF-686361AFEDBF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45.456" v="201603"/>
          <ac:graphicFrameMkLst>
            <pc:docMk/>
            <pc:sldMk cId="2192655461" sldId="406"/>
            <ac:graphicFrameMk id="962" creationId="{A272B434-1806-DDF1-F76D-2E493EEFD66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45.606" v="201800"/>
          <ac:graphicFrameMkLst>
            <pc:docMk/>
            <pc:sldMk cId="2192655461" sldId="406"/>
            <ac:graphicFrameMk id="964" creationId="{D2B17B91-C2A4-D5E1-326B-AEC62F2FEF1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48.825" v="202105"/>
          <ac:graphicFrameMkLst>
            <pc:docMk/>
            <pc:sldMk cId="2192655461" sldId="406"/>
            <ac:graphicFrameMk id="966" creationId="{4D248D79-87FA-F9E1-E741-B695DD1F1A35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48.936" v="202302"/>
          <ac:graphicFrameMkLst>
            <pc:docMk/>
            <pc:sldMk cId="2192655461" sldId="406"/>
            <ac:graphicFrameMk id="968" creationId="{11ED8C63-A374-F706-7571-5D1FC01E044E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49.604" v="202499"/>
          <ac:graphicFrameMkLst>
            <pc:docMk/>
            <pc:sldMk cId="2192655461" sldId="406"/>
            <ac:graphicFrameMk id="970" creationId="{F822B7CC-4A1A-E363-7890-6A7A048E3DC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50.024" v="202696"/>
          <ac:graphicFrameMkLst>
            <pc:docMk/>
            <pc:sldMk cId="2192655461" sldId="406"/>
            <ac:graphicFrameMk id="972" creationId="{69DD12B6-FEB8-99F3-534D-CE0060754270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52.072" v="202998"/>
          <ac:graphicFrameMkLst>
            <pc:docMk/>
            <pc:sldMk cId="2192655461" sldId="406"/>
            <ac:graphicFrameMk id="974" creationId="{DCC83D4D-A375-1701-4B8A-67EA5C8C94C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52.180" v="203195"/>
          <ac:graphicFrameMkLst>
            <pc:docMk/>
            <pc:sldMk cId="2192655461" sldId="406"/>
            <ac:graphicFrameMk id="976" creationId="{A26ED204-CF22-3C8E-7B69-1BCE860D764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52.916" v="203500"/>
          <ac:graphicFrameMkLst>
            <pc:docMk/>
            <pc:sldMk cId="2192655461" sldId="406"/>
            <ac:graphicFrameMk id="978" creationId="{355A385A-D27D-5150-BB1F-07F843BA9439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53.026" v="203697"/>
          <ac:graphicFrameMkLst>
            <pc:docMk/>
            <pc:sldMk cId="2192655461" sldId="406"/>
            <ac:graphicFrameMk id="980" creationId="{A40B1B9E-D0BB-7486-7E42-4CBEF52FA0B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56.053" v="203894"/>
          <ac:graphicFrameMkLst>
            <pc:docMk/>
            <pc:sldMk cId="2192655461" sldId="406"/>
            <ac:graphicFrameMk id="982" creationId="{97E7382E-8A04-58F2-32FA-56F86B1E53AD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6:56.207" v="204091"/>
          <ac:graphicFrameMkLst>
            <pc:docMk/>
            <pc:sldMk cId="2192655461" sldId="406"/>
            <ac:graphicFrameMk id="984" creationId="{EC041A17-FA17-D46A-D0A6-96813D36385A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7:07.783" v="204288"/>
          <ac:graphicFrameMkLst>
            <pc:docMk/>
            <pc:sldMk cId="2192655461" sldId="406"/>
            <ac:graphicFrameMk id="986" creationId="{40F09021-FA34-AEAE-CD29-09BFF5623C32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7:08.116" v="204485"/>
          <ac:graphicFrameMkLst>
            <pc:docMk/>
            <pc:sldMk cId="2192655461" sldId="406"/>
            <ac:graphicFrameMk id="988" creationId="{EC7793C8-431D-AECD-ACB1-AC77F08442C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7:11.092" v="204682"/>
          <ac:graphicFrameMkLst>
            <pc:docMk/>
            <pc:sldMk cId="2192655461" sldId="406"/>
            <ac:graphicFrameMk id="990" creationId="{99D9BA3C-5AB5-DB63-D8B7-629B14EEC853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7:11.436" v="204879"/>
          <ac:graphicFrameMkLst>
            <pc:docMk/>
            <pc:sldMk cId="2192655461" sldId="406"/>
            <ac:graphicFrameMk id="992" creationId="{58EA7576-9422-CEE2-4EDF-C334AB9BFBEC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7:12.829" v="205076"/>
          <ac:graphicFrameMkLst>
            <pc:docMk/>
            <pc:sldMk cId="2192655461" sldId="406"/>
            <ac:graphicFrameMk id="994" creationId="{FE8A5344-AA6E-EA60-64E1-345689921241}"/>
          </ac:graphicFrameMkLst>
        </pc:graphicFrameChg>
        <pc:graphicFrameChg chg="add del mod replST">
          <ac:chgData name="Merlin Gutter" userId="2abc6f04-74af-430b-bdc8-569c3bfa1dda" providerId="ADAL" clId="{CB1EFBC3-10F5-3048-8961-5969497C0019}" dt="2022-11-25T00:17:13.099" v="205273"/>
          <ac:graphicFrameMkLst>
            <pc:docMk/>
            <pc:sldMk cId="2192655461" sldId="406"/>
            <ac:graphicFrameMk id="996" creationId="{4364FBBD-09D3-6273-EECA-79B87AD98F86}"/>
          </ac:graphicFrameMkLst>
        </pc:graphicFrameChg>
        <pc:graphicFrameChg chg="add mod replST">
          <ac:chgData name="Merlin Gutter" userId="2abc6f04-74af-430b-bdc8-569c3bfa1dda" providerId="ADAL" clId="{CB1EFBC3-10F5-3048-8961-5969497C0019}" dt="2022-11-25T00:17:13.128" v="205285"/>
          <ac:graphicFrameMkLst>
            <pc:docMk/>
            <pc:sldMk cId="2192655461" sldId="406"/>
            <ac:graphicFrameMk id="998" creationId="{005A4D09-490A-A6B8-8C50-415CDD55CCFC}"/>
          </ac:graphicFrameMkLst>
        </pc:graphicFrameChg>
        <pc:cxnChg chg="add del mod replST">
          <ac:chgData name="Merlin Gutter" userId="2abc6f04-74af-430b-bdc8-569c3bfa1dda" providerId="ADAL" clId="{CB1EFBC3-10F5-3048-8961-5969497C0019}" dt="2022-11-24T20:00:50.556" v="134976"/>
          <ac:cxnSpMkLst>
            <pc:docMk/>
            <pc:sldMk cId="2192655461" sldId="406"/>
            <ac:cxnSpMk id="43" creationId="{D4476ED4-DC6C-830D-5BF0-A4EEC3F899D0}"/>
          </ac:cxnSpMkLst>
        </pc:cxnChg>
        <pc:cxnChg chg="add del mod replST">
          <ac:chgData name="Merlin Gutter" userId="2abc6f04-74af-430b-bdc8-569c3bfa1dda" providerId="ADAL" clId="{CB1EFBC3-10F5-3048-8961-5969497C0019}" dt="2022-11-24T20:01:44.043" v="137301"/>
          <ac:cxnSpMkLst>
            <pc:docMk/>
            <pc:sldMk cId="2192655461" sldId="406"/>
            <ac:cxnSpMk id="71" creationId="{CD3FA477-D059-85D3-4EB2-C7F8BCB7C24F}"/>
          </ac:cxnSpMkLst>
        </pc:cxnChg>
        <pc:cxnChg chg="add del mod replST">
          <ac:chgData name="Merlin Gutter" userId="2abc6f04-74af-430b-bdc8-569c3bfa1dda" providerId="ADAL" clId="{CB1EFBC3-10F5-3048-8961-5969497C0019}" dt="2022-11-24T20:01:25.059" v="136235"/>
          <ac:cxnSpMkLst>
            <pc:docMk/>
            <pc:sldMk cId="2192655461" sldId="406"/>
            <ac:cxnSpMk id="74" creationId="{A2F2FFE6-1AA3-911D-9539-8ADE3FBF61E3}"/>
          </ac:cxnSpMkLst>
        </pc:cxnChg>
        <pc:cxnChg chg="add del mod replST">
          <ac:chgData name="Merlin Gutter" userId="2abc6f04-74af-430b-bdc8-569c3bfa1dda" providerId="ADAL" clId="{CB1EFBC3-10F5-3048-8961-5969497C0019}" dt="2022-11-24T20:01:44.042" v="137297"/>
          <ac:cxnSpMkLst>
            <pc:docMk/>
            <pc:sldMk cId="2192655461" sldId="406"/>
            <ac:cxnSpMk id="98" creationId="{66EC6374-43FE-BD1D-2BC0-0F50C8C0DEBF}"/>
          </ac:cxnSpMkLst>
        </pc:cxnChg>
        <pc:cxnChg chg="add del mod replST">
          <ac:chgData name="Merlin Gutter" userId="2abc6f04-74af-430b-bdc8-569c3bfa1dda" providerId="ADAL" clId="{CB1EFBC3-10F5-3048-8961-5969497C0019}" dt="2022-11-24T20:01:44.043" v="137299"/>
          <ac:cxnSpMkLst>
            <pc:docMk/>
            <pc:sldMk cId="2192655461" sldId="406"/>
            <ac:cxnSpMk id="99" creationId="{41AB9990-69DF-BF7C-5E7E-9D621127759E}"/>
          </ac:cxnSpMkLst>
        </pc:cxnChg>
        <pc:cxnChg chg="add del mod replST">
          <ac:chgData name="Merlin Gutter" userId="2abc6f04-74af-430b-bdc8-569c3bfa1dda" providerId="ADAL" clId="{CB1EFBC3-10F5-3048-8961-5969497C0019}" dt="2022-11-24T20:01:45.856" v="137485"/>
          <ac:cxnSpMkLst>
            <pc:docMk/>
            <pc:sldMk cId="2192655461" sldId="406"/>
            <ac:cxnSpMk id="104" creationId="{70F9F01F-66E7-D666-16A3-A14D47C4FC14}"/>
          </ac:cxnSpMkLst>
        </pc:cxnChg>
        <pc:cxnChg chg="add del mod replST">
          <ac:chgData name="Merlin Gutter" userId="2abc6f04-74af-430b-bdc8-569c3bfa1dda" providerId="ADAL" clId="{CB1EFBC3-10F5-3048-8961-5969497C0019}" dt="2022-11-24T20:01:45.855" v="137481"/>
          <ac:cxnSpMkLst>
            <pc:docMk/>
            <pc:sldMk cId="2192655461" sldId="406"/>
            <ac:cxnSpMk id="105" creationId="{FA83EEE2-5AC1-9743-28CA-6FA746EBE658}"/>
          </ac:cxnSpMkLst>
        </pc:cxnChg>
        <pc:cxnChg chg="add del mod replST">
          <ac:chgData name="Merlin Gutter" userId="2abc6f04-74af-430b-bdc8-569c3bfa1dda" providerId="ADAL" clId="{CB1EFBC3-10F5-3048-8961-5969497C0019}" dt="2022-11-24T20:01:45.853" v="137472"/>
          <ac:cxnSpMkLst>
            <pc:docMk/>
            <pc:sldMk cId="2192655461" sldId="406"/>
            <ac:cxnSpMk id="106" creationId="{5FFFB4A8-3373-964D-DDF2-8796D68AD977}"/>
          </ac:cxnSpMkLst>
        </pc:cxnChg>
        <pc:cxnChg chg="add del mod replST">
          <ac:chgData name="Merlin Gutter" userId="2abc6f04-74af-430b-bdc8-569c3bfa1dda" providerId="ADAL" clId="{CB1EFBC3-10F5-3048-8961-5969497C0019}" dt="2022-11-24T22:36:14.977" v="164587"/>
          <ac:cxnSpMkLst>
            <pc:docMk/>
            <pc:sldMk cId="2192655461" sldId="406"/>
            <ac:cxnSpMk id="118" creationId="{5B7624B8-6AFC-FC1E-9F28-1AC2419D6206}"/>
          </ac:cxnSpMkLst>
        </pc:cxnChg>
        <pc:cxnChg chg="add del mod replST">
          <ac:chgData name="Merlin Gutter" userId="2abc6f04-74af-430b-bdc8-569c3bfa1dda" providerId="ADAL" clId="{CB1EFBC3-10F5-3048-8961-5969497C0019}" dt="2022-11-24T20:02:13.566" v="139021"/>
          <ac:cxnSpMkLst>
            <pc:docMk/>
            <pc:sldMk cId="2192655461" sldId="406"/>
            <ac:cxnSpMk id="128" creationId="{5AE6FE28-07BA-16D6-67BB-D3C3351C31CD}"/>
          </ac:cxnSpMkLst>
        </pc:cxnChg>
        <pc:cxnChg chg="add del mod replST">
          <ac:chgData name="Merlin Gutter" userId="2abc6f04-74af-430b-bdc8-569c3bfa1dda" providerId="ADAL" clId="{CB1EFBC3-10F5-3048-8961-5969497C0019}" dt="2022-11-24T20:02:13.569" v="139028"/>
          <ac:cxnSpMkLst>
            <pc:docMk/>
            <pc:sldMk cId="2192655461" sldId="406"/>
            <ac:cxnSpMk id="129" creationId="{1E7DE715-591A-03A5-1517-EAA60155D334}"/>
          </ac:cxnSpMkLst>
        </pc:cxnChg>
        <pc:cxnChg chg="add del mod replST">
          <ac:chgData name="Merlin Gutter" userId="2abc6f04-74af-430b-bdc8-569c3bfa1dda" providerId="ADAL" clId="{CB1EFBC3-10F5-3048-8961-5969497C0019}" dt="2022-11-24T20:02:13.582" v="139057"/>
          <ac:cxnSpMkLst>
            <pc:docMk/>
            <pc:sldMk cId="2192655461" sldId="406"/>
            <ac:cxnSpMk id="130" creationId="{68F0ABDB-FE36-82F3-4084-4F9F591D3365}"/>
          </ac:cxnSpMkLst>
        </pc:cxnChg>
        <pc:cxnChg chg="add del mod replST">
          <ac:chgData name="Merlin Gutter" userId="2abc6f04-74af-430b-bdc8-569c3bfa1dda" providerId="ADAL" clId="{CB1EFBC3-10F5-3048-8961-5969497C0019}" dt="2022-11-24T20:02:13.581" v="139055"/>
          <ac:cxnSpMkLst>
            <pc:docMk/>
            <pc:sldMk cId="2192655461" sldId="406"/>
            <ac:cxnSpMk id="131" creationId="{2F2B1234-FA20-5F78-BD85-E399949658A8}"/>
          </ac:cxnSpMkLst>
        </pc:cxnChg>
        <pc:cxnChg chg="add del mod replST">
          <ac:chgData name="Merlin Gutter" userId="2abc6f04-74af-430b-bdc8-569c3bfa1dda" providerId="ADAL" clId="{CB1EFBC3-10F5-3048-8961-5969497C0019}" dt="2022-11-24T20:02:13.581" v="139053"/>
          <ac:cxnSpMkLst>
            <pc:docMk/>
            <pc:sldMk cId="2192655461" sldId="406"/>
            <ac:cxnSpMk id="132" creationId="{BBD38BE2-F8A5-237D-D1D6-E7B567CC26DA}"/>
          </ac:cxnSpMkLst>
        </pc:cxnChg>
        <pc:cxnChg chg="add del mod replST">
          <ac:chgData name="Merlin Gutter" userId="2abc6f04-74af-430b-bdc8-569c3bfa1dda" providerId="ADAL" clId="{CB1EFBC3-10F5-3048-8961-5969497C0019}" dt="2022-11-24T22:36:14.973" v="164580"/>
          <ac:cxnSpMkLst>
            <pc:docMk/>
            <pc:sldMk cId="2192655461" sldId="406"/>
            <ac:cxnSpMk id="139" creationId="{81B39F17-3AF5-5F5E-AB97-3D1DA59275FA}"/>
          </ac:cxnSpMkLst>
        </pc:cxnChg>
        <pc:cxnChg chg="add del mod replST">
          <ac:chgData name="Merlin Gutter" userId="2abc6f04-74af-430b-bdc8-569c3bfa1dda" providerId="ADAL" clId="{CB1EFBC3-10F5-3048-8961-5969497C0019}" dt="2022-11-24T22:37:14.086" v="168031"/>
          <ac:cxnSpMkLst>
            <pc:docMk/>
            <pc:sldMk cId="2192655461" sldId="406"/>
            <ac:cxnSpMk id="195" creationId="{E1D95527-B214-15E1-63E6-D6C058D61822}"/>
          </ac:cxnSpMkLst>
        </pc:cxnChg>
        <pc:cxnChg chg="add del mod replST">
          <ac:chgData name="Merlin Gutter" userId="2abc6f04-74af-430b-bdc8-569c3bfa1dda" providerId="ADAL" clId="{CB1EFBC3-10F5-3048-8961-5969497C0019}" dt="2022-11-24T20:03:43.334" v="142977"/>
          <ac:cxnSpMkLst>
            <pc:docMk/>
            <pc:sldMk cId="2192655461" sldId="406"/>
            <ac:cxnSpMk id="196" creationId="{C2601021-AEC4-23EC-8A81-76670297B3E6}"/>
          </ac:cxnSpMkLst>
        </pc:cxnChg>
        <pc:cxnChg chg="add del mod replST">
          <ac:chgData name="Merlin Gutter" userId="2abc6f04-74af-430b-bdc8-569c3bfa1dda" providerId="ADAL" clId="{CB1EFBC3-10F5-3048-8961-5969497C0019}" dt="2022-11-24T20:03:43.342" v="142999"/>
          <ac:cxnSpMkLst>
            <pc:docMk/>
            <pc:sldMk cId="2192655461" sldId="406"/>
            <ac:cxnSpMk id="209" creationId="{383F8DDD-F976-9A66-D7C7-83A06BFABE78}"/>
          </ac:cxnSpMkLst>
        </pc:cxnChg>
        <pc:cxnChg chg="add del mod replST">
          <ac:chgData name="Merlin Gutter" userId="2abc6f04-74af-430b-bdc8-569c3bfa1dda" providerId="ADAL" clId="{CB1EFBC3-10F5-3048-8961-5969497C0019}" dt="2022-11-24T20:03:43.341" v="142997"/>
          <ac:cxnSpMkLst>
            <pc:docMk/>
            <pc:sldMk cId="2192655461" sldId="406"/>
            <ac:cxnSpMk id="210" creationId="{D9CDD30A-F77A-9526-7C92-06C700928B6B}"/>
          </ac:cxnSpMkLst>
        </pc:cxnChg>
        <pc:cxnChg chg="add del mod replST">
          <ac:chgData name="Merlin Gutter" userId="2abc6f04-74af-430b-bdc8-569c3bfa1dda" providerId="ADAL" clId="{CB1EFBC3-10F5-3048-8961-5969497C0019}" dt="2022-11-24T20:03:43.341" v="142995"/>
          <ac:cxnSpMkLst>
            <pc:docMk/>
            <pc:sldMk cId="2192655461" sldId="406"/>
            <ac:cxnSpMk id="211" creationId="{63D43BB0-DB0C-DC79-C3B2-EB728F70583F}"/>
          </ac:cxnSpMkLst>
        </pc:cxnChg>
        <pc:cxnChg chg="add del mod replST">
          <ac:chgData name="Merlin Gutter" userId="2abc6f04-74af-430b-bdc8-569c3bfa1dda" providerId="ADAL" clId="{CB1EFBC3-10F5-3048-8961-5969497C0019}" dt="2022-11-24T20:04:43.889" v="143835"/>
          <ac:cxnSpMkLst>
            <pc:docMk/>
            <pc:sldMk cId="2192655461" sldId="406"/>
            <ac:cxnSpMk id="220" creationId="{95F263EC-8E00-ACB8-31CF-5E9605EF5D41}"/>
          </ac:cxnSpMkLst>
        </pc:cxnChg>
        <pc:cxnChg chg="add del mod replST">
          <ac:chgData name="Merlin Gutter" userId="2abc6f04-74af-430b-bdc8-569c3bfa1dda" providerId="ADAL" clId="{CB1EFBC3-10F5-3048-8961-5969497C0019}" dt="2022-11-24T20:04:43.892" v="143843"/>
          <ac:cxnSpMkLst>
            <pc:docMk/>
            <pc:sldMk cId="2192655461" sldId="406"/>
            <ac:cxnSpMk id="233" creationId="{6FD03595-B66D-1144-E6B1-A581BA14E9A5}"/>
          </ac:cxnSpMkLst>
        </pc:cxnChg>
        <pc:cxnChg chg="add del mod replST">
          <ac:chgData name="Merlin Gutter" userId="2abc6f04-74af-430b-bdc8-569c3bfa1dda" providerId="ADAL" clId="{CB1EFBC3-10F5-3048-8961-5969497C0019}" dt="2022-11-24T22:38:42.403" v="173116"/>
          <ac:cxnSpMkLst>
            <pc:docMk/>
            <pc:sldMk cId="2192655461" sldId="406"/>
            <ac:cxnSpMk id="236" creationId="{E1726447-1D24-E50E-C902-F95C1B4AEB09}"/>
          </ac:cxnSpMkLst>
        </pc:cxnChg>
        <pc:cxnChg chg="add del mod replST">
          <ac:chgData name="Merlin Gutter" userId="2abc6f04-74af-430b-bdc8-569c3bfa1dda" providerId="ADAL" clId="{CB1EFBC3-10F5-3048-8961-5969497C0019}" dt="2022-11-24T20:06:20.137" v="145503"/>
          <ac:cxnSpMkLst>
            <pc:docMk/>
            <pc:sldMk cId="2192655461" sldId="406"/>
            <ac:cxnSpMk id="243" creationId="{F1BB5111-9997-44D1-216D-69915FBE3DC8}"/>
          </ac:cxnSpMkLst>
        </pc:cxnChg>
        <pc:cxnChg chg="add del mod replST">
          <ac:chgData name="Merlin Gutter" userId="2abc6f04-74af-430b-bdc8-569c3bfa1dda" providerId="ADAL" clId="{CB1EFBC3-10F5-3048-8961-5969497C0019}" dt="2022-11-24T20:06:14.439" v="145291"/>
          <ac:cxnSpMkLst>
            <pc:docMk/>
            <pc:sldMk cId="2192655461" sldId="406"/>
            <ac:cxnSpMk id="248" creationId="{C2A52F59-D97A-4555-67B2-750A442CE8AC}"/>
          </ac:cxnSpMkLst>
        </pc:cxnChg>
        <pc:cxnChg chg="add del mod replST">
          <ac:chgData name="Merlin Gutter" userId="2abc6f04-74af-430b-bdc8-569c3bfa1dda" providerId="ADAL" clId="{CB1EFBC3-10F5-3048-8961-5969497C0019}" dt="2022-11-24T20:06:04.426" v="144861"/>
          <ac:cxnSpMkLst>
            <pc:docMk/>
            <pc:sldMk cId="2192655461" sldId="406"/>
            <ac:cxnSpMk id="253" creationId="{B5218713-F42D-56D9-1C69-7BC8D31477E4}"/>
          </ac:cxnSpMkLst>
        </pc:cxnChg>
        <pc:cxnChg chg="add mod">
          <ac:chgData name="Merlin Gutter" userId="2abc6f04-74af-430b-bdc8-569c3bfa1dda" providerId="ADAL" clId="{CB1EFBC3-10F5-3048-8961-5969497C0019}" dt="2022-11-25T00:17:13.237" v="205380"/>
          <ac:cxnSpMkLst>
            <pc:docMk/>
            <pc:sldMk cId="2192655461" sldId="406"/>
            <ac:cxnSpMk id="357" creationId="{52808CB8-BF46-9C07-4DA4-A498B7F9DBB8}"/>
          </ac:cxnSpMkLst>
        </pc:cxnChg>
        <pc:cxnChg chg="add mod">
          <ac:chgData name="Merlin Gutter" userId="2abc6f04-74af-430b-bdc8-569c3bfa1dda" providerId="ADAL" clId="{CB1EFBC3-10F5-3048-8961-5969497C0019}" dt="2022-11-25T00:17:13.238" v="205381"/>
          <ac:cxnSpMkLst>
            <pc:docMk/>
            <pc:sldMk cId="2192655461" sldId="406"/>
            <ac:cxnSpMk id="358" creationId="{20F74678-9F81-B791-DD0C-C8D40CCA9E32}"/>
          </ac:cxnSpMkLst>
        </pc:cxnChg>
        <pc:cxnChg chg="add del mod replST">
          <ac:chgData name="Merlin Gutter" userId="2abc6f04-74af-430b-bdc8-569c3bfa1dda" providerId="ADAL" clId="{CB1EFBC3-10F5-3048-8961-5969497C0019}" dt="2022-11-24T22:36:14.979" v="164593"/>
          <ac:cxnSpMkLst>
            <pc:docMk/>
            <pc:sldMk cId="2192655461" sldId="406"/>
            <ac:cxnSpMk id="547" creationId="{D8915FEE-AEBE-4AD0-F194-58CD120DB183}"/>
          </ac:cxnSpMkLst>
        </pc:cxnChg>
        <pc:cxnChg chg="add del mod replST">
          <ac:chgData name="Merlin Gutter" userId="2abc6f04-74af-430b-bdc8-569c3bfa1dda" providerId="ADAL" clId="{CB1EFBC3-10F5-3048-8961-5969497C0019}" dt="2022-11-24T22:36:14.978" v="164591"/>
          <ac:cxnSpMkLst>
            <pc:docMk/>
            <pc:sldMk cId="2192655461" sldId="406"/>
            <ac:cxnSpMk id="548" creationId="{4B7D39A0-9DDC-B87B-9F6E-57EF29249F45}"/>
          </ac:cxnSpMkLst>
        </pc:cxnChg>
        <pc:cxnChg chg="add del mod replST">
          <ac:chgData name="Merlin Gutter" userId="2abc6f04-74af-430b-bdc8-569c3bfa1dda" providerId="ADAL" clId="{CB1EFBC3-10F5-3048-8961-5969497C0019}" dt="2022-11-24T22:36:14.978" v="164589"/>
          <ac:cxnSpMkLst>
            <pc:docMk/>
            <pc:sldMk cId="2192655461" sldId="406"/>
            <ac:cxnSpMk id="549" creationId="{95BEE075-0E67-C57F-B834-CD1C130516BF}"/>
          </ac:cxnSpMkLst>
        </pc:cxnChg>
        <pc:cxnChg chg="add del mod replST">
          <ac:chgData name="Merlin Gutter" userId="2abc6f04-74af-430b-bdc8-569c3bfa1dda" providerId="ADAL" clId="{CB1EFBC3-10F5-3048-8961-5969497C0019}" dt="2022-11-24T22:41:34.708" v="183175"/>
          <ac:cxnSpMkLst>
            <pc:docMk/>
            <pc:sldMk cId="2192655461" sldId="406"/>
            <ac:cxnSpMk id="572" creationId="{F1A5215E-A510-4F56-BBF2-8E7CE9C0D013}"/>
          </ac:cxnSpMkLst>
        </pc:cxnChg>
        <pc:cxnChg chg="add del mod replST">
          <ac:chgData name="Merlin Gutter" userId="2abc6f04-74af-430b-bdc8-569c3bfa1dda" providerId="ADAL" clId="{CB1EFBC3-10F5-3048-8961-5969497C0019}" dt="2022-11-24T22:41:34.711" v="183182"/>
          <ac:cxnSpMkLst>
            <pc:docMk/>
            <pc:sldMk cId="2192655461" sldId="406"/>
            <ac:cxnSpMk id="575" creationId="{DB7F8F4C-C60D-EEFC-B482-3E81B7FCD3C4}"/>
          </ac:cxnSpMkLst>
        </pc:cxnChg>
        <pc:cxnChg chg="add del mod replST">
          <ac:chgData name="Merlin Gutter" userId="2abc6f04-74af-430b-bdc8-569c3bfa1dda" providerId="ADAL" clId="{CB1EFBC3-10F5-3048-8961-5969497C0019}" dt="2022-11-24T22:41:33.943" v="182041"/>
          <ac:cxnSpMkLst>
            <pc:docMk/>
            <pc:sldMk cId="2192655461" sldId="406"/>
            <ac:cxnSpMk id="576" creationId="{0CEEC42D-FD81-BA26-6DD7-C8EF60ECADB0}"/>
          </ac:cxnSpMkLst>
        </pc:cxnChg>
        <pc:cxnChg chg="add del mod replST">
          <ac:chgData name="Merlin Gutter" userId="2abc6f04-74af-430b-bdc8-569c3bfa1dda" providerId="ADAL" clId="{CB1EFBC3-10F5-3048-8961-5969497C0019}" dt="2022-11-24T22:37:14.089" v="168037"/>
          <ac:cxnSpMkLst>
            <pc:docMk/>
            <pc:sldMk cId="2192655461" sldId="406"/>
            <ac:cxnSpMk id="595" creationId="{FC717F76-FE7B-6A60-A0E4-B7E3CE85C7EE}"/>
          </ac:cxnSpMkLst>
        </pc:cxnChg>
        <pc:cxnChg chg="add del mod replST">
          <ac:chgData name="Merlin Gutter" userId="2abc6f04-74af-430b-bdc8-569c3bfa1dda" providerId="ADAL" clId="{CB1EFBC3-10F5-3048-8961-5969497C0019}" dt="2022-11-24T22:37:14.088" v="168035"/>
          <ac:cxnSpMkLst>
            <pc:docMk/>
            <pc:sldMk cId="2192655461" sldId="406"/>
            <ac:cxnSpMk id="596" creationId="{63104488-786E-21AE-9266-3CCFB92DAE1F}"/>
          </ac:cxnSpMkLst>
        </pc:cxnChg>
        <pc:cxnChg chg="add del mod replST">
          <ac:chgData name="Merlin Gutter" userId="2abc6f04-74af-430b-bdc8-569c3bfa1dda" providerId="ADAL" clId="{CB1EFBC3-10F5-3048-8961-5969497C0019}" dt="2022-11-24T22:37:14.087" v="168033"/>
          <ac:cxnSpMkLst>
            <pc:docMk/>
            <pc:sldMk cId="2192655461" sldId="406"/>
            <ac:cxnSpMk id="597" creationId="{28118390-B668-581F-0137-D28C782C842D}"/>
          </ac:cxnSpMkLst>
        </pc:cxnChg>
        <pc:cxnChg chg="add del mod replST">
          <ac:chgData name="Merlin Gutter" userId="2abc6f04-74af-430b-bdc8-569c3bfa1dda" providerId="ADAL" clId="{CB1EFBC3-10F5-3048-8961-5969497C0019}" dt="2022-11-24T22:37:58.984" v="169902"/>
          <ac:cxnSpMkLst>
            <pc:docMk/>
            <pc:sldMk cId="2192655461" sldId="406"/>
            <ac:cxnSpMk id="619" creationId="{6FCB1196-DB46-BA74-10D1-27660DA520AA}"/>
          </ac:cxnSpMkLst>
        </pc:cxnChg>
        <pc:cxnChg chg="add del mod replST">
          <ac:chgData name="Merlin Gutter" userId="2abc6f04-74af-430b-bdc8-569c3bfa1dda" providerId="ADAL" clId="{CB1EFBC3-10F5-3048-8961-5969497C0019}" dt="2022-11-24T22:37:58.984" v="169900"/>
          <ac:cxnSpMkLst>
            <pc:docMk/>
            <pc:sldMk cId="2192655461" sldId="406"/>
            <ac:cxnSpMk id="620" creationId="{AEF4422E-EFE2-4F19-AE6E-208C318C3281}"/>
          </ac:cxnSpMkLst>
        </pc:cxnChg>
        <pc:cxnChg chg="add del mod replST">
          <ac:chgData name="Merlin Gutter" userId="2abc6f04-74af-430b-bdc8-569c3bfa1dda" providerId="ADAL" clId="{CB1EFBC3-10F5-3048-8961-5969497C0019}" dt="2022-11-24T22:37:58.983" v="169898"/>
          <ac:cxnSpMkLst>
            <pc:docMk/>
            <pc:sldMk cId="2192655461" sldId="406"/>
            <ac:cxnSpMk id="621" creationId="{E1D2137B-F353-20CA-A7F2-0844E6B88E0D}"/>
          </ac:cxnSpMkLst>
        </pc:cxnChg>
        <pc:cxnChg chg="add del mod replST">
          <ac:chgData name="Merlin Gutter" userId="2abc6f04-74af-430b-bdc8-569c3bfa1dda" providerId="ADAL" clId="{CB1EFBC3-10F5-3048-8961-5969497C0019}" dt="2022-11-24T22:40:02.421" v="176436"/>
          <ac:cxnSpMkLst>
            <pc:docMk/>
            <pc:sldMk cId="2192655461" sldId="406"/>
            <ac:cxnSpMk id="624" creationId="{C2800DC6-974A-A6B9-A95C-35DD2859F55E}"/>
          </ac:cxnSpMkLst>
        </pc:cxnChg>
        <pc:cxnChg chg="add del mod replST">
          <ac:chgData name="Merlin Gutter" userId="2abc6f04-74af-430b-bdc8-569c3bfa1dda" providerId="ADAL" clId="{CB1EFBC3-10F5-3048-8961-5969497C0019}" dt="2022-11-24T22:40:02.426" v="176444"/>
          <ac:cxnSpMkLst>
            <pc:docMk/>
            <pc:sldMk cId="2192655461" sldId="406"/>
            <ac:cxnSpMk id="625" creationId="{FAE1FA81-3727-6064-96E7-247918842306}"/>
          </ac:cxnSpMkLst>
        </pc:cxnChg>
        <pc:cxnChg chg="add del mod replST">
          <ac:chgData name="Merlin Gutter" userId="2abc6f04-74af-430b-bdc8-569c3bfa1dda" providerId="ADAL" clId="{CB1EFBC3-10F5-3048-8961-5969497C0019}" dt="2022-11-24T22:38:19.529" v="170859"/>
          <ac:cxnSpMkLst>
            <pc:docMk/>
            <pc:sldMk cId="2192655461" sldId="406"/>
            <ac:cxnSpMk id="632" creationId="{CC56880E-E262-9BBF-FC25-55976F4860ED}"/>
          </ac:cxnSpMkLst>
        </pc:cxnChg>
        <pc:cxnChg chg="add del mod replST">
          <ac:chgData name="Merlin Gutter" userId="2abc6f04-74af-430b-bdc8-569c3bfa1dda" providerId="ADAL" clId="{CB1EFBC3-10F5-3048-8961-5969497C0019}" dt="2022-11-24T22:38:42.412" v="173135"/>
          <ac:cxnSpMkLst>
            <pc:docMk/>
            <pc:sldMk cId="2192655461" sldId="406"/>
            <ac:cxnSpMk id="661" creationId="{A99C6CC8-4CD6-D6FA-0375-F8410BCB81A9}"/>
          </ac:cxnSpMkLst>
        </pc:cxnChg>
        <pc:cxnChg chg="add del mod replST">
          <ac:chgData name="Merlin Gutter" userId="2abc6f04-74af-430b-bdc8-569c3bfa1dda" providerId="ADAL" clId="{CB1EFBC3-10F5-3048-8961-5969497C0019}" dt="2022-11-24T22:38:42.411" v="173133"/>
          <ac:cxnSpMkLst>
            <pc:docMk/>
            <pc:sldMk cId="2192655461" sldId="406"/>
            <ac:cxnSpMk id="662" creationId="{93009186-031B-C03F-0296-AE130AB396E8}"/>
          </ac:cxnSpMkLst>
        </pc:cxnChg>
        <pc:cxnChg chg="add del mod replST">
          <ac:chgData name="Merlin Gutter" userId="2abc6f04-74af-430b-bdc8-569c3bfa1dda" providerId="ADAL" clId="{CB1EFBC3-10F5-3048-8961-5969497C0019}" dt="2022-11-24T22:38:42.410" v="173131"/>
          <ac:cxnSpMkLst>
            <pc:docMk/>
            <pc:sldMk cId="2192655461" sldId="406"/>
            <ac:cxnSpMk id="663" creationId="{F3F4694A-A2BA-9EC3-6C35-0F28C9C38462}"/>
          </ac:cxnSpMkLst>
        </pc:cxnChg>
        <pc:cxnChg chg="add del mod replST">
          <ac:chgData name="Merlin Gutter" userId="2abc6f04-74af-430b-bdc8-569c3bfa1dda" providerId="ADAL" clId="{CB1EFBC3-10F5-3048-8961-5969497C0019}" dt="2022-11-24T22:38:42.409" v="173129"/>
          <ac:cxnSpMkLst>
            <pc:docMk/>
            <pc:sldMk cId="2192655461" sldId="406"/>
            <ac:cxnSpMk id="664" creationId="{BABF4E24-666B-9AA4-C949-BB67E322F9F9}"/>
          </ac:cxnSpMkLst>
        </pc:cxnChg>
        <pc:cxnChg chg="add del mod replST">
          <ac:chgData name="Merlin Gutter" userId="2abc6f04-74af-430b-bdc8-569c3bfa1dda" providerId="ADAL" clId="{CB1EFBC3-10F5-3048-8961-5969497C0019}" dt="2022-11-24T22:39:26.784" v="175076"/>
          <ac:cxnSpMkLst>
            <pc:docMk/>
            <pc:sldMk cId="2192655461" sldId="406"/>
            <ac:cxnSpMk id="688" creationId="{6C027B93-EA97-F5CD-AA55-212BEEF843C8}"/>
          </ac:cxnSpMkLst>
        </pc:cxnChg>
        <pc:cxnChg chg="add del mod replST">
          <ac:chgData name="Merlin Gutter" userId="2abc6f04-74af-430b-bdc8-569c3bfa1dda" providerId="ADAL" clId="{CB1EFBC3-10F5-3048-8961-5969497C0019}" dt="2022-11-24T22:39:26.801" v="175114"/>
          <ac:cxnSpMkLst>
            <pc:docMk/>
            <pc:sldMk cId="2192655461" sldId="406"/>
            <ac:cxnSpMk id="689" creationId="{F90EC8B1-8AD1-A87B-B7AD-4FFD3D3349CD}"/>
          </ac:cxnSpMkLst>
        </pc:cxnChg>
        <pc:cxnChg chg="add del mod replST">
          <ac:chgData name="Merlin Gutter" userId="2abc6f04-74af-430b-bdc8-569c3bfa1dda" providerId="ADAL" clId="{CB1EFBC3-10F5-3048-8961-5969497C0019}" dt="2022-11-24T22:39:26.800" v="175112"/>
          <ac:cxnSpMkLst>
            <pc:docMk/>
            <pc:sldMk cId="2192655461" sldId="406"/>
            <ac:cxnSpMk id="690" creationId="{2A9A1EB0-B437-D80E-3A36-2FD54973CC4D}"/>
          </ac:cxnSpMkLst>
        </pc:cxnChg>
        <pc:cxnChg chg="add del mod replST">
          <ac:chgData name="Merlin Gutter" userId="2abc6f04-74af-430b-bdc8-569c3bfa1dda" providerId="ADAL" clId="{CB1EFBC3-10F5-3048-8961-5969497C0019}" dt="2022-11-24T22:39:26.799" v="175110"/>
          <ac:cxnSpMkLst>
            <pc:docMk/>
            <pc:sldMk cId="2192655461" sldId="406"/>
            <ac:cxnSpMk id="691" creationId="{76B9D5BE-8EB2-5CB2-56CC-F25483DF20BF}"/>
          </ac:cxnSpMkLst>
        </pc:cxnChg>
        <pc:cxnChg chg="add del mod replST">
          <ac:chgData name="Merlin Gutter" userId="2abc6f04-74af-430b-bdc8-569c3bfa1dda" providerId="ADAL" clId="{CB1EFBC3-10F5-3048-8961-5969497C0019}" dt="2022-11-24T22:40:27.358" v="177942"/>
          <ac:cxnSpMkLst>
            <pc:docMk/>
            <pc:sldMk cId="2192655461" sldId="406"/>
            <ac:cxnSpMk id="694" creationId="{5094C52E-6105-FAD2-B670-D5961796DD08}"/>
          </ac:cxnSpMkLst>
        </pc:cxnChg>
        <pc:cxnChg chg="add del mod replST">
          <ac:chgData name="Merlin Gutter" userId="2abc6f04-74af-430b-bdc8-569c3bfa1dda" providerId="ADAL" clId="{CB1EFBC3-10F5-3048-8961-5969497C0019}" dt="2022-11-24T22:40:06.281" v="176586"/>
          <ac:cxnSpMkLst>
            <pc:docMk/>
            <pc:sldMk cId="2192655461" sldId="406"/>
            <ac:cxnSpMk id="709" creationId="{AAB21948-DE00-2904-7D7D-0540571CF50F}"/>
          </ac:cxnSpMkLst>
        </pc:cxnChg>
        <pc:cxnChg chg="add del mod replST">
          <ac:chgData name="Merlin Gutter" userId="2abc6f04-74af-430b-bdc8-569c3bfa1dda" providerId="ADAL" clId="{CB1EFBC3-10F5-3048-8961-5969497C0019}" dt="2022-11-24T22:40:02.438" v="176472"/>
          <ac:cxnSpMkLst>
            <pc:docMk/>
            <pc:sldMk cId="2192655461" sldId="406"/>
            <ac:cxnSpMk id="710" creationId="{283D008A-B4B8-061A-0FB3-92DF3AAA9A9B}"/>
          </ac:cxnSpMkLst>
        </pc:cxnChg>
        <pc:cxnChg chg="add del mod replST">
          <ac:chgData name="Merlin Gutter" userId="2abc6f04-74af-430b-bdc8-569c3bfa1dda" providerId="ADAL" clId="{CB1EFBC3-10F5-3048-8961-5969497C0019}" dt="2022-11-24T22:40:02.437" v="176470"/>
          <ac:cxnSpMkLst>
            <pc:docMk/>
            <pc:sldMk cId="2192655461" sldId="406"/>
            <ac:cxnSpMk id="711" creationId="{1A6BA57D-3C13-97A1-3F49-8888C9FAC928}"/>
          </ac:cxnSpMkLst>
        </pc:cxnChg>
        <pc:cxnChg chg="add del mod replST">
          <ac:chgData name="Merlin Gutter" userId="2abc6f04-74af-430b-bdc8-569c3bfa1dda" providerId="ADAL" clId="{CB1EFBC3-10F5-3048-8961-5969497C0019}" dt="2022-11-24T22:40:02.437" v="176468"/>
          <ac:cxnSpMkLst>
            <pc:docMk/>
            <pc:sldMk cId="2192655461" sldId="406"/>
            <ac:cxnSpMk id="712" creationId="{B8C555D9-07F4-4781-804C-B4591FC5F007}"/>
          </ac:cxnSpMkLst>
        </pc:cxnChg>
        <pc:cxnChg chg="add mod replST">
          <ac:chgData name="Merlin Gutter" userId="2abc6f04-74af-430b-bdc8-569c3bfa1dda" providerId="ADAL" clId="{CB1EFBC3-10F5-3048-8961-5969497C0019}" dt="2022-11-25T00:17:13.169" v="205321"/>
          <ac:cxnSpMkLst>
            <pc:docMk/>
            <pc:sldMk cId="2192655461" sldId="406"/>
            <ac:cxnSpMk id="731" creationId="{D1FB16BB-DB94-F6A6-FBB7-9E2916D36F03}"/>
          </ac:cxnSpMkLst>
        </pc:cxnChg>
        <pc:cxnChg chg="add mod replST">
          <ac:chgData name="Merlin Gutter" userId="2abc6f04-74af-430b-bdc8-569c3bfa1dda" providerId="ADAL" clId="{CB1EFBC3-10F5-3048-8961-5969497C0019}" dt="2022-11-25T00:17:13.170" v="205322"/>
          <ac:cxnSpMkLst>
            <pc:docMk/>
            <pc:sldMk cId="2192655461" sldId="406"/>
            <ac:cxnSpMk id="732" creationId="{9D2A3E45-DD94-21D2-D901-F48D4D96987D}"/>
          </ac:cxnSpMkLst>
        </pc:cxnChg>
        <pc:cxnChg chg="add del mod replST">
          <ac:chgData name="Merlin Gutter" userId="2abc6f04-74af-430b-bdc8-569c3bfa1dda" providerId="ADAL" clId="{CB1EFBC3-10F5-3048-8961-5969497C0019}" dt="2022-11-24T22:40:28.308" v="179382"/>
          <ac:cxnSpMkLst>
            <pc:docMk/>
            <pc:sldMk cId="2192655461" sldId="406"/>
            <ac:cxnSpMk id="751" creationId="{8D0ACD6A-5918-79BB-3FC1-A53AFC9B5125}"/>
          </ac:cxnSpMkLst>
        </pc:cxnChg>
        <pc:cxnChg chg="add del mod replST">
          <ac:chgData name="Merlin Gutter" userId="2abc6f04-74af-430b-bdc8-569c3bfa1dda" providerId="ADAL" clId="{CB1EFBC3-10F5-3048-8961-5969497C0019}" dt="2022-11-24T22:40:28.307" v="179380"/>
          <ac:cxnSpMkLst>
            <pc:docMk/>
            <pc:sldMk cId="2192655461" sldId="406"/>
            <ac:cxnSpMk id="752" creationId="{AEFD5F3E-54C9-5191-FBA3-46D3788C5D01}"/>
          </ac:cxnSpMkLst>
        </pc:cxnChg>
        <pc:cxnChg chg="add del mod replST">
          <ac:chgData name="Merlin Gutter" userId="2abc6f04-74af-430b-bdc8-569c3bfa1dda" providerId="ADAL" clId="{CB1EFBC3-10F5-3048-8961-5969497C0019}" dt="2022-11-24T22:40:28.307" v="179378"/>
          <ac:cxnSpMkLst>
            <pc:docMk/>
            <pc:sldMk cId="2192655461" sldId="406"/>
            <ac:cxnSpMk id="753" creationId="{EDCE6434-0863-48FB-17E1-71E02B045348}"/>
          </ac:cxnSpMkLst>
        </pc:cxnChg>
        <pc:cxnChg chg="add del mod replST">
          <ac:chgData name="Merlin Gutter" userId="2abc6f04-74af-430b-bdc8-569c3bfa1dda" providerId="ADAL" clId="{CB1EFBC3-10F5-3048-8961-5969497C0019}" dt="2022-11-24T22:40:28.306" v="179376"/>
          <ac:cxnSpMkLst>
            <pc:docMk/>
            <pc:sldMk cId="2192655461" sldId="406"/>
            <ac:cxnSpMk id="754" creationId="{44AD6013-56D6-A62A-21D3-D96EAB087A48}"/>
          </ac:cxnSpMkLst>
        </pc:cxnChg>
        <pc:cxnChg chg="add del mod replST">
          <ac:chgData name="Merlin Gutter" userId="2abc6f04-74af-430b-bdc8-569c3bfa1dda" providerId="ADAL" clId="{CB1EFBC3-10F5-3048-8961-5969497C0019}" dt="2022-11-24T23:03:20.996" v="187451"/>
          <ac:cxnSpMkLst>
            <pc:docMk/>
            <pc:sldMk cId="2192655461" sldId="406"/>
            <ac:cxnSpMk id="771" creationId="{28DEDF47-D8F3-359A-F37D-8F3EF1420FF4}"/>
          </ac:cxnSpMkLst>
        </pc:cxnChg>
        <pc:cxnChg chg="add del mod replST">
          <ac:chgData name="Merlin Gutter" userId="2abc6f04-74af-430b-bdc8-569c3bfa1dda" providerId="ADAL" clId="{CB1EFBC3-10F5-3048-8961-5969497C0019}" dt="2022-11-24T22:40:35.395" v="180658"/>
          <ac:cxnSpMkLst>
            <pc:docMk/>
            <pc:sldMk cId="2192655461" sldId="406"/>
            <ac:cxnSpMk id="772" creationId="{FDF7BBA6-336C-5CCE-76AE-AC8D2A796086}"/>
          </ac:cxnSpMkLst>
        </pc:cxnChg>
        <pc:cxnChg chg="add del mod replST">
          <ac:chgData name="Merlin Gutter" userId="2abc6f04-74af-430b-bdc8-569c3bfa1dda" providerId="ADAL" clId="{CB1EFBC3-10F5-3048-8961-5969497C0019}" dt="2022-11-24T22:40:35.395" v="180656"/>
          <ac:cxnSpMkLst>
            <pc:docMk/>
            <pc:sldMk cId="2192655461" sldId="406"/>
            <ac:cxnSpMk id="773" creationId="{93019834-DE9F-4CC5-90BF-A3498D0875DC}"/>
          </ac:cxnSpMkLst>
        </pc:cxnChg>
        <pc:cxnChg chg="add del mod replST">
          <ac:chgData name="Merlin Gutter" userId="2abc6f04-74af-430b-bdc8-569c3bfa1dda" providerId="ADAL" clId="{CB1EFBC3-10F5-3048-8961-5969497C0019}" dt="2022-11-24T22:40:35.394" v="180654"/>
          <ac:cxnSpMkLst>
            <pc:docMk/>
            <pc:sldMk cId="2192655461" sldId="406"/>
            <ac:cxnSpMk id="774" creationId="{16A145B4-11F5-7006-6333-8CFA6C098AF7}"/>
          </ac:cxnSpMkLst>
        </pc:cxnChg>
        <pc:cxnChg chg="add del mod replST">
          <ac:chgData name="Merlin Gutter" userId="2abc6f04-74af-430b-bdc8-569c3bfa1dda" providerId="ADAL" clId="{CB1EFBC3-10F5-3048-8961-5969497C0019}" dt="2022-11-24T23:03:25.677" v="187883"/>
          <ac:cxnSpMkLst>
            <pc:docMk/>
            <pc:sldMk cId="2192655461" sldId="406"/>
            <ac:cxnSpMk id="779" creationId="{3B488933-46F3-8891-0DB9-DA7A01E0CFE4}"/>
          </ac:cxnSpMkLst>
        </pc:cxnChg>
        <pc:cxnChg chg="add del mod replST">
          <ac:chgData name="Merlin Gutter" userId="2abc6f04-74af-430b-bdc8-569c3bfa1dda" providerId="ADAL" clId="{CB1EFBC3-10F5-3048-8961-5969497C0019}" dt="2022-11-24T23:03:09.743" v="186499"/>
          <ac:cxnSpMkLst>
            <pc:docMk/>
            <pc:sldMk cId="2192655461" sldId="406"/>
            <ac:cxnSpMk id="782" creationId="{2B38511A-B980-76A9-8C70-80F20EB48154}"/>
          </ac:cxnSpMkLst>
        </pc:cxnChg>
        <pc:cxnChg chg="add del mod replST">
          <ac:chgData name="Merlin Gutter" userId="2abc6f04-74af-430b-bdc8-569c3bfa1dda" providerId="ADAL" clId="{CB1EFBC3-10F5-3048-8961-5969497C0019}" dt="2022-11-24T22:41:05.470" v="181927"/>
          <ac:cxnSpMkLst>
            <pc:docMk/>
            <pc:sldMk cId="2192655461" sldId="406"/>
            <ac:cxnSpMk id="787" creationId="{9E6E0AC7-A1C9-4EFC-8CB5-DF935C08BE49}"/>
          </ac:cxnSpMkLst>
        </pc:cxnChg>
        <pc:cxnChg chg="add del mod replST">
          <ac:chgData name="Merlin Gutter" userId="2abc6f04-74af-430b-bdc8-569c3bfa1dda" providerId="ADAL" clId="{CB1EFBC3-10F5-3048-8961-5969497C0019}" dt="2022-11-24T23:03:20.999" v="187459"/>
          <ac:cxnSpMkLst>
            <pc:docMk/>
            <pc:sldMk cId="2192655461" sldId="406"/>
            <ac:cxnSpMk id="788" creationId="{E1933E7A-0555-B1DB-3326-F9791C98411E}"/>
          </ac:cxnSpMkLst>
        </pc:cxnChg>
        <pc:cxnChg chg="add mod replST">
          <ac:chgData name="Merlin Gutter" userId="2abc6f04-74af-430b-bdc8-569c3bfa1dda" providerId="ADAL" clId="{CB1EFBC3-10F5-3048-8961-5969497C0019}" dt="2022-11-25T00:17:13.144" v="205299"/>
          <ac:cxnSpMkLst>
            <pc:docMk/>
            <pc:sldMk cId="2192655461" sldId="406"/>
            <ac:cxnSpMk id="821" creationId="{7009260E-DA89-0D72-2021-657758A2AF78}"/>
          </ac:cxnSpMkLst>
        </pc:cxnChg>
        <pc:cxnChg chg="add mod replST">
          <ac:chgData name="Merlin Gutter" userId="2abc6f04-74af-430b-bdc8-569c3bfa1dda" providerId="ADAL" clId="{CB1EFBC3-10F5-3048-8961-5969497C0019}" dt="2022-11-25T00:17:13.145" v="205300"/>
          <ac:cxnSpMkLst>
            <pc:docMk/>
            <pc:sldMk cId="2192655461" sldId="406"/>
            <ac:cxnSpMk id="822" creationId="{7605AC4E-BA30-89EF-E7CC-0F686F9AD831}"/>
          </ac:cxnSpMkLst>
        </pc:cxnChg>
        <pc:cxnChg chg="add mod replST">
          <ac:chgData name="Merlin Gutter" userId="2abc6f04-74af-430b-bdc8-569c3bfa1dda" providerId="ADAL" clId="{CB1EFBC3-10F5-3048-8961-5969497C0019}" dt="2022-11-25T00:17:13.216" v="205362"/>
          <ac:cxnSpMkLst>
            <pc:docMk/>
            <pc:sldMk cId="2192655461" sldId="406"/>
            <ac:cxnSpMk id="836" creationId="{AAE44F7C-6C2B-56F2-A393-FFD74921A02D}"/>
          </ac:cxnSpMkLst>
        </pc:cxnChg>
        <pc:cxnChg chg="add mod replST">
          <ac:chgData name="Merlin Gutter" userId="2abc6f04-74af-430b-bdc8-569c3bfa1dda" providerId="ADAL" clId="{CB1EFBC3-10F5-3048-8961-5969497C0019}" dt="2022-11-25T00:17:13.197" v="205345"/>
          <ac:cxnSpMkLst>
            <pc:docMk/>
            <pc:sldMk cId="2192655461" sldId="406"/>
            <ac:cxnSpMk id="837" creationId="{116E7CB5-196E-CF56-3334-2DBCDFDAC136}"/>
          </ac:cxnSpMkLst>
        </pc:cxnChg>
        <pc:cxnChg chg="add mod replST">
          <ac:chgData name="Merlin Gutter" userId="2abc6f04-74af-430b-bdc8-569c3bfa1dda" providerId="ADAL" clId="{CB1EFBC3-10F5-3048-8961-5969497C0019}" dt="2022-11-25T00:17:13.191" v="205340"/>
          <ac:cxnSpMkLst>
            <pc:docMk/>
            <pc:sldMk cId="2192655461" sldId="406"/>
            <ac:cxnSpMk id="838" creationId="{818812C7-381B-387D-387A-8DDE59E961EB}"/>
          </ac:cxnSpMkLst>
        </pc:cxnChg>
        <pc:cxnChg chg="add mod replST">
          <ac:chgData name="Merlin Gutter" userId="2abc6f04-74af-430b-bdc8-569c3bfa1dda" providerId="ADAL" clId="{CB1EFBC3-10F5-3048-8961-5969497C0019}" dt="2022-11-25T00:17:13.181" v="205331"/>
          <ac:cxnSpMkLst>
            <pc:docMk/>
            <pc:sldMk cId="2192655461" sldId="406"/>
            <ac:cxnSpMk id="839" creationId="{465A01BA-7FE1-A6FB-38B1-C9700C9FEFBD}"/>
          </ac:cxnSpMkLst>
        </pc:cxnChg>
        <pc:cxnChg chg="add mod replST">
          <ac:chgData name="Merlin Gutter" userId="2abc6f04-74af-430b-bdc8-569c3bfa1dda" providerId="ADAL" clId="{CB1EFBC3-10F5-3048-8961-5969497C0019}" dt="2022-11-25T00:17:13.188" v="205337"/>
          <ac:cxnSpMkLst>
            <pc:docMk/>
            <pc:sldMk cId="2192655461" sldId="406"/>
            <ac:cxnSpMk id="840" creationId="{C175410E-6866-56FD-1D8E-794F67D6D8A0}"/>
          </ac:cxnSpMkLst>
        </pc:cxnChg>
        <pc:cxnChg chg="add mod replST">
          <ac:chgData name="Merlin Gutter" userId="2abc6f04-74af-430b-bdc8-569c3bfa1dda" providerId="ADAL" clId="{CB1EFBC3-10F5-3048-8961-5969497C0019}" dt="2022-11-25T00:17:13.196" v="205344"/>
          <ac:cxnSpMkLst>
            <pc:docMk/>
            <pc:sldMk cId="2192655461" sldId="406"/>
            <ac:cxnSpMk id="841" creationId="{20C5D0C8-B265-90C6-9184-CED7F1DB723E}"/>
          </ac:cxnSpMkLst>
        </pc:cxnChg>
        <pc:cxnChg chg="add mod replST">
          <ac:chgData name="Merlin Gutter" userId="2abc6f04-74af-430b-bdc8-569c3bfa1dda" providerId="ADAL" clId="{CB1EFBC3-10F5-3048-8961-5969497C0019}" dt="2022-11-25T00:17:13.183" v="205333"/>
          <ac:cxnSpMkLst>
            <pc:docMk/>
            <pc:sldMk cId="2192655461" sldId="406"/>
            <ac:cxnSpMk id="842" creationId="{606129EF-236D-3B2E-A5AB-B1710B6B5A6C}"/>
          </ac:cxnSpMkLst>
        </pc:cxnChg>
        <pc:cxnChg chg="add mod replST">
          <ac:chgData name="Merlin Gutter" userId="2abc6f04-74af-430b-bdc8-569c3bfa1dda" providerId="ADAL" clId="{CB1EFBC3-10F5-3048-8961-5969497C0019}" dt="2022-11-25T00:17:13.182" v="205332"/>
          <ac:cxnSpMkLst>
            <pc:docMk/>
            <pc:sldMk cId="2192655461" sldId="406"/>
            <ac:cxnSpMk id="843" creationId="{73ADF611-49FD-A675-053F-0C73DCC6C3D1}"/>
          </ac:cxnSpMkLst>
        </pc:cxnChg>
        <pc:cxnChg chg="add mod replST">
          <ac:chgData name="Merlin Gutter" userId="2abc6f04-74af-430b-bdc8-569c3bfa1dda" providerId="ADAL" clId="{CB1EFBC3-10F5-3048-8961-5969497C0019}" dt="2022-11-25T00:17:13.193" v="205342"/>
          <ac:cxnSpMkLst>
            <pc:docMk/>
            <pc:sldMk cId="2192655461" sldId="406"/>
            <ac:cxnSpMk id="844" creationId="{779FC3D0-B489-60B3-1C4E-4E527824A986}"/>
          </ac:cxnSpMkLst>
        </pc:cxnChg>
        <pc:cxnChg chg="add mod replST">
          <ac:chgData name="Merlin Gutter" userId="2abc6f04-74af-430b-bdc8-569c3bfa1dda" providerId="ADAL" clId="{CB1EFBC3-10F5-3048-8961-5969497C0019}" dt="2022-11-25T00:17:13.190" v="205339"/>
          <ac:cxnSpMkLst>
            <pc:docMk/>
            <pc:sldMk cId="2192655461" sldId="406"/>
            <ac:cxnSpMk id="845" creationId="{3025A005-2B96-7DC0-AEB8-CB8E25B69B85}"/>
          </ac:cxnSpMkLst>
        </pc:cxnChg>
        <pc:cxnChg chg="add mod replST">
          <ac:chgData name="Merlin Gutter" userId="2abc6f04-74af-430b-bdc8-569c3bfa1dda" providerId="ADAL" clId="{CB1EFBC3-10F5-3048-8961-5969497C0019}" dt="2022-11-25T00:17:13.192" v="205341"/>
          <ac:cxnSpMkLst>
            <pc:docMk/>
            <pc:sldMk cId="2192655461" sldId="406"/>
            <ac:cxnSpMk id="858" creationId="{935269F4-C1F9-ED6A-C808-8E402CD941CA}"/>
          </ac:cxnSpMkLst>
        </pc:cxnChg>
        <pc:cxnChg chg="add mod replST">
          <ac:chgData name="Merlin Gutter" userId="2abc6f04-74af-430b-bdc8-569c3bfa1dda" providerId="ADAL" clId="{CB1EFBC3-10F5-3048-8961-5969497C0019}" dt="2022-11-25T00:17:13.189" v="205338"/>
          <ac:cxnSpMkLst>
            <pc:docMk/>
            <pc:sldMk cId="2192655461" sldId="406"/>
            <ac:cxnSpMk id="859" creationId="{EBE3DC68-8A85-4920-136A-D5F04E95B220}"/>
          </ac:cxnSpMkLst>
        </pc:cxnChg>
        <pc:cxnChg chg="add mod replST">
          <ac:chgData name="Merlin Gutter" userId="2abc6f04-74af-430b-bdc8-569c3bfa1dda" providerId="ADAL" clId="{CB1EFBC3-10F5-3048-8961-5969497C0019}" dt="2022-11-25T00:17:13.195" v="205343"/>
          <ac:cxnSpMkLst>
            <pc:docMk/>
            <pc:sldMk cId="2192655461" sldId="406"/>
            <ac:cxnSpMk id="860" creationId="{B1E46648-89EF-4CAE-7F3C-66CCE3635475}"/>
          </ac:cxnSpMkLst>
        </pc:cxnChg>
        <pc:cxnChg chg="add mod replST">
          <ac:chgData name="Merlin Gutter" userId="2abc6f04-74af-430b-bdc8-569c3bfa1dda" providerId="ADAL" clId="{CB1EFBC3-10F5-3048-8961-5969497C0019}" dt="2022-11-25T00:17:13.185" v="205335"/>
          <ac:cxnSpMkLst>
            <pc:docMk/>
            <pc:sldMk cId="2192655461" sldId="406"/>
            <ac:cxnSpMk id="861" creationId="{8F2ACE9E-EF98-D58E-D0DB-534968BE0DB1}"/>
          </ac:cxnSpMkLst>
        </pc:cxnChg>
        <pc:cxnChg chg="add mod replST">
          <ac:chgData name="Merlin Gutter" userId="2abc6f04-74af-430b-bdc8-569c3bfa1dda" providerId="ADAL" clId="{CB1EFBC3-10F5-3048-8961-5969497C0019}" dt="2022-11-25T00:17:13.187" v="205336"/>
          <ac:cxnSpMkLst>
            <pc:docMk/>
            <pc:sldMk cId="2192655461" sldId="406"/>
            <ac:cxnSpMk id="862" creationId="{91F7F145-EB97-E093-431E-3A1337DF1A61}"/>
          </ac:cxnSpMkLst>
        </pc:cxnChg>
        <pc:cxnChg chg="add mod replST">
          <ac:chgData name="Merlin Gutter" userId="2abc6f04-74af-430b-bdc8-569c3bfa1dda" providerId="ADAL" clId="{CB1EFBC3-10F5-3048-8961-5969497C0019}" dt="2022-11-25T00:17:13.184" v="205334"/>
          <ac:cxnSpMkLst>
            <pc:docMk/>
            <pc:sldMk cId="2192655461" sldId="406"/>
            <ac:cxnSpMk id="863" creationId="{5FDFF26E-A198-468B-2E3C-DF8C0259DDCA}"/>
          </ac:cxnSpMkLst>
        </pc:cxnChg>
        <pc:cxnChg chg="add del mod replST">
          <ac:chgData name="Merlin Gutter" userId="2abc6f04-74af-430b-bdc8-569c3bfa1dda" providerId="ADAL" clId="{CB1EFBC3-10F5-3048-8961-5969497C0019}" dt="2022-11-24T23:03:21.001" v="187468"/>
          <ac:cxnSpMkLst>
            <pc:docMk/>
            <pc:sldMk cId="2192655461" sldId="406"/>
            <ac:cxnSpMk id="864" creationId="{CA4B566E-B844-F26E-1AD5-DE6A45DB858F}"/>
          </ac:cxnSpMkLst>
        </pc:cxnChg>
        <pc:cxnChg chg="add del mod replST">
          <ac:chgData name="Merlin Gutter" userId="2abc6f04-74af-430b-bdc8-569c3bfa1dda" providerId="ADAL" clId="{CB1EFBC3-10F5-3048-8961-5969497C0019}" dt="2022-11-24T23:03:21.001" v="187466"/>
          <ac:cxnSpMkLst>
            <pc:docMk/>
            <pc:sldMk cId="2192655461" sldId="406"/>
            <ac:cxnSpMk id="865" creationId="{35835AF0-210B-670D-AC34-4425B23806C9}"/>
          </ac:cxnSpMkLst>
        </pc:cxnChg>
        <pc:cxnChg chg="add del mod replST">
          <ac:chgData name="Merlin Gutter" userId="2abc6f04-74af-430b-bdc8-569c3bfa1dda" providerId="ADAL" clId="{CB1EFBC3-10F5-3048-8961-5969497C0019}" dt="2022-11-24T23:03:21" v="187462"/>
          <ac:cxnSpMkLst>
            <pc:docMk/>
            <pc:sldMk cId="2192655461" sldId="406"/>
            <ac:cxnSpMk id="866" creationId="{C3523556-1A06-6325-7D58-3B86F917A6FB}"/>
          </ac:cxnSpMkLst>
        </pc:cxnChg>
        <pc:cxnChg chg="add del mod replST">
          <ac:chgData name="Merlin Gutter" userId="2abc6f04-74af-430b-bdc8-569c3bfa1dda" providerId="ADAL" clId="{CB1EFBC3-10F5-3048-8961-5969497C0019}" dt="2022-11-24T23:03:21" v="187464"/>
          <ac:cxnSpMkLst>
            <pc:docMk/>
            <pc:sldMk cId="2192655461" sldId="406"/>
            <ac:cxnSpMk id="873" creationId="{ABCDE8E9-4388-8746-6529-2FB38CC9AB59}"/>
          </ac:cxnSpMkLst>
        </pc:cxnChg>
      </pc:sldChg>
      <pc:sldChg chg="addSp delSp modSp add mod ord">
        <pc:chgData name="Merlin Gutter" userId="2abc6f04-74af-430b-bdc8-569c3bfa1dda" providerId="ADAL" clId="{CB1EFBC3-10F5-3048-8961-5969497C0019}" dt="2022-11-25T01:28:34.350" v="208676" actId="165"/>
        <pc:sldMkLst>
          <pc:docMk/>
          <pc:sldMk cId="729331847" sldId="409"/>
        </pc:sldMkLst>
        <pc:spChg chg="add mod topLvl">
          <ac:chgData name="Merlin Gutter" userId="2abc6f04-74af-430b-bdc8-569c3bfa1dda" providerId="ADAL" clId="{CB1EFBC3-10F5-3048-8961-5969497C0019}" dt="2022-11-25T01:28:34.350" v="208676" actId="165"/>
          <ac:spMkLst>
            <pc:docMk/>
            <pc:sldMk cId="729331847" sldId="409"/>
            <ac:spMk id="4" creationId="{CBBCF139-E7AA-C5C8-DAB6-86C35BDBFF92}"/>
          </ac:spMkLst>
        </pc:spChg>
        <pc:spChg chg="add mod topLvl">
          <ac:chgData name="Merlin Gutter" userId="2abc6f04-74af-430b-bdc8-569c3bfa1dda" providerId="ADAL" clId="{CB1EFBC3-10F5-3048-8961-5969497C0019}" dt="2022-11-25T01:28:34.350" v="208676" actId="165"/>
          <ac:spMkLst>
            <pc:docMk/>
            <pc:sldMk cId="729331847" sldId="409"/>
            <ac:spMk id="5" creationId="{DEA13EB4-83A6-3CFC-C843-470F5190CB62}"/>
          </ac:spMkLst>
        </pc:spChg>
        <pc:spChg chg="add mod topLvl">
          <ac:chgData name="Merlin Gutter" userId="2abc6f04-74af-430b-bdc8-569c3bfa1dda" providerId="ADAL" clId="{CB1EFBC3-10F5-3048-8961-5969497C0019}" dt="2022-11-25T01:28:34.350" v="208676" actId="165"/>
          <ac:spMkLst>
            <pc:docMk/>
            <pc:sldMk cId="729331847" sldId="409"/>
            <ac:spMk id="6" creationId="{09975C54-DA64-2537-DB3C-3C3ACC6B2A05}"/>
          </ac:spMkLst>
        </pc:spChg>
        <pc:spChg chg="mod topLvl">
          <ac:chgData name="Merlin Gutter" userId="2abc6f04-74af-430b-bdc8-569c3bfa1dda" providerId="ADAL" clId="{CB1EFBC3-10F5-3048-8961-5969497C0019}" dt="2022-11-25T01:28:34.350" v="208676" actId="165"/>
          <ac:spMkLst>
            <pc:docMk/>
            <pc:sldMk cId="729331847" sldId="409"/>
            <ac:spMk id="8" creationId="{FAE0BDE5-74E8-1A4D-EAB3-24C7A25AF140}"/>
          </ac:spMkLst>
        </pc:spChg>
        <pc:spChg chg="del mod topLvl">
          <ac:chgData name="Merlin Gutter" userId="2abc6f04-74af-430b-bdc8-569c3bfa1dda" providerId="ADAL" clId="{CB1EFBC3-10F5-3048-8961-5969497C0019}" dt="2022-11-25T01:20:54.655" v="208555" actId="478"/>
          <ac:spMkLst>
            <pc:docMk/>
            <pc:sldMk cId="729331847" sldId="409"/>
            <ac:spMk id="9" creationId="{1C8B9277-9892-BB1E-E95A-5F9CEDB1CBE0}"/>
          </ac:spMkLst>
        </pc:spChg>
        <pc:spChg chg="add mod topLvl">
          <ac:chgData name="Merlin Gutter" userId="2abc6f04-74af-430b-bdc8-569c3bfa1dda" providerId="ADAL" clId="{CB1EFBC3-10F5-3048-8961-5969497C0019}" dt="2022-11-25T01:28:34.350" v="208676" actId="165"/>
          <ac:spMkLst>
            <pc:docMk/>
            <pc:sldMk cId="729331847" sldId="409"/>
            <ac:spMk id="10" creationId="{BD498159-6449-5AAA-A3A4-27E50946EA84}"/>
          </ac:spMkLst>
        </pc:spChg>
        <pc:spChg chg="add mod topLvl">
          <ac:chgData name="Merlin Gutter" userId="2abc6f04-74af-430b-bdc8-569c3bfa1dda" providerId="ADAL" clId="{CB1EFBC3-10F5-3048-8961-5969497C0019}" dt="2022-11-25T01:28:34.350" v="208676" actId="165"/>
          <ac:spMkLst>
            <pc:docMk/>
            <pc:sldMk cId="729331847" sldId="409"/>
            <ac:spMk id="11" creationId="{617F5C52-0CDF-0E1F-64DD-254AE2DF744E}"/>
          </ac:spMkLst>
        </pc:spChg>
        <pc:grpChg chg="add del mod">
          <ac:chgData name="Merlin Gutter" userId="2abc6f04-74af-430b-bdc8-569c3bfa1dda" providerId="ADAL" clId="{CB1EFBC3-10F5-3048-8961-5969497C0019}" dt="2022-11-25T01:20:54.655" v="208555" actId="478"/>
          <ac:grpSpMkLst>
            <pc:docMk/>
            <pc:sldMk cId="729331847" sldId="409"/>
            <ac:grpSpMk id="7" creationId="{18677D5B-02D2-55B9-E46F-E2ACD1C38F0B}"/>
          </ac:grpSpMkLst>
        </pc:grpChg>
        <pc:grpChg chg="add del mod topLvl">
          <ac:chgData name="Merlin Gutter" userId="2abc6f04-74af-430b-bdc8-569c3bfa1dda" providerId="ADAL" clId="{CB1EFBC3-10F5-3048-8961-5969497C0019}" dt="2022-11-25T01:27:47.132" v="208657" actId="165"/>
          <ac:grpSpMkLst>
            <pc:docMk/>
            <pc:sldMk cId="729331847" sldId="409"/>
            <ac:grpSpMk id="12" creationId="{F7AE9697-F12D-12FF-E838-C82D977D6B23}"/>
          </ac:grpSpMkLst>
        </pc:grpChg>
        <pc:grpChg chg="add del mod topLvl">
          <ac:chgData name="Merlin Gutter" userId="2abc6f04-74af-430b-bdc8-569c3bfa1dda" providerId="ADAL" clId="{CB1EFBC3-10F5-3048-8961-5969497C0019}" dt="2022-11-25T01:27:52.689" v="208660" actId="165"/>
          <ac:grpSpMkLst>
            <pc:docMk/>
            <pc:sldMk cId="729331847" sldId="409"/>
            <ac:grpSpMk id="13" creationId="{A56038C1-C6CF-FD57-66D8-AC20DA728320}"/>
          </ac:grpSpMkLst>
        </pc:grpChg>
        <pc:grpChg chg="add del mod topLvl">
          <ac:chgData name="Merlin Gutter" userId="2abc6f04-74af-430b-bdc8-569c3bfa1dda" providerId="ADAL" clId="{CB1EFBC3-10F5-3048-8961-5969497C0019}" dt="2022-11-25T01:27:52.689" v="208660" actId="165"/>
          <ac:grpSpMkLst>
            <pc:docMk/>
            <pc:sldMk cId="729331847" sldId="409"/>
            <ac:grpSpMk id="14" creationId="{13C3F1D8-80F2-D545-9C67-19454CDCC195}"/>
          </ac:grpSpMkLst>
        </pc:grpChg>
        <pc:grpChg chg="add del mod">
          <ac:chgData name="Merlin Gutter" userId="2abc6f04-74af-430b-bdc8-569c3bfa1dda" providerId="ADAL" clId="{CB1EFBC3-10F5-3048-8961-5969497C0019}" dt="2022-11-25T01:26:19.915" v="208627" actId="165"/>
          <ac:grpSpMkLst>
            <pc:docMk/>
            <pc:sldMk cId="729331847" sldId="409"/>
            <ac:grpSpMk id="15" creationId="{8621415F-16CC-7CE8-5FBE-316255AD3069}"/>
          </ac:grpSpMkLst>
        </pc:grpChg>
        <pc:grpChg chg="add del mod">
          <ac:chgData name="Merlin Gutter" userId="2abc6f04-74af-430b-bdc8-569c3bfa1dda" providerId="ADAL" clId="{CB1EFBC3-10F5-3048-8961-5969497C0019}" dt="2022-11-25T01:27:52.547" v="208659" actId="165"/>
          <ac:grpSpMkLst>
            <pc:docMk/>
            <pc:sldMk cId="729331847" sldId="409"/>
            <ac:grpSpMk id="16" creationId="{6A685B91-8C27-227E-23E7-ECA7C0096E6E}"/>
          </ac:grpSpMkLst>
        </pc:grpChg>
        <pc:grpChg chg="add mod topLvl">
          <ac:chgData name="Merlin Gutter" userId="2abc6f04-74af-430b-bdc8-569c3bfa1dda" providerId="ADAL" clId="{CB1EFBC3-10F5-3048-8961-5969497C0019}" dt="2022-11-25T01:28:34.350" v="208676" actId="165"/>
          <ac:grpSpMkLst>
            <pc:docMk/>
            <pc:sldMk cId="729331847" sldId="409"/>
            <ac:grpSpMk id="17" creationId="{D2612C2F-643F-D0DE-C079-BAA20C7DF338}"/>
          </ac:grpSpMkLst>
        </pc:grpChg>
        <pc:grpChg chg="add mod topLvl">
          <ac:chgData name="Merlin Gutter" userId="2abc6f04-74af-430b-bdc8-569c3bfa1dda" providerId="ADAL" clId="{CB1EFBC3-10F5-3048-8961-5969497C0019}" dt="2022-11-25T01:28:34.350" v="208676" actId="165"/>
          <ac:grpSpMkLst>
            <pc:docMk/>
            <pc:sldMk cId="729331847" sldId="409"/>
            <ac:grpSpMk id="18" creationId="{DC7B2302-5342-5AF0-8DC4-8A7C8DD0F9B8}"/>
          </ac:grpSpMkLst>
        </pc:grpChg>
        <pc:grpChg chg="add mod topLvl">
          <ac:chgData name="Merlin Gutter" userId="2abc6f04-74af-430b-bdc8-569c3bfa1dda" providerId="ADAL" clId="{CB1EFBC3-10F5-3048-8961-5969497C0019}" dt="2022-11-25T01:28:34.350" v="208676" actId="165"/>
          <ac:grpSpMkLst>
            <pc:docMk/>
            <pc:sldMk cId="729331847" sldId="409"/>
            <ac:grpSpMk id="19" creationId="{A815E50A-4865-6CDD-1BDB-64E720F96F59}"/>
          </ac:grpSpMkLst>
        </pc:grpChg>
        <pc:grpChg chg="add del mod">
          <ac:chgData name="Merlin Gutter" userId="2abc6f04-74af-430b-bdc8-569c3bfa1dda" providerId="ADAL" clId="{CB1EFBC3-10F5-3048-8961-5969497C0019}" dt="2022-11-25T01:28:34.350" v="208676" actId="165"/>
          <ac:grpSpMkLst>
            <pc:docMk/>
            <pc:sldMk cId="729331847" sldId="409"/>
            <ac:grpSpMk id="20" creationId="{973E9DDB-8E31-85D4-954F-2DF78E9CDC23}"/>
          </ac:grpSpMkLst>
        </pc:grpChg>
      </pc:sldChg>
      <pc:sldChg chg="addSp modSp new add del mod">
        <pc:chgData name="Merlin Gutter" userId="2abc6f04-74af-430b-bdc8-569c3bfa1dda" providerId="ADAL" clId="{CB1EFBC3-10F5-3048-8961-5969497C0019}" dt="2022-11-25T01:15:32.354" v="208218" actId="2696"/>
        <pc:sldMkLst>
          <pc:docMk/>
          <pc:sldMk cId="3855121430" sldId="409"/>
        </pc:sldMkLst>
        <pc:spChg chg="add mod">
          <ac:chgData name="Merlin Gutter" userId="2abc6f04-74af-430b-bdc8-569c3bfa1dda" providerId="ADAL" clId="{CB1EFBC3-10F5-3048-8961-5969497C0019}" dt="2022-11-25T01:14:59.870" v="208217" actId="14100"/>
          <ac:spMkLst>
            <pc:docMk/>
            <pc:sldMk cId="3855121430" sldId="409"/>
            <ac:spMk id="2" creationId="{8AFC1F79-9771-2FFF-FA5A-185942D6EB52}"/>
          </ac:spMkLst>
        </pc:spChg>
        <pc:cxnChg chg="add mod">
          <ac:chgData name="Merlin Gutter" userId="2abc6f04-74af-430b-bdc8-569c3bfa1dda" providerId="ADAL" clId="{CB1EFBC3-10F5-3048-8961-5969497C0019}" dt="2022-11-25T01:14:35.183" v="208196"/>
          <ac:cxnSpMkLst>
            <pc:docMk/>
            <pc:sldMk cId="3855121430" sldId="409"/>
            <ac:cxnSpMk id="3" creationId="{3C0D793A-C560-4EE1-8333-05F167A8CD6A}"/>
          </ac:cxnSpMkLst>
        </pc:cxnChg>
      </pc:sldChg>
      <pc:sldMasterChg chg="modSp mod modSldLayout">
        <pc:chgData name="Merlin Gutter" userId="2abc6f04-74af-430b-bdc8-569c3bfa1dda" providerId="ADAL" clId="{CB1EFBC3-10F5-3048-8961-5969497C0019}" dt="2022-11-13T01:09:52.369" v="52434"/>
        <pc:sldMasterMkLst>
          <pc:docMk/>
          <pc:sldMasterMk cId="3011101579" sldId="2147483723"/>
        </pc:sldMasterMkLst>
        <pc:spChg chg="mod">
          <ac:chgData name="Merlin Gutter" userId="2abc6f04-74af-430b-bdc8-569c3bfa1dda" providerId="ADAL" clId="{CB1EFBC3-10F5-3048-8961-5969497C0019}" dt="2022-11-13T01:09:52.369" v="52434"/>
          <ac:spMkLst>
            <pc:docMk/>
            <pc:sldMasterMk cId="3011101579" sldId="2147483723"/>
            <ac:spMk id="17" creationId="{6172BB9F-D85D-57CC-9ED1-6D1AAE111247}"/>
          </ac:spMkLst>
        </pc:spChg>
        <pc:spChg chg="mod">
          <ac:chgData name="Merlin Gutter" userId="2abc6f04-74af-430b-bdc8-569c3bfa1dda" providerId="ADAL" clId="{CB1EFBC3-10F5-3048-8961-5969497C0019}" dt="2022-11-13T01:08:46.721" v="51696" actId="207"/>
          <ac:spMkLst>
            <pc:docMk/>
            <pc:sldMasterMk cId="3011101579" sldId="2147483723"/>
            <ac:spMk id="23" creationId="{B1F30B48-0748-15C1-4102-5B8BB7E97A31}"/>
          </ac:spMkLst>
        </pc:spChg>
        <pc:sldLayoutChg chg="addSp delSp modSp mod">
          <pc:chgData name="Merlin Gutter" userId="2abc6f04-74af-430b-bdc8-569c3bfa1dda" providerId="ADAL" clId="{CB1EFBC3-10F5-3048-8961-5969497C0019}" dt="2022-11-12T19:01:12.841" v="43185" actId="2711"/>
          <pc:sldLayoutMkLst>
            <pc:docMk/>
            <pc:sldMasterMk cId="3011101579" sldId="2147483723"/>
            <pc:sldLayoutMk cId="2997178041" sldId="2147483827"/>
          </pc:sldLayoutMkLst>
          <pc:spChg chg="add del mod">
            <ac:chgData name="Merlin Gutter" userId="2abc6f04-74af-430b-bdc8-569c3bfa1dda" providerId="ADAL" clId="{CB1EFBC3-10F5-3048-8961-5969497C0019}" dt="2022-11-12T18:57:34.740" v="42483"/>
            <ac:spMkLst>
              <pc:docMk/>
              <pc:sldMasterMk cId="3011101579" sldId="2147483723"/>
              <pc:sldLayoutMk cId="2997178041" sldId="2147483827"/>
              <ac:spMk id="3" creationId="{B57A3C60-ED60-9F74-C649-89933AA15A24}"/>
            </ac:spMkLst>
          </pc:spChg>
          <pc:spChg chg="add del mod">
            <ac:chgData name="Merlin Gutter" userId="2abc6f04-74af-430b-bdc8-569c3bfa1dda" providerId="ADAL" clId="{CB1EFBC3-10F5-3048-8961-5969497C0019}" dt="2022-11-12T18:57:35.989" v="42485"/>
            <ac:spMkLst>
              <pc:docMk/>
              <pc:sldMasterMk cId="3011101579" sldId="2147483723"/>
              <pc:sldLayoutMk cId="2997178041" sldId="2147483827"/>
              <ac:spMk id="5" creationId="{D1FC2161-3CB7-C82D-7034-4D6FEC14AD44}"/>
            </ac:spMkLst>
          </pc:spChg>
          <pc:spChg chg="add del mod">
            <ac:chgData name="Merlin Gutter" userId="2abc6f04-74af-430b-bdc8-569c3bfa1dda" providerId="ADAL" clId="{CB1EFBC3-10F5-3048-8961-5969497C0019}" dt="2022-11-12T18:57:54.603" v="43184"/>
            <ac:spMkLst>
              <pc:docMk/>
              <pc:sldMasterMk cId="3011101579" sldId="2147483723"/>
              <pc:sldLayoutMk cId="2997178041" sldId="2147483827"/>
              <ac:spMk id="6" creationId="{3EE0C816-7AC0-AAB7-6C6A-9DA792DE600B}"/>
            </ac:spMkLst>
          </pc:spChg>
          <pc:spChg chg="mod">
            <ac:chgData name="Merlin Gutter" userId="2abc6f04-74af-430b-bdc8-569c3bfa1dda" providerId="ADAL" clId="{CB1EFBC3-10F5-3048-8961-5969497C0019}" dt="2022-11-12T19:01:12.841" v="43185" actId="2711"/>
            <ac:spMkLst>
              <pc:docMk/>
              <pc:sldMasterMk cId="3011101579" sldId="2147483723"/>
              <pc:sldLayoutMk cId="2997178041" sldId="2147483827"/>
              <ac:spMk id="10" creationId="{690A30EA-73BB-9EE3-5F73-C76A9D5ABAFD}"/>
            </ac:spMkLst>
          </pc:spChg>
        </pc:sldLayoutChg>
        <pc:sldLayoutChg chg="addSp delSp modSp mod">
          <pc:chgData name="Merlin Gutter" userId="2abc6f04-74af-430b-bdc8-569c3bfa1dda" providerId="ADAL" clId="{CB1EFBC3-10F5-3048-8961-5969497C0019}" dt="2022-11-13T00:58:57.475" v="49729"/>
          <pc:sldLayoutMkLst>
            <pc:docMk/>
            <pc:sldMasterMk cId="3011101579" sldId="2147483723"/>
            <pc:sldLayoutMk cId="1099390443" sldId="2147483828"/>
          </pc:sldLayoutMkLst>
          <pc:spChg chg="add del mod modVis">
            <ac:chgData name="Merlin Gutter" userId="2abc6f04-74af-430b-bdc8-569c3bfa1dda" providerId="ADAL" clId="{CB1EFBC3-10F5-3048-8961-5969497C0019}" dt="2022-11-13T00:58:57.474" v="49727"/>
            <ac:spMkLst>
              <pc:docMk/>
              <pc:sldMasterMk cId="3011101579" sldId="2147483723"/>
              <pc:sldLayoutMk cId="1099390443" sldId="2147483828"/>
              <ac:spMk id="4" creationId="{613A18AD-F568-1AAC-1476-D618F8238E27}"/>
            </ac:spMkLst>
          </pc:spChg>
          <pc:spChg chg="add del mod modVis">
            <ac:chgData name="Merlin Gutter" userId="2abc6f04-74af-430b-bdc8-569c3bfa1dda" providerId="ADAL" clId="{CB1EFBC3-10F5-3048-8961-5969497C0019}" dt="2022-11-12T18:57:44.591" v="43163"/>
            <ac:spMkLst>
              <pc:docMk/>
              <pc:sldMasterMk cId="3011101579" sldId="2147483723"/>
              <pc:sldLayoutMk cId="1099390443" sldId="2147483828"/>
              <ac:spMk id="4" creationId="{AAC41AC9-2372-5296-5AFB-417539599701}"/>
            </ac:spMkLst>
          </pc:spChg>
          <pc:spChg chg="mod">
            <ac:chgData name="Merlin Gutter" userId="2abc6f04-74af-430b-bdc8-569c3bfa1dda" providerId="ADAL" clId="{CB1EFBC3-10F5-3048-8961-5969497C0019}" dt="2022-11-13T00:58:57.137" v="49007" actId="948"/>
            <ac:spMkLst>
              <pc:docMk/>
              <pc:sldMasterMk cId="3011101579" sldId="2147483723"/>
              <pc:sldLayoutMk cId="1099390443" sldId="2147483828"/>
              <ac:spMk id="8" creationId="{270F193D-32C9-4002-ABDD-EB87213F1573}"/>
            </ac:spMkLst>
          </pc:spChg>
          <pc:graphicFrameChg chg="mod">
            <ac:chgData name="Merlin Gutter" userId="2abc6f04-74af-430b-bdc8-569c3bfa1dda" providerId="ADAL" clId="{CB1EFBC3-10F5-3048-8961-5969497C0019}" dt="2022-11-13T00:58:57.475" v="49729"/>
            <ac:graphicFrameMkLst>
              <pc:docMk/>
              <pc:sldMasterMk cId="3011101579" sldId="2147483723"/>
              <pc:sldLayoutMk cId="1099390443" sldId="2147483828"/>
              <ac:graphicFrameMk id="2" creationId="{4B243B23-8889-40A4-B561-D0DC7097C22D}"/>
            </ac:graphicFrameMkLst>
          </pc:graphicFrame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5454545454545456E-2"/>
          <c:y val="3.8690476190476192E-2"/>
          <c:w val="0.90909090909090906"/>
          <c:h val="0.92261904761904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E6251D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B85-5348-89F2-3737A989D5F2}"/>
              </c:ext>
            </c:extLst>
          </c:dPt>
          <c:dPt>
            <c:idx val="1"/>
            <c:bubble3D val="0"/>
            <c:spPr>
              <a:solidFill>
                <a:srgbClr val="015A94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B85-5348-89F2-3737A989D5F2}"/>
              </c:ext>
            </c:extLst>
          </c:dPt>
          <c:dPt>
            <c:idx val="2"/>
            <c:bubble3D val="0"/>
            <c:spPr>
              <a:solidFill>
                <a:srgbClr val="008650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B85-5348-89F2-3737A989D5F2}"/>
              </c:ext>
            </c:extLst>
          </c:dPt>
          <c:dPt>
            <c:idx val="3"/>
            <c:bubble3D val="0"/>
            <c:spPr>
              <a:solidFill>
                <a:srgbClr val="F9D612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B85-5348-89F2-3737A989D5F2}"/>
              </c:ext>
            </c:extLst>
          </c:dPt>
          <c:dPt>
            <c:idx val="4"/>
            <c:bubble3D val="0"/>
            <c:spPr>
              <a:solidFill>
                <a:schemeClr val="tx1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FB85-5348-89F2-3737A989D5F2}"/>
              </c:ext>
            </c:extLst>
          </c:dPt>
          <c:dPt>
            <c:idx val="5"/>
            <c:bubble3D val="0"/>
            <c:spPr>
              <a:solidFill>
                <a:schemeClr val="accent4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FB85-5348-89F2-3737A989D5F2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90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B85-5348-89F2-3737A989D5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574970484061391"/>
          <c:y val="6.5244667503136761E-2"/>
          <c:w val="0.40909090909090912"/>
          <c:h val="0.8695106649937264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E6251D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4D3-0D48-A702-2515EC345FCF}"/>
              </c:ext>
            </c:extLst>
          </c:dPt>
          <c:dPt>
            <c:idx val="1"/>
            <c:bubble3D val="0"/>
            <c:spPr>
              <a:solidFill>
                <a:srgbClr val="015A94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54D3-0D48-A702-2515EC345FCF}"/>
              </c:ext>
            </c:extLst>
          </c:dPt>
          <c:dLbls>
            <c:dLbl>
              <c:idx val="0"/>
              <c:layout>
                <c:manualLayout>
                  <c:x val="2.2432113341204249E-2"/>
                  <c:y val="1.63111668757841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4D3-0D48-A702-2515EC345FCF}"/>
                </c:ext>
              </c:extLst>
            </c:dLbl>
            <c:dLbl>
              <c:idx val="1"/>
              <c:layout>
                <c:manualLayout>
                  <c:x val="-2.3022432113341203E-2"/>
                  <c:y val="-2.509410288582183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4D3-0D48-A702-2515EC345FC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3</c:v>
                </c:pt>
                <c:pt idx="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4D3-0D48-A702-2515EC345F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574970484061391"/>
          <c:y val="6.5244667503136761E-2"/>
          <c:w val="0.40909090909090912"/>
          <c:h val="0.8695106649937264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E6251D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E58-E044-8991-96229F6A8354}"/>
              </c:ext>
            </c:extLst>
          </c:dPt>
          <c:dPt>
            <c:idx val="1"/>
            <c:bubble3D val="0"/>
            <c:spPr>
              <a:solidFill>
                <a:srgbClr val="015A94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E58-E044-8991-96229F6A8354}"/>
              </c:ext>
            </c:extLst>
          </c:dPt>
          <c:dLbls>
            <c:dLbl>
              <c:idx val="0"/>
              <c:layout>
                <c:manualLayout>
                  <c:x val="2.1841794569067298E-2"/>
                  <c:y val="2.25846925972396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E58-E044-8991-96229F6A8354}"/>
                </c:ext>
              </c:extLst>
            </c:dLbl>
            <c:dLbl>
              <c:idx val="1"/>
              <c:layout>
                <c:manualLayout>
                  <c:x val="-2.2432113341204249E-2"/>
                  <c:y val="-3.011292346298619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E58-E044-8991-96229F6A835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6</c:v>
                </c:pt>
                <c:pt idx="1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58-E044-8991-96229F6A83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234531708069743E-3"/>
          <c:y val="4.5574057843996492E-2"/>
          <c:w val="0.98395309365838601"/>
          <c:h val="0.90885188431200703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1:$AX$1</c:f>
              <c:numCache>
                <c:formatCode>General</c:formatCode>
                <c:ptCount val="50"/>
                <c:pt idx="0">
                  <c:v>23433028.904712044</c:v>
                </c:pt>
                <c:pt idx="1">
                  <c:v>24387620.904712044</c:v>
                </c:pt>
                <c:pt idx="2">
                  <c:v>22402568.904712044</c:v>
                </c:pt>
                <c:pt idx="3">
                  <c:v>21824663.904712044</c:v>
                </c:pt>
                <c:pt idx="4">
                  <c:v>19498424.904712044</c:v>
                </c:pt>
                <c:pt idx="5">
                  <c:v>19022425.904712044</c:v>
                </c:pt>
                <c:pt idx="6">
                  <c:v>18868617.904712044</c:v>
                </c:pt>
                <c:pt idx="7">
                  <c:v>18499563.904712044</c:v>
                </c:pt>
                <c:pt idx="8">
                  <c:v>25851278.904712044</c:v>
                </c:pt>
                <c:pt idx="9">
                  <c:v>27160378.904712044</c:v>
                </c:pt>
                <c:pt idx="10">
                  <c:v>19759659.904712044</c:v>
                </c:pt>
                <c:pt idx="11">
                  <c:v>19766040.904712044</c:v>
                </c:pt>
                <c:pt idx="12">
                  <c:v>20268005.904712044</c:v>
                </c:pt>
                <c:pt idx="13">
                  <c:v>21409367.904712044</c:v>
                </c:pt>
                <c:pt idx="14">
                  <c:v>25512163.904712044</c:v>
                </c:pt>
                <c:pt idx="15">
                  <c:v>24291683.904712044</c:v>
                </c:pt>
                <c:pt idx="16">
                  <c:v>23552109.904712044</c:v>
                </c:pt>
                <c:pt idx="17">
                  <c:v>22097771.904712044</c:v>
                </c:pt>
                <c:pt idx="18">
                  <c:v>22117742.904712044</c:v>
                </c:pt>
                <c:pt idx="19">
                  <c:v>20952074.904712044</c:v>
                </c:pt>
                <c:pt idx="20">
                  <c:v>19786124.904712044</c:v>
                </c:pt>
                <c:pt idx="21">
                  <c:v>19994764.904712044</c:v>
                </c:pt>
                <c:pt idx="22">
                  <c:v>22248663.904712044</c:v>
                </c:pt>
                <c:pt idx="23">
                  <c:v>24733923.904712044</c:v>
                </c:pt>
                <c:pt idx="24">
                  <c:v>25914108.904712044</c:v>
                </c:pt>
                <c:pt idx="25">
                  <c:v>27938631.904712044</c:v>
                </c:pt>
                <c:pt idx="26">
                  <c:v>31323465.904712044</c:v>
                </c:pt>
                <c:pt idx="27">
                  <c:v>32113414.904712044</c:v>
                </c:pt>
                <c:pt idx="28">
                  <c:v>31502364.904712044</c:v>
                </c:pt>
                <c:pt idx="29">
                  <c:v>30367006.904712044</c:v>
                </c:pt>
                <c:pt idx="30">
                  <c:v>28378949.904712044</c:v>
                </c:pt>
                <c:pt idx="31">
                  <c:v>22955819.904712044</c:v>
                </c:pt>
                <c:pt idx="32">
                  <c:v>22150907.904712044</c:v>
                </c:pt>
                <c:pt idx="33">
                  <c:v>19226305.904712044</c:v>
                </c:pt>
                <c:pt idx="34">
                  <c:v>16481191.904712044</c:v>
                </c:pt>
                <c:pt idx="35">
                  <c:v>13357815.904712044</c:v>
                </c:pt>
                <c:pt idx="36">
                  <c:v>10305423.904712044</c:v>
                </c:pt>
                <c:pt idx="37">
                  <c:v>8099414.9047120437</c:v>
                </c:pt>
                <c:pt idx="38">
                  <c:v>8722099.9047120437</c:v>
                </c:pt>
                <c:pt idx="39">
                  <c:v>8120458.9047120437</c:v>
                </c:pt>
                <c:pt idx="40">
                  <c:v>8321985.9047120437</c:v>
                </c:pt>
                <c:pt idx="41">
                  <c:v>8054418.9047120437</c:v>
                </c:pt>
                <c:pt idx="42">
                  <c:v>8000844.9047120437</c:v>
                </c:pt>
                <c:pt idx="43">
                  <c:v>9775659.9047120437</c:v>
                </c:pt>
                <c:pt idx="44">
                  <c:v>11688337.904712044</c:v>
                </c:pt>
                <c:pt idx="45">
                  <c:v>12299425.904712044</c:v>
                </c:pt>
                <c:pt idx="46">
                  <c:v>12481830.904712044</c:v>
                </c:pt>
                <c:pt idx="47">
                  <c:v>13170553.904712044</c:v>
                </c:pt>
                <c:pt idx="48">
                  <c:v>4200402</c:v>
                </c:pt>
                <c:pt idx="49">
                  <c:v>34851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BA-E24E-80EC-638E6BA30C6C}"/>
            </c:ext>
          </c:extLst>
        </c:ser>
        <c:ser>
          <c:idx val="1"/>
          <c:order val="1"/>
          <c:spPr>
            <a:solidFill>
              <a:srgbClr val="F9D612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2:$AX$2</c:f>
              <c:numCache>
                <c:formatCode>General</c:formatCode>
                <c:ptCount val="50"/>
                <c:pt idx="0">
                  <c:v>29352</c:v>
                </c:pt>
                <c:pt idx="1">
                  <c:v>41200</c:v>
                </c:pt>
                <c:pt idx="2">
                  <c:v>52816</c:v>
                </c:pt>
                <c:pt idx="3">
                  <c:v>55508</c:v>
                </c:pt>
                <c:pt idx="4">
                  <c:v>72409</c:v>
                </c:pt>
                <c:pt idx="5">
                  <c:v>65847</c:v>
                </c:pt>
                <c:pt idx="6">
                  <c:v>79100</c:v>
                </c:pt>
                <c:pt idx="7">
                  <c:v>89106</c:v>
                </c:pt>
                <c:pt idx="8">
                  <c:v>90020</c:v>
                </c:pt>
                <c:pt idx="9">
                  <c:v>87165</c:v>
                </c:pt>
                <c:pt idx="10">
                  <c:v>88353</c:v>
                </c:pt>
                <c:pt idx="11">
                  <c:v>81643</c:v>
                </c:pt>
                <c:pt idx="12">
                  <c:v>96916</c:v>
                </c:pt>
                <c:pt idx="13">
                  <c:v>96766</c:v>
                </c:pt>
                <c:pt idx="14">
                  <c:v>118735</c:v>
                </c:pt>
                <c:pt idx="15">
                  <c:v>133626</c:v>
                </c:pt>
                <c:pt idx="16">
                  <c:v>144699</c:v>
                </c:pt>
                <c:pt idx="17">
                  <c:v>167752</c:v>
                </c:pt>
                <c:pt idx="18">
                  <c:v>165645</c:v>
                </c:pt>
                <c:pt idx="19">
                  <c:v>143979</c:v>
                </c:pt>
                <c:pt idx="20">
                  <c:v>147618</c:v>
                </c:pt>
                <c:pt idx="21">
                  <c:v>137449</c:v>
                </c:pt>
                <c:pt idx="22">
                  <c:v>162895</c:v>
                </c:pt>
                <c:pt idx="23">
                  <c:v>194047</c:v>
                </c:pt>
                <c:pt idx="24">
                  <c:v>204720</c:v>
                </c:pt>
                <c:pt idx="25">
                  <c:v>212786</c:v>
                </c:pt>
                <c:pt idx="26">
                  <c:v>200060</c:v>
                </c:pt>
                <c:pt idx="27">
                  <c:v>205987</c:v>
                </c:pt>
                <c:pt idx="28">
                  <c:v>220374</c:v>
                </c:pt>
                <c:pt idx="29">
                  <c:v>207808</c:v>
                </c:pt>
                <c:pt idx="30">
                  <c:v>197520</c:v>
                </c:pt>
                <c:pt idx="31">
                  <c:v>189036</c:v>
                </c:pt>
                <c:pt idx="32">
                  <c:v>225239</c:v>
                </c:pt>
                <c:pt idx="33">
                  <c:v>252975</c:v>
                </c:pt>
                <c:pt idx="34">
                  <c:v>248870</c:v>
                </c:pt>
                <c:pt idx="35">
                  <c:v>276337</c:v>
                </c:pt>
                <c:pt idx="36">
                  <c:v>301271</c:v>
                </c:pt>
                <c:pt idx="37">
                  <c:v>259810</c:v>
                </c:pt>
                <c:pt idx="38">
                  <c:v>294962</c:v>
                </c:pt>
                <c:pt idx="39">
                  <c:v>300902</c:v>
                </c:pt>
                <c:pt idx="40">
                  <c:v>323335</c:v>
                </c:pt>
                <c:pt idx="41">
                  <c:v>334617</c:v>
                </c:pt>
                <c:pt idx="42">
                  <c:v>357657</c:v>
                </c:pt>
                <c:pt idx="43">
                  <c:v>367518</c:v>
                </c:pt>
                <c:pt idx="44">
                  <c:v>418274</c:v>
                </c:pt>
                <c:pt idx="45">
                  <c:v>443184</c:v>
                </c:pt>
                <c:pt idx="46">
                  <c:v>434374</c:v>
                </c:pt>
                <c:pt idx="47">
                  <c:v>449051</c:v>
                </c:pt>
                <c:pt idx="48">
                  <c:v>62088</c:v>
                </c:pt>
                <c:pt idx="49">
                  <c:v>12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BA-E24E-80EC-638E6BA30C6C}"/>
            </c:ext>
          </c:extLst>
        </c:ser>
        <c:ser>
          <c:idx val="2"/>
          <c:order val="2"/>
          <c:spPr>
            <a:solidFill>
              <a:schemeClr val="accent3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3:$AX$3</c:f>
              <c:numCache>
                <c:formatCode>General</c:formatCode>
                <c:ptCount val="50"/>
                <c:pt idx="0">
                  <c:v>645382</c:v>
                </c:pt>
                <c:pt idx="1">
                  <c:v>800635</c:v>
                </c:pt>
                <c:pt idx="2">
                  <c:v>853635</c:v>
                </c:pt>
                <c:pt idx="3">
                  <c:v>909768</c:v>
                </c:pt>
                <c:pt idx="4">
                  <c:v>1068838</c:v>
                </c:pt>
                <c:pt idx="5">
                  <c:v>966106</c:v>
                </c:pt>
                <c:pt idx="6">
                  <c:v>1124104</c:v>
                </c:pt>
                <c:pt idx="7">
                  <c:v>1358102</c:v>
                </c:pt>
                <c:pt idx="8">
                  <c:v>1420119</c:v>
                </c:pt>
                <c:pt idx="9">
                  <c:v>1400304</c:v>
                </c:pt>
                <c:pt idx="10">
                  <c:v>1273220</c:v>
                </c:pt>
                <c:pt idx="11">
                  <c:v>1104943</c:v>
                </c:pt>
                <c:pt idx="12">
                  <c:v>1151432</c:v>
                </c:pt>
                <c:pt idx="13">
                  <c:v>1076482</c:v>
                </c:pt>
                <c:pt idx="14">
                  <c:v>1358490</c:v>
                </c:pt>
                <c:pt idx="15">
                  <c:v>1624051</c:v>
                </c:pt>
                <c:pt idx="16">
                  <c:v>1672865</c:v>
                </c:pt>
                <c:pt idx="17">
                  <c:v>1693267</c:v>
                </c:pt>
                <c:pt idx="18">
                  <c:v>1844388</c:v>
                </c:pt>
                <c:pt idx="19">
                  <c:v>1860034</c:v>
                </c:pt>
                <c:pt idx="20">
                  <c:v>1914773</c:v>
                </c:pt>
                <c:pt idx="21">
                  <c:v>2070226</c:v>
                </c:pt>
                <c:pt idx="22">
                  <c:v>2167239</c:v>
                </c:pt>
                <c:pt idx="23">
                  <c:v>2381125</c:v>
                </c:pt>
                <c:pt idx="24">
                  <c:v>2571917</c:v>
                </c:pt>
                <c:pt idx="25">
                  <c:v>2501362</c:v>
                </c:pt>
                <c:pt idx="26">
                  <c:v>2433525</c:v>
                </c:pt>
                <c:pt idx="27">
                  <c:v>2526178</c:v>
                </c:pt>
                <c:pt idx="28">
                  <c:v>2623552</c:v>
                </c:pt>
                <c:pt idx="29">
                  <c:v>2408504</c:v>
                </c:pt>
                <c:pt idx="30">
                  <c:v>2164040</c:v>
                </c:pt>
                <c:pt idx="31">
                  <c:v>1921072</c:v>
                </c:pt>
                <c:pt idx="32">
                  <c:v>2283651</c:v>
                </c:pt>
                <c:pt idx="33">
                  <c:v>2457568</c:v>
                </c:pt>
                <c:pt idx="34">
                  <c:v>2414621</c:v>
                </c:pt>
                <c:pt idx="35">
                  <c:v>2503056</c:v>
                </c:pt>
                <c:pt idx="36">
                  <c:v>2562016</c:v>
                </c:pt>
                <c:pt idx="37">
                  <c:v>2312637</c:v>
                </c:pt>
                <c:pt idx="38">
                  <c:v>2429127</c:v>
                </c:pt>
                <c:pt idx="39">
                  <c:v>2404875</c:v>
                </c:pt>
                <c:pt idx="40">
                  <c:v>2361201</c:v>
                </c:pt>
                <c:pt idx="41">
                  <c:v>2345958</c:v>
                </c:pt>
                <c:pt idx="42">
                  <c:v>2517402</c:v>
                </c:pt>
                <c:pt idx="43">
                  <c:v>2616858</c:v>
                </c:pt>
                <c:pt idx="44">
                  <c:v>2945360</c:v>
                </c:pt>
                <c:pt idx="45">
                  <c:v>3035849</c:v>
                </c:pt>
                <c:pt idx="46">
                  <c:v>3011549</c:v>
                </c:pt>
                <c:pt idx="47">
                  <c:v>3284713</c:v>
                </c:pt>
                <c:pt idx="48">
                  <c:v>406780</c:v>
                </c:pt>
                <c:pt idx="49">
                  <c:v>465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BA-E24E-80EC-638E6BA30C6C}"/>
            </c:ext>
          </c:extLst>
        </c:ser>
        <c:ser>
          <c:idx val="3"/>
          <c:order val="3"/>
          <c:spPr>
            <a:solidFill>
              <a:srgbClr val="015A94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4:$AX$4</c:f>
              <c:numCache>
                <c:formatCode>General</c:formatCode>
                <c:ptCount val="50"/>
                <c:pt idx="0">
                  <c:v>119723</c:v>
                </c:pt>
                <c:pt idx="1">
                  <c:v>136326</c:v>
                </c:pt>
                <c:pt idx="2">
                  <c:v>162371</c:v>
                </c:pt>
                <c:pt idx="3">
                  <c:v>191617</c:v>
                </c:pt>
                <c:pt idx="4">
                  <c:v>237100</c:v>
                </c:pt>
                <c:pt idx="5">
                  <c:v>210557</c:v>
                </c:pt>
                <c:pt idx="6">
                  <c:v>264489</c:v>
                </c:pt>
                <c:pt idx="7">
                  <c:v>319456</c:v>
                </c:pt>
                <c:pt idx="8">
                  <c:v>363155</c:v>
                </c:pt>
                <c:pt idx="9">
                  <c:v>365595</c:v>
                </c:pt>
                <c:pt idx="10">
                  <c:v>346285</c:v>
                </c:pt>
                <c:pt idx="11">
                  <c:v>362673</c:v>
                </c:pt>
                <c:pt idx="12">
                  <c:v>410433</c:v>
                </c:pt>
                <c:pt idx="13">
                  <c:v>409199</c:v>
                </c:pt>
                <c:pt idx="14">
                  <c:v>533885</c:v>
                </c:pt>
                <c:pt idx="15">
                  <c:v>611199</c:v>
                </c:pt>
                <c:pt idx="16">
                  <c:v>799121</c:v>
                </c:pt>
                <c:pt idx="17">
                  <c:v>927498</c:v>
                </c:pt>
                <c:pt idx="18">
                  <c:v>904471</c:v>
                </c:pt>
                <c:pt idx="19">
                  <c:v>905906</c:v>
                </c:pt>
                <c:pt idx="20">
                  <c:v>924457</c:v>
                </c:pt>
                <c:pt idx="21">
                  <c:v>939772</c:v>
                </c:pt>
                <c:pt idx="22">
                  <c:v>1111153</c:v>
                </c:pt>
                <c:pt idx="23">
                  <c:v>1389057</c:v>
                </c:pt>
                <c:pt idx="24">
                  <c:v>1600976</c:v>
                </c:pt>
                <c:pt idx="25">
                  <c:v>1455931</c:v>
                </c:pt>
                <c:pt idx="26">
                  <c:v>1138820</c:v>
                </c:pt>
                <c:pt idx="27">
                  <c:v>1236112</c:v>
                </c:pt>
                <c:pt idx="28">
                  <c:v>1311365</c:v>
                </c:pt>
                <c:pt idx="29">
                  <c:v>1186742</c:v>
                </c:pt>
                <c:pt idx="30">
                  <c:v>1186506</c:v>
                </c:pt>
                <c:pt idx="31">
                  <c:v>869192</c:v>
                </c:pt>
                <c:pt idx="32">
                  <c:v>1210964</c:v>
                </c:pt>
                <c:pt idx="33">
                  <c:v>1246110</c:v>
                </c:pt>
                <c:pt idx="34">
                  <c:v>1257903</c:v>
                </c:pt>
                <c:pt idx="35">
                  <c:v>1245294</c:v>
                </c:pt>
                <c:pt idx="36">
                  <c:v>1206412</c:v>
                </c:pt>
                <c:pt idx="37">
                  <c:v>1033033</c:v>
                </c:pt>
                <c:pt idx="38">
                  <c:v>1178659</c:v>
                </c:pt>
                <c:pt idx="39">
                  <c:v>1238862</c:v>
                </c:pt>
                <c:pt idx="40">
                  <c:v>1304261</c:v>
                </c:pt>
                <c:pt idx="41">
                  <c:v>1418878</c:v>
                </c:pt>
                <c:pt idx="42">
                  <c:v>1662657</c:v>
                </c:pt>
                <c:pt idx="43">
                  <c:v>1768662</c:v>
                </c:pt>
                <c:pt idx="44">
                  <c:v>2051056</c:v>
                </c:pt>
                <c:pt idx="45">
                  <c:v>2254862</c:v>
                </c:pt>
                <c:pt idx="46">
                  <c:v>2285506</c:v>
                </c:pt>
                <c:pt idx="47">
                  <c:v>2439239</c:v>
                </c:pt>
                <c:pt idx="48">
                  <c:v>368109</c:v>
                </c:pt>
                <c:pt idx="49">
                  <c:v>278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BA-E24E-80EC-638E6BA30C6C}"/>
            </c:ext>
          </c:extLst>
        </c:ser>
        <c:ser>
          <c:idx val="4"/>
          <c:order val="4"/>
          <c:spPr>
            <a:solidFill>
              <a:schemeClr val="accent5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5:$AX$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1073</c:v>
                </c:pt>
                <c:pt idx="47">
                  <c:v>598</c:v>
                </c:pt>
                <c:pt idx="48">
                  <c:v>116</c:v>
                </c:pt>
                <c:pt idx="49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6BA-E24E-80EC-638E6BA30C6C}"/>
            </c:ext>
          </c:extLst>
        </c:ser>
        <c:ser>
          <c:idx val="5"/>
          <c:order val="5"/>
          <c:spPr>
            <a:solidFill>
              <a:srgbClr val="008650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6:$AX$6</c:f>
              <c:numCache>
                <c:formatCode>General</c:formatCode>
                <c:ptCount val="50"/>
                <c:pt idx="0">
                  <c:v>6024</c:v>
                </c:pt>
                <c:pt idx="1">
                  <c:v>8696</c:v>
                </c:pt>
                <c:pt idx="2">
                  <c:v>11351</c:v>
                </c:pt>
                <c:pt idx="3">
                  <c:v>13572</c:v>
                </c:pt>
                <c:pt idx="4">
                  <c:v>16792</c:v>
                </c:pt>
                <c:pt idx="5">
                  <c:v>18891</c:v>
                </c:pt>
                <c:pt idx="6">
                  <c:v>19843</c:v>
                </c:pt>
                <c:pt idx="7">
                  <c:v>21326</c:v>
                </c:pt>
                <c:pt idx="8">
                  <c:v>24766</c:v>
                </c:pt>
                <c:pt idx="9">
                  <c:v>25337</c:v>
                </c:pt>
                <c:pt idx="10">
                  <c:v>24315</c:v>
                </c:pt>
                <c:pt idx="11">
                  <c:v>25540</c:v>
                </c:pt>
                <c:pt idx="12">
                  <c:v>23526</c:v>
                </c:pt>
                <c:pt idx="13">
                  <c:v>18934</c:v>
                </c:pt>
                <c:pt idx="14">
                  <c:v>21399</c:v>
                </c:pt>
                <c:pt idx="15">
                  <c:v>20022</c:v>
                </c:pt>
                <c:pt idx="16">
                  <c:v>169452</c:v>
                </c:pt>
                <c:pt idx="17">
                  <c:v>180968</c:v>
                </c:pt>
                <c:pt idx="18">
                  <c:v>43555</c:v>
                </c:pt>
                <c:pt idx="19">
                  <c:v>41027</c:v>
                </c:pt>
                <c:pt idx="20">
                  <c:v>43162</c:v>
                </c:pt>
                <c:pt idx="21">
                  <c:v>43581</c:v>
                </c:pt>
                <c:pt idx="22">
                  <c:v>46164</c:v>
                </c:pt>
                <c:pt idx="23">
                  <c:v>44091</c:v>
                </c:pt>
                <c:pt idx="24">
                  <c:v>50068</c:v>
                </c:pt>
                <c:pt idx="25">
                  <c:v>52789</c:v>
                </c:pt>
                <c:pt idx="26">
                  <c:v>53190</c:v>
                </c:pt>
                <c:pt idx="27">
                  <c:v>59123</c:v>
                </c:pt>
                <c:pt idx="28">
                  <c:v>65183</c:v>
                </c:pt>
                <c:pt idx="29">
                  <c:v>61918</c:v>
                </c:pt>
                <c:pt idx="30">
                  <c:v>54576</c:v>
                </c:pt>
                <c:pt idx="31">
                  <c:v>52843</c:v>
                </c:pt>
                <c:pt idx="32">
                  <c:v>59236</c:v>
                </c:pt>
                <c:pt idx="33">
                  <c:v>62479</c:v>
                </c:pt>
                <c:pt idx="34">
                  <c:v>72957</c:v>
                </c:pt>
                <c:pt idx="35">
                  <c:v>76298</c:v>
                </c:pt>
                <c:pt idx="36">
                  <c:v>80318</c:v>
                </c:pt>
                <c:pt idx="37">
                  <c:v>76148</c:v>
                </c:pt>
                <c:pt idx="38">
                  <c:v>81676</c:v>
                </c:pt>
                <c:pt idx="39">
                  <c:v>86376</c:v>
                </c:pt>
                <c:pt idx="40">
                  <c:v>92495</c:v>
                </c:pt>
                <c:pt idx="41">
                  <c:v>98475</c:v>
                </c:pt>
                <c:pt idx="42">
                  <c:v>104785</c:v>
                </c:pt>
                <c:pt idx="43">
                  <c:v>111577</c:v>
                </c:pt>
                <c:pt idx="44">
                  <c:v>124595</c:v>
                </c:pt>
                <c:pt idx="45">
                  <c:v>132954</c:v>
                </c:pt>
                <c:pt idx="46">
                  <c:v>145283</c:v>
                </c:pt>
                <c:pt idx="47">
                  <c:v>170948</c:v>
                </c:pt>
                <c:pt idx="48">
                  <c:v>30855</c:v>
                </c:pt>
                <c:pt idx="49">
                  <c:v>39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6BA-E24E-80EC-638E6BA30C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12759679"/>
        <c:axId val="1"/>
      </c:areaChart>
      <c:catAx>
        <c:axId val="2012759679"/>
        <c:scaling>
          <c:orientation val="minMax"/>
        </c:scaling>
        <c:delete val="0"/>
        <c:axPos val="b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Verdana"/>
                <a:ea typeface="Verdana"/>
                <a:cs typeface="Verdana"/>
                <a:sym typeface="Verdana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7085331.904712044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12759679"/>
        <c:crosses val="min"/>
        <c:crossBetween val="midCat"/>
        <c:majorUnit val="5000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234531708069743E-3"/>
          <c:y val="4.5574057843996492E-2"/>
          <c:w val="0.98395309365838601"/>
          <c:h val="0.90885188431200703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1:$AX$1</c:f>
              <c:numCache>
                <c:formatCode>General</c:formatCode>
                <c:ptCount val="50"/>
                <c:pt idx="0">
                  <c:v>23433028.904712044</c:v>
                </c:pt>
                <c:pt idx="1">
                  <c:v>24387620.904712044</c:v>
                </c:pt>
                <c:pt idx="2">
                  <c:v>22402568.904712044</c:v>
                </c:pt>
                <c:pt idx="3">
                  <c:v>21824663.904712044</c:v>
                </c:pt>
                <c:pt idx="4">
                  <c:v>19498424.904712044</c:v>
                </c:pt>
                <c:pt idx="5">
                  <c:v>19022425.904712044</c:v>
                </c:pt>
                <c:pt idx="6">
                  <c:v>18868617.904712044</c:v>
                </c:pt>
                <c:pt idx="7">
                  <c:v>18499563.904712044</c:v>
                </c:pt>
                <c:pt idx="8">
                  <c:v>25851278.904712044</c:v>
                </c:pt>
                <c:pt idx="9">
                  <c:v>27160378.904712044</c:v>
                </c:pt>
                <c:pt idx="10">
                  <c:v>19759659.904712044</c:v>
                </c:pt>
                <c:pt idx="11">
                  <c:v>19766040.904712044</c:v>
                </c:pt>
                <c:pt idx="12">
                  <c:v>20268005.904712044</c:v>
                </c:pt>
                <c:pt idx="13">
                  <c:v>21409367.904712044</c:v>
                </c:pt>
                <c:pt idx="14">
                  <c:v>25512163.904712044</c:v>
                </c:pt>
                <c:pt idx="15">
                  <c:v>24291683.904712044</c:v>
                </c:pt>
                <c:pt idx="16">
                  <c:v>23552109.904712044</c:v>
                </c:pt>
                <c:pt idx="17">
                  <c:v>22097771.904712044</c:v>
                </c:pt>
                <c:pt idx="18">
                  <c:v>22117742.904712044</c:v>
                </c:pt>
                <c:pt idx="19">
                  <c:v>20952074.904712044</c:v>
                </c:pt>
                <c:pt idx="20">
                  <c:v>19786124.904712044</c:v>
                </c:pt>
                <c:pt idx="21">
                  <c:v>19994764.904712044</c:v>
                </c:pt>
                <c:pt idx="22">
                  <c:v>22248663.904712044</c:v>
                </c:pt>
                <c:pt idx="23">
                  <c:v>24733923.904712044</c:v>
                </c:pt>
                <c:pt idx="24">
                  <c:v>25914108.904712044</c:v>
                </c:pt>
                <c:pt idx="25">
                  <c:v>27938631.904712044</c:v>
                </c:pt>
                <c:pt idx="26">
                  <c:v>31323465.904712044</c:v>
                </c:pt>
                <c:pt idx="27">
                  <c:v>32113414.904712044</c:v>
                </c:pt>
                <c:pt idx="28">
                  <c:v>31502364.904712044</c:v>
                </c:pt>
                <c:pt idx="29">
                  <c:v>30367006.904712044</c:v>
                </c:pt>
                <c:pt idx="30">
                  <c:v>28378949.904712044</c:v>
                </c:pt>
                <c:pt idx="31">
                  <c:v>22955819.904712044</c:v>
                </c:pt>
                <c:pt idx="32">
                  <c:v>22150907.904712044</c:v>
                </c:pt>
                <c:pt idx="33">
                  <c:v>19226305.904712044</c:v>
                </c:pt>
                <c:pt idx="34">
                  <c:v>16481191.904712044</c:v>
                </c:pt>
                <c:pt idx="35">
                  <c:v>13357815.904712044</c:v>
                </c:pt>
                <c:pt idx="36">
                  <c:v>10305423.904712044</c:v>
                </c:pt>
                <c:pt idx="37">
                  <c:v>8099414.9047120437</c:v>
                </c:pt>
                <c:pt idx="38">
                  <c:v>8722099.9047120437</c:v>
                </c:pt>
                <c:pt idx="39">
                  <c:v>8120458.9047120437</c:v>
                </c:pt>
                <c:pt idx="40">
                  <c:v>8321985.9047120437</c:v>
                </c:pt>
                <c:pt idx="41">
                  <c:v>8054418.9047120437</c:v>
                </c:pt>
                <c:pt idx="42">
                  <c:v>8000844.9047120437</c:v>
                </c:pt>
                <c:pt idx="43">
                  <c:v>9775659.9047120437</c:v>
                </c:pt>
                <c:pt idx="44">
                  <c:v>11688337.904712044</c:v>
                </c:pt>
                <c:pt idx="45">
                  <c:v>12299425.904712044</c:v>
                </c:pt>
                <c:pt idx="46">
                  <c:v>12481830.904712044</c:v>
                </c:pt>
                <c:pt idx="47">
                  <c:v>13170553.904712044</c:v>
                </c:pt>
                <c:pt idx="48">
                  <c:v>4200402</c:v>
                </c:pt>
                <c:pt idx="49">
                  <c:v>34851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28-8044-ACB6-793D92974DE3}"/>
            </c:ext>
          </c:extLst>
        </c:ser>
        <c:ser>
          <c:idx val="1"/>
          <c:order val="1"/>
          <c:spPr>
            <a:solidFill>
              <a:srgbClr val="F9D612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2:$AX$2</c:f>
              <c:numCache>
                <c:formatCode>General</c:formatCode>
                <c:ptCount val="50"/>
                <c:pt idx="0">
                  <c:v>29352</c:v>
                </c:pt>
                <c:pt idx="1">
                  <c:v>41200</c:v>
                </c:pt>
                <c:pt idx="2">
                  <c:v>52816</c:v>
                </c:pt>
                <c:pt idx="3">
                  <c:v>55508</c:v>
                </c:pt>
                <c:pt idx="4">
                  <c:v>72409</c:v>
                </c:pt>
                <c:pt idx="5">
                  <c:v>65847</c:v>
                </c:pt>
                <c:pt idx="6">
                  <c:v>79100</c:v>
                </c:pt>
                <c:pt idx="7">
                  <c:v>89106</c:v>
                </c:pt>
                <c:pt idx="8">
                  <c:v>90020</c:v>
                </c:pt>
                <c:pt idx="9">
                  <c:v>87165</c:v>
                </c:pt>
                <c:pt idx="10">
                  <c:v>88353</c:v>
                </c:pt>
                <c:pt idx="11">
                  <c:v>81643</c:v>
                </c:pt>
                <c:pt idx="12">
                  <c:v>96916</c:v>
                </c:pt>
                <c:pt idx="13">
                  <c:v>96766</c:v>
                </c:pt>
                <c:pt idx="14">
                  <c:v>118735</c:v>
                </c:pt>
                <c:pt idx="15">
                  <c:v>133626</c:v>
                </c:pt>
                <c:pt idx="16">
                  <c:v>144699</c:v>
                </c:pt>
                <c:pt idx="17">
                  <c:v>167752</c:v>
                </c:pt>
                <c:pt idx="18">
                  <c:v>165645</c:v>
                </c:pt>
                <c:pt idx="19">
                  <c:v>143979</c:v>
                </c:pt>
                <c:pt idx="20">
                  <c:v>147618</c:v>
                </c:pt>
                <c:pt idx="21">
                  <c:v>137449</c:v>
                </c:pt>
                <c:pt idx="22">
                  <c:v>162895</c:v>
                </c:pt>
                <c:pt idx="23">
                  <c:v>194047</c:v>
                </c:pt>
                <c:pt idx="24">
                  <c:v>204720</c:v>
                </c:pt>
                <c:pt idx="25">
                  <c:v>212786</c:v>
                </c:pt>
                <c:pt idx="26">
                  <c:v>200060</c:v>
                </c:pt>
                <c:pt idx="27">
                  <c:v>205987</c:v>
                </c:pt>
                <c:pt idx="28">
                  <c:v>220374</c:v>
                </c:pt>
                <c:pt idx="29">
                  <c:v>207808</c:v>
                </c:pt>
                <c:pt idx="30">
                  <c:v>197520</c:v>
                </c:pt>
                <c:pt idx="31">
                  <c:v>189036</c:v>
                </c:pt>
                <c:pt idx="32">
                  <c:v>225239</c:v>
                </c:pt>
                <c:pt idx="33">
                  <c:v>252975</c:v>
                </c:pt>
                <c:pt idx="34">
                  <c:v>248870</c:v>
                </c:pt>
                <c:pt idx="35">
                  <c:v>276337</c:v>
                </c:pt>
                <c:pt idx="36">
                  <c:v>301271</c:v>
                </c:pt>
                <c:pt idx="37">
                  <c:v>259810</c:v>
                </c:pt>
                <c:pt idx="38">
                  <c:v>294962</c:v>
                </c:pt>
                <c:pt idx="39">
                  <c:v>300902</c:v>
                </c:pt>
                <c:pt idx="40">
                  <c:v>323335</c:v>
                </c:pt>
                <c:pt idx="41">
                  <c:v>334617</c:v>
                </c:pt>
                <c:pt idx="42">
                  <c:v>357657</c:v>
                </c:pt>
                <c:pt idx="43">
                  <c:v>367518</c:v>
                </c:pt>
                <c:pt idx="44">
                  <c:v>418274</c:v>
                </c:pt>
                <c:pt idx="45">
                  <c:v>443184</c:v>
                </c:pt>
                <c:pt idx="46">
                  <c:v>434374</c:v>
                </c:pt>
                <c:pt idx="47">
                  <c:v>449051</c:v>
                </c:pt>
                <c:pt idx="48">
                  <c:v>62088</c:v>
                </c:pt>
                <c:pt idx="49">
                  <c:v>12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28-8044-ACB6-793D92974DE3}"/>
            </c:ext>
          </c:extLst>
        </c:ser>
        <c:ser>
          <c:idx val="2"/>
          <c:order val="2"/>
          <c:spPr>
            <a:solidFill>
              <a:schemeClr val="accent3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3:$AX$3</c:f>
              <c:numCache>
                <c:formatCode>General</c:formatCode>
                <c:ptCount val="50"/>
                <c:pt idx="0">
                  <c:v>645382</c:v>
                </c:pt>
                <c:pt idx="1">
                  <c:v>800635</c:v>
                </c:pt>
                <c:pt idx="2">
                  <c:v>853635</c:v>
                </c:pt>
                <c:pt idx="3">
                  <c:v>909768</c:v>
                </c:pt>
                <c:pt idx="4">
                  <c:v>1068838</c:v>
                </c:pt>
                <c:pt idx="5">
                  <c:v>966106</c:v>
                </c:pt>
                <c:pt idx="6">
                  <c:v>1124104</c:v>
                </c:pt>
                <c:pt idx="7">
                  <c:v>1358102</c:v>
                </c:pt>
                <c:pt idx="8">
                  <c:v>1420119</c:v>
                </c:pt>
                <c:pt idx="9">
                  <c:v>1400304</c:v>
                </c:pt>
                <c:pt idx="10">
                  <c:v>1273220</c:v>
                </c:pt>
                <c:pt idx="11">
                  <c:v>1104943</c:v>
                </c:pt>
                <c:pt idx="12">
                  <c:v>1151432</c:v>
                </c:pt>
                <c:pt idx="13">
                  <c:v>1076482</c:v>
                </c:pt>
                <c:pt idx="14">
                  <c:v>1358490</c:v>
                </c:pt>
                <c:pt idx="15">
                  <c:v>1624051</c:v>
                </c:pt>
                <c:pt idx="16">
                  <c:v>1672865</c:v>
                </c:pt>
                <c:pt idx="17">
                  <c:v>1693267</c:v>
                </c:pt>
                <c:pt idx="18">
                  <c:v>1844388</c:v>
                </c:pt>
                <c:pt idx="19">
                  <c:v>1860034</c:v>
                </c:pt>
                <c:pt idx="20">
                  <c:v>1914773</c:v>
                </c:pt>
                <c:pt idx="21">
                  <c:v>2070226</c:v>
                </c:pt>
                <c:pt idx="22">
                  <c:v>2167239</c:v>
                </c:pt>
                <c:pt idx="23">
                  <c:v>2381125</c:v>
                </c:pt>
                <c:pt idx="24">
                  <c:v>2571917</c:v>
                </c:pt>
                <c:pt idx="25">
                  <c:v>2501362</c:v>
                </c:pt>
                <c:pt idx="26">
                  <c:v>2433525</c:v>
                </c:pt>
                <c:pt idx="27">
                  <c:v>2526178</c:v>
                </c:pt>
                <c:pt idx="28">
                  <c:v>2623552</c:v>
                </c:pt>
                <c:pt idx="29">
                  <c:v>2408504</c:v>
                </c:pt>
                <c:pt idx="30">
                  <c:v>2164040</c:v>
                </c:pt>
                <c:pt idx="31">
                  <c:v>1921072</c:v>
                </c:pt>
                <c:pt idx="32">
                  <c:v>2283651</c:v>
                </c:pt>
                <c:pt idx="33">
                  <c:v>2457568</c:v>
                </c:pt>
                <c:pt idx="34">
                  <c:v>2414621</c:v>
                </c:pt>
                <c:pt idx="35">
                  <c:v>2503056</c:v>
                </c:pt>
                <c:pt idx="36">
                  <c:v>2562016</c:v>
                </c:pt>
                <c:pt idx="37">
                  <c:v>2312637</c:v>
                </c:pt>
                <c:pt idx="38">
                  <c:v>2429127</c:v>
                </c:pt>
                <c:pt idx="39">
                  <c:v>2404875</c:v>
                </c:pt>
                <c:pt idx="40">
                  <c:v>2361201</c:v>
                </c:pt>
                <c:pt idx="41">
                  <c:v>2345958</c:v>
                </c:pt>
                <c:pt idx="42">
                  <c:v>2517402</c:v>
                </c:pt>
                <c:pt idx="43">
                  <c:v>2616858</c:v>
                </c:pt>
                <c:pt idx="44">
                  <c:v>2945360</c:v>
                </c:pt>
                <c:pt idx="45">
                  <c:v>3035849</c:v>
                </c:pt>
                <c:pt idx="46">
                  <c:v>3011549</c:v>
                </c:pt>
                <c:pt idx="47">
                  <c:v>3284713</c:v>
                </c:pt>
                <c:pt idx="48">
                  <c:v>406780</c:v>
                </c:pt>
                <c:pt idx="49">
                  <c:v>465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28-8044-ACB6-793D92974DE3}"/>
            </c:ext>
          </c:extLst>
        </c:ser>
        <c:ser>
          <c:idx val="3"/>
          <c:order val="3"/>
          <c:spPr>
            <a:solidFill>
              <a:srgbClr val="015A94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4:$AX$4</c:f>
              <c:numCache>
                <c:formatCode>General</c:formatCode>
                <c:ptCount val="50"/>
                <c:pt idx="0">
                  <c:v>119723</c:v>
                </c:pt>
                <c:pt idx="1">
                  <c:v>136326</c:v>
                </c:pt>
                <c:pt idx="2">
                  <c:v>162371</c:v>
                </c:pt>
                <c:pt idx="3">
                  <c:v>191617</c:v>
                </c:pt>
                <c:pt idx="4">
                  <c:v>237100</c:v>
                </c:pt>
                <c:pt idx="5">
                  <c:v>210557</c:v>
                </c:pt>
                <c:pt idx="6">
                  <c:v>264489</c:v>
                </c:pt>
                <c:pt idx="7">
                  <c:v>319456</c:v>
                </c:pt>
                <c:pt idx="8">
                  <c:v>363155</c:v>
                </c:pt>
                <c:pt idx="9">
                  <c:v>365595</c:v>
                </c:pt>
                <c:pt idx="10">
                  <c:v>346285</c:v>
                </c:pt>
                <c:pt idx="11">
                  <c:v>362673</c:v>
                </c:pt>
                <c:pt idx="12">
                  <c:v>410433</c:v>
                </c:pt>
                <c:pt idx="13">
                  <c:v>409199</c:v>
                </c:pt>
                <c:pt idx="14">
                  <c:v>533885</c:v>
                </c:pt>
                <c:pt idx="15">
                  <c:v>611199</c:v>
                </c:pt>
                <c:pt idx="16">
                  <c:v>799121</c:v>
                </c:pt>
                <c:pt idx="17">
                  <c:v>927498</c:v>
                </c:pt>
                <c:pt idx="18">
                  <c:v>904471</c:v>
                </c:pt>
                <c:pt idx="19">
                  <c:v>905906</c:v>
                </c:pt>
                <c:pt idx="20">
                  <c:v>924457</c:v>
                </c:pt>
                <c:pt idx="21">
                  <c:v>939772</c:v>
                </c:pt>
                <c:pt idx="22">
                  <c:v>1111153</c:v>
                </c:pt>
                <c:pt idx="23">
                  <c:v>1389057</c:v>
                </c:pt>
                <c:pt idx="24">
                  <c:v>1600976</c:v>
                </c:pt>
                <c:pt idx="25">
                  <c:v>1455931</c:v>
                </c:pt>
                <c:pt idx="26">
                  <c:v>1138820</c:v>
                </c:pt>
                <c:pt idx="27">
                  <c:v>1236112</c:v>
                </c:pt>
                <c:pt idx="28">
                  <c:v>1311365</c:v>
                </c:pt>
                <c:pt idx="29">
                  <c:v>1186742</c:v>
                </c:pt>
                <c:pt idx="30">
                  <c:v>1186506</c:v>
                </c:pt>
                <c:pt idx="31">
                  <c:v>869192</c:v>
                </c:pt>
                <c:pt idx="32">
                  <c:v>1210964</c:v>
                </c:pt>
                <c:pt idx="33">
                  <c:v>1246110</c:v>
                </c:pt>
                <c:pt idx="34">
                  <c:v>1257903</c:v>
                </c:pt>
                <c:pt idx="35">
                  <c:v>1245294</c:v>
                </c:pt>
                <c:pt idx="36">
                  <c:v>1206412</c:v>
                </c:pt>
                <c:pt idx="37">
                  <c:v>1033033</c:v>
                </c:pt>
                <c:pt idx="38">
                  <c:v>1178659</c:v>
                </c:pt>
                <c:pt idx="39">
                  <c:v>1238862</c:v>
                </c:pt>
                <c:pt idx="40">
                  <c:v>1304261</c:v>
                </c:pt>
                <c:pt idx="41">
                  <c:v>1418878</c:v>
                </c:pt>
                <c:pt idx="42">
                  <c:v>1662657</c:v>
                </c:pt>
                <c:pt idx="43">
                  <c:v>1768662</c:v>
                </c:pt>
                <c:pt idx="44">
                  <c:v>2051056</c:v>
                </c:pt>
                <c:pt idx="45">
                  <c:v>2254862</c:v>
                </c:pt>
                <c:pt idx="46">
                  <c:v>2285506</c:v>
                </c:pt>
                <c:pt idx="47">
                  <c:v>2439239</c:v>
                </c:pt>
                <c:pt idx="48">
                  <c:v>368109</c:v>
                </c:pt>
                <c:pt idx="49">
                  <c:v>278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28-8044-ACB6-793D92974DE3}"/>
            </c:ext>
          </c:extLst>
        </c:ser>
        <c:ser>
          <c:idx val="4"/>
          <c:order val="4"/>
          <c:spPr>
            <a:solidFill>
              <a:schemeClr val="accent5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5:$AX$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1073</c:v>
                </c:pt>
                <c:pt idx="47">
                  <c:v>598</c:v>
                </c:pt>
                <c:pt idx="48">
                  <c:v>116</c:v>
                </c:pt>
                <c:pt idx="49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28-8044-ACB6-793D92974DE3}"/>
            </c:ext>
          </c:extLst>
        </c:ser>
        <c:ser>
          <c:idx val="5"/>
          <c:order val="5"/>
          <c:spPr>
            <a:solidFill>
              <a:srgbClr val="008650"/>
            </a:solidFill>
            <a:ln w="9525" algn="ctr">
              <a:solidFill>
                <a:srgbClr val="FFFFFF"/>
              </a:solidFill>
              <a:prstDash val="solid"/>
            </a:ln>
          </c:spPr>
          <c:val>
            <c:numRef>
              <c:f>Sheet1!$A$6:$AX$6</c:f>
              <c:numCache>
                <c:formatCode>General</c:formatCode>
                <c:ptCount val="50"/>
                <c:pt idx="0">
                  <c:v>6024</c:v>
                </c:pt>
                <c:pt idx="1">
                  <c:v>8696</c:v>
                </c:pt>
                <c:pt idx="2">
                  <c:v>11351</c:v>
                </c:pt>
                <c:pt idx="3">
                  <c:v>13572</c:v>
                </c:pt>
                <c:pt idx="4">
                  <c:v>16792</c:v>
                </c:pt>
                <c:pt idx="5">
                  <c:v>18891</c:v>
                </c:pt>
                <c:pt idx="6">
                  <c:v>19843</c:v>
                </c:pt>
                <c:pt idx="7">
                  <c:v>21326</c:v>
                </c:pt>
                <c:pt idx="8">
                  <c:v>24766</c:v>
                </c:pt>
                <c:pt idx="9">
                  <c:v>25337</c:v>
                </c:pt>
                <c:pt idx="10">
                  <c:v>24315</c:v>
                </c:pt>
                <c:pt idx="11">
                  <c:v>25540</c:v>
                </c:pt>
                <c:pt idx="12">
                  <c:v>23526</c:v>
                </c:pt>
                <c:pt idx="13">
                  <c:v>18934</c:v>
                </c:pt>
                <c:pt idx="14">
                  <c:v>21399</c:v>
                </c:pt>
                <c:pt idx="15">
                  <c:v>20022</c:v>
                </c:pt>
                <c:pt idx="16">
                  <c:v>169452</c:v>
                </c:pt>
                <c:pt idx="17">
                  <c:v>180968</c:v>
                </c:pt>
                <c:pt idx="18">
                  <c:v>43555</c:v>
                </c:pt>
                <c:pt idx="19">
                  <c:v>41027</c:v>
                </c:pt>
                <c:pt idx="20">
                  <c:v>43162</c:v>
                </c:pt>
                <c:pt idx="21">
                  <c:v>43581</c:v>
                </c:pt>
                <c:pt idx="22">
                  <c:v>46164</c:v>
                </c:pt>
                <c:pt idx="23">
                  <c:v>44091</c:v>
                </c:pt>
                <c:pt idx="24">
                  <c:v>50068</c:v>
                </c:pt>
                <c:pt idx="25">
                  <c:v>52789</c:v>
                </c:pt>
                <c:pt idx="26">
                  <c:v>53190</c:v>
                </c:pt>
                <c:pt idx="27">
                  <c:v>59123</c:v>
                </c:pt>
                <c:pt idx="28">
                  <c:v>65183</c:v>
                </c:pt>
                <c:pt idx="29">
                  <c:v>61918</c:v>
                </c:pt>
                <c:pt idx="30">
                  <c:v>54576</c:v>
                </c:pt>
                <c:pt idx="31">
                  <c:v>52843</c:v>
                </c:pt>
                <c:pt idx="32">
                  <c:v>59236</c:v>
                </c:pt>
                <c:pt idx="33">
                  <c:v>62479</c:v>
                </c:pt>
                <c:pt idx="34">
                  <c:v>72957</c:v>
                </c:pt>
                <c:pt idx="35">
                  <c:v>76298</c:v>
                </c:pt>
                <c:pt idx="36">
                  <c:v>80318</c:v>
                </c:pt>
                <c:pt idx="37">
                  <c:v>76148</c:v>
                </c:pt>
                <c:pt idx="38">
                  <c:v>81676</c:v>
                </c:pt>
                <c:pt idx="39">
                  <c:v>86376</c:v>
                </c:pt>
                <c:pt idx="40">
                  <c:v>92495</c:v>
                </c:pt>
                <c:pt idx="41">
                  <c:v>98475</c:v>
                </c:pt>
                <c:pt idx="42">
                  <c:v>104785</c:v>
                </c:pt>
                <c:pt idx="43">
                  <c:v>111577</c:v>
                </c:pt>
                <c:pt idx="44">
                  <c:v>124595</c:v>
                </c:pt>
                <c:pt idx="45">
                  <c:v>132954</c:v>
                </c:pt>
                <c:pt idx="46">
                  <c:v>145283</c:v>
                </c:pt>
                <c:pt idx="47">
                  <c:v>170948</c:v>
                </c:pt>
                <c:pt idx="48">
                  <c:v>30855</c:v>
                </c:pt>
                <c:pt idx="49">
                  <c:v>39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928-8044-ACB6-793D92974D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93050063"/>
        <c:axId val="1"/>
      </c:areaChart>
      <c:catAx>
        <c:axId val="1293050063"/>
        <c:scaling>
          <c:orientation val="minMax"/>
        </c:scaling>
        <c:delete val="0"/>
        <c:axPos val="b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Verdana"/>
                <a:ea typeface="Verdana"/>
                <a:cs typeface="Verdana"/>
                <a:sym typeface="Verdana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7085331.904712044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293050063"/>
        <c:crosses val="min"/>
        <c:crossBetween val="midCat"/>
        <c:majorUnit val="5000000"/>
      </c:valAx>
      <c:spPr>
        <a:ln w="6350">
          <a:solidFill>
            <a:srgbClr val="FFFFFF"/>
          </a:solidFill>
        </a:ln>
      </c:spPr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008650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81F-5D47-B1C7-CCAC9F730E8D}"/>
              </c:ext>
            </c:extLst>
          </c:dPt>
          <c:dPt>
            <c:idx val="1"/>
            <c:bubble3D val="0"/>
            <c:spPr>
              <a:solidFill>
                <a:srgbClr val="015A94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581F-5D47-B1C7-CCAC9F730E8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581F-5D47-B1C7-CCAC9F730E8D}"/>
              </c:ext>
            </c:extLst>
          </c:dPt>
          <c:dPt>
            <c:idx val="3"/>
            <c:bubble3D val="0"/>
            <c:spPr>
              <a:solidFill>
                <a:srgbClr val="F9D612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581F-5D47-B1C7-CCAC9F730E8D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581F-5D47-B1C7-CCAC9F730E8D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0.28547402808701738</c:v>
                </c:pt>
                <c:pt idx="1">
                  <c:v>4.5529662146586869</c:v>
                </c:pt>
                <c:pt idx="2">
                  <c:v>7.8115162802559865</c:v>
                </c:pt>
                <c:pt idx="3">
                  <c:v>0.93752611618479664</c:v>
                </c:pt>
                <c:pt idx="4">
                  <c:v>86.41251736081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81F-5D47-B1C7-CCAC9F730E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45292620865142E-3"/>
          <c:y val="6.9686426444934335E-2"/>
          <c:w val="0.9338422391857506"/>
          <c:h val="0.92752613240418114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5"/>
            <c:spPr>
              <a:solidFill>
                <a:srgbClr val="002060"/>
              </a:solidFill>
              <a:ln w="9525" algn="ctr">
                <a:solidFill>
                  <a:srgbClr val="015A94"/>
                </a:solidFill>
                <a:prstDash val="solid"/>
              </a:ln>
            </c:spPr>
          </c:marker>
          <c:dPt>
            <c:idx val="5"/>
            <c:marker>
              <c:spPr>
                <a:solidFill>
                  <a:srgbClr val="C00000"/>
                </a:solidFill>
                <a:ln w="25400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8F4-4C19-9099-FDF0DA3FBC21}"/>
              </c:ext>
            </c:extLst>
          </c:dPt>
          <c:trendline>
            <c:spPr>
              <a:ln w="12700" algn="ctr">
                <a:solidFill>
                  <a:srgbClr val="E6251D"/>
                </a:solidFill>
                <a:prstDash val="solid"/>
              </a:ln>
            </c:spPr>
            <c:trendlineType val="linear"/>
            <c:forward val="4.76837158203125E-7"/>
            <c:dispRSqr val="0"/>
            <c:dispEq val="0"/>
          </c:trendline>
          <c:xVal>
            <c:numRef>
              <c:f>Sheet1!$A$1:$A$6</c:f>
              <c:numCache>
                <c:formatCode>General</c:formatCode>
                <c:ptCount val="6"/>
                <c:pt idx="0">
                  <c:v>1083948814.6666667</c:v>
                </c:pt>
                <c:pt idx="1">
                  <c:v>4192965389</c:v>
                </c:pt>
                <c:pt idx="2">
                  <c:v>735658591.33333337</c:v>
                </c:pt>
                <c:pt idx="3">
                  <c:v>40267908</c:v>
                </c:pt>
                <c:pt idx="4">
                  <c:v>938647681</c:v>
                </c:pt>
                <c:pt idx="5">
                  <c:v>282158000</c:v>
                </c:pt>
              </c:numCache>
            </c:numRef>
          </c:xVal>
          <c:yVal>
            <c:numRef>
              <c:f>Sheet1!$B$1:$B$6</c:f>
              <c:numCache>
                <c:formatCode>General</c:formatCode>
                <c:ptCount val="6"/>
                <c:pt idx="0">
                  <c:v>85509.636360000004</c:v>
                </c:pt>
                <c:pt idx="1">
                  <c:v>1363775.5</c:v>
                </c:pt>
                <c:pt idx="2">
                  <c:v>2339827.273</c:v>
                </c:pt>
                <c:pt idx="3">
                  <c:v>280822.45449999999</c:v>
                </c:pt>
                <c:pt idx="4">
                  <c:v>549708.5</c:v>
                </c:pt>
                <c:pt idx="5">
                  <c:v>25333917.36363636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87F-D74C-9B43-6B36F10788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66998207"/>
        <c:axId val="1"/>
      </c:scatterChart>
      <c:valAx>
        <c:axId val="1966998207"/>
        <c:scaling>
          <c:orientation val="minMax"/>
          <c:max val="50000000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"/>
        <c:crosses val="min"/>
        <c:crossBetween val="midCat"/>
        <c:majorUnit val="1000000000"/>
      </c:valAx>
      <c:valAx>
        <c:axId val="1"/>
        <c:scaling>
          <c:orientation val="minMax"/>
          <c:max val="3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966998207"/>
        <c:crosses val="min"/>
        <c:crossBetween val="midCat"/>
        <c:majorUnit val="5000000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78880407124679E-2"/>
          <c:y val="3.6236941751365853E-2"/>
          <c:w val="0.9338422391857506"/>
          <c:h val="0.92752613240418114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5"/>
            <c:spPr>
              <a:solidFill>
                <a:srgbClr val="015A94"/>
              </a:solidFill>
              <a:ln w="9525" algn="ctr">
                <a:solidFill>
                  <a:srgbClr val="015A94"/>
                </a:solidFill>
                <a:prstDash val="solid"/>
              </a:ln>
            </c:spPr>
          </c:marker>
          <c:dPt>
            <c:idx val="5"/>
            <c:marker>
              <c:spPr>
                <a:solidFill>
                  <a:srgbClr val="C00000"/>
                </a:solidFill>
                <a:ln w="25400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CEA-49F9-B64E-D1A499B4610F}"/>
              </c:ext>
            </c:extLst>
          </c:dPt>
          <c:trendline>
            <c:spPr>
              <a:ln w="12700" algn="ctr">
                <a:solidFill>
                  <a:srgbClr val="E6251D"/>
                </a:solidFill>
                <a:prstDash val="solid"/>
              </a:ln>
            </c:spPr>
            <c:trendlineType val="linear"/>
            <c:forward val="1.8189894035458565E-12"/>
            <c:dispRSqr val="0"/>
            <c:dispEq val="0"/>
          </c:trendline>
          <c:xVal>
            <c:numRef>
              <c:f>Sheet1!$A$1:$A$6</c:f>
              <c:numCache>
                <c:formatCode>General</c:formatCode>
                <c:ptCount val="6"/>
                <c:pt idx="0">
                  <c:v>13066</c:v>
                </c:pt>
                <c:pt idx="1">
                  <c:v>7161</c:v>
                </c:pt>
                <c:pt idx="2">
                  <c:v>6622</c:v>
                </c:pt>
                <c:pt idx="3">
                  <c:v>14151</c:v>
                </c:pt>
                <c:pt idx="4">
                  <c:v>6533</c:v>
                </c:pt>
                <c:pt idx="5">
                  <c:v>500</c:v>
                </c:pt>
              </c:numCache>
            </c:numRef>
          </c:xVal>
          <c:yVal>
            <c:numRef>
              <c:f>Sheet1!$B$1:$B$6</c:f>
              <c:numCache>
                <c:formatCode>General</c:formatCode>
                <c:ptCount val="6"/>
                <c:pt idx="0">
                  <c:v>85509.636360000004</c:v>
                </c:pt>
                <c:pt idx="1">
                  <c:v>1363775.5</c:v>
                </c:pt>
                <c:pt idx="2">
                  <c:v>2339827.273</c:v>
                </c:pt>
                <c:pt idx="3">
                  <c:v>280822.45449999999</c:v>
                </c:pt>
                <c:pt idx="4">
                  <c:v>549708.5</c:v>
                </c:pt>
                <c:pt idx="5">
                  <c:v>25333917.36363636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030-4441-B805-E9A6CC3DB3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92873536"/>
        <c:axId val="1"/>
      </c:scatterChart>
      <c:valAx>
        <c:axId val="1092873536"/>
        <c:scaling>
          <c:orientation val="minMax"/>
          <c:max val="150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"/>
        <c:crosses val="min"/>
        <c:crossBetween val="midCat"/>
        <c:majorUnit val="5000"/>
      </c:valAx>
      <c:valAx>
        <c:axId val="1"/>
        <c:scaling>
          <c:orientation val="minMax"/>
          <c:max val="3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092873536"/>
        <c:crosses val="min"/>
        <c:crossBetween val="midCat"/>
        <c:majorUnit val="5000000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78880407124679E-2"/>
          <c:y val="3.6236933797909411E-2"/>
          <c:w val="0.9338422391857506"/>
          <c:h val="0.92752613240418114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5"/>
            <c:spPr>
              <a:solidFill>
                <a:srgbClr val="015A94"/>
              </a:solidFill>
              <a:ln w="9525" algn="ctr">
                <a:solidFill>
                  <a:srgbClr val="015A94"/>
                </a:solidFill>
                <a:prstDash val="solid"/>
              </a:ln>
            </c:spPr>
          </c:marker>
          <c:dPt>
            <c:idx val="5"/>
            <c:marker>
              <c:spPr>
                <a:solidFill>
                  <a:srgbClr val="C00000"/>
                </a:solidFill>
                <a:ln w="25400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C97-48AF-8BE7-20FE549BF993}"/>
              </c:ext>
            </c:extLst>
          </c:dPt>
          <c:xVal>
            <c:numRef>
              <c:f>Sheet1!$A$1:$A$6</c:f>
              <c:numCache>
                <c:formatCode>General</c:formatCode>
                <c:ptCount val="6"/>
                <c:pt idx="0">
                  <c:v>1346.5</c:v>
                </c:pt>
                <c:pt idx="1">
                  <c:v>4864</c:v>
                </c:pt>
                <c:pt idx="2">
                  <c:v>21119</c:v>
                </c:pt>
                <c:pt idx="3">
                  <c:v>27278.5</c:v>
                </c:pt>
                <c:pt idx="4">
                  <c:v>39783.5</c:v>
                </c:pt>
                <c:pt idx="5">
                  <c:v>42285.121212124825</c:v>
                </c:pt>
              </c:numCache>
            </c:numRef>
          </c:xVal>
          <c:yVal>
            <c:numRef>
              <c:f>Sheet1!$B$1:$B$6</c:f>
              <c:numCache>
                <c:formatCode>General</c:formatCode>
                <c:ptCount val="6"/>
                <c:pt idx="0">
                  <c:v>85509.636360000004</c:v>
                </c:pt>
                <c:pt idx="1">
                  <c:v>1363775.5</c:v>
                </c:pt>
                <c:pt idx="2">
                  <c:v>2339827.273</c:v>
                </c:pt>
                <c:pt idx="3">
                  <c:v>280822.45449999999</c:v>
                </c:pt>
                <c:pt idx="4">
                  <c:v>549708.5</c:v>
                </c:pt>
                <c:pt idx="5">
                  <c:v>2504346.57849865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A51-3344-8AB8-CB929FB0C3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93315792"/>
        <c:axId val="1"/>
      </c:scatterChart>
      <c:valAx>
        <c:axId val="1093315792"/>
        <c:scaling>
          <c:orientation val="minMax"/>
          <c:max val="44785.12121212482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  <c:majorUnit val="5000"/>
      </c:valAx>
      <c:valAx>
        <c:axId val="1"/>
        <c:scaling>
          <c:orientation val="minMax"/>
          <c:max val="2670429.214862290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093315792"/>
        <c:crosses val="min"/>
        <c:crossBetween val="midCat"/>
        <c:majorUnit val="500000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444964871194378E-2"/>
          <c:y val="3.8604305864884926E-2"/>
          <c:w val="0.93911007025761128"/>
          <c:h val="0.9227913882702301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E6251D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1.756440281030445E-3"/>
                  <c:y val="-5.939123979213065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952-314F-A280-F70972078D75}"/>
                </c:ext>
              </c:extLst>
            </c:dLbl>
            <c:dLbl>
              <c:idx val="1"/>
              <c:layout>
                <c:manualLayout>
                  <c:x val="-1.756440281030445E-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952-314F-A280-F70972078D75}"/>
                </c:ext>
              </c:extLst>
            </c:dLbl>
            <c:dLbl>
              <c:idx val="2"/>
              <c:layout>
                <c:manualLayout>
                  <c:x val="-1.756440281030445E-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952-314F-A280-F70972078D75}"/>
                </c:ext>
              </c:extLst>
            </c:dLbl>
            <c:dLbl>
              <c:idx val="3"/>
              <c:layout>
                <c:manualLayout>
                  <c:x val="-1.756440281030445E-3"/>
                  <c:y val="-6.607275426874535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952-314F-A280-F70972078D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;"-"#,##0</c:formatCode>
                <c:ptCount val="5"/>
                <c:pt idx="0">
                  <c:v>1224630</c:v>
                </c:pt>
                <c:pt idx="1">
                  <c:v>19305469</c:v>
                </c:pt>
                <c:pt idx="2">
                  <c:v>35224527</c:v>
                </c:pt>
                <c:pt idx="3">
                  <c:v>4104211</c:v>
                </c:pt>
                <c:pt idx="4" formatCode="#,##0.00">
                  <c:v>44450849.8081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952-314F-A280-F70972078D75}"/>
            </c:ext>
          </c:extLst>
        </c:ser>
        <c:ser>
          <c:idx val="1"/>
          <c:order val="1"/>
          <c:spPr>
            <a:solidFill>
              <a:srgbClr val="015A94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1.756440281030445E-3"/>
                  <c:y val="5.939123979213065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952-314F-A280-F70972078D75}"/>
                </c:ext>
              </c:extLst>
            </c:dLbl>
            <c:dLbl>
              <c:idx val="1"/>
              <c:layout>
                <c:manualLayout>
                  <c:x val="-1.756440281030445E-3"/>
                  <c:y val="-0.202672605790645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952-314F-A280-F70972078D75}"/>
                </c:ext>
              </c:extLst>
            </c:dLbl>
            <c:dLbl>
              <c:idx val="2"/>
              <c:layout>
                <c:manualLayout>
                  <c:x val="-1.756440281030445E-3"/>
                  <c:y val="1.78173719376391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952-314F-A280-F70972078D75}"/>
                </c:ext>
              </c:extLst>
            </c:dLbl>
            <c:dLbl>
              <c:idx val="3"/>
              <c:layout>
                <c:manualLayout>
                  <c:x val="-1.756440281030445E-3"/>
                  <c:y val="-2.37564959168522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952-314F-A280-F70972078D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#,##0;"-"#,##0</c:formatCode>
                <c:ptCount val="5"/>
                <c:pt idx="0">
                  <c:v>656582</c:v>
                </c:pt>
                <c:pt idx="1">
                  <c:v>10697592</c:v>
                </c:pt>
                <c:pt idx="2">
                  <c:v>16251673</c:v>
                </c:pt>
                <c:pt idx="3">
                  <c:v>2073883</c:v>
                </c:pt>
                <c:pt idx="4" formatCode="#,##0.00">
                  <c:v>40374102.520812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952-314F-A280-F70972078D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18741344"/>
        <c:axId val="1"/>
      </c:barChart>
      <c:catAx>
        <c:axId val="1418741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4450849.8081218"/>
          <c:min val="0"/>
        </c:scaling>
        <c:delete val="1"/>
        <c:axPos val="l"/>
        <c:numFmt formatCode="#,##0;&quot;-&quot;#,##0" sourceLinked="1"/>
        <c:majorTickMark val="out"/>
        <c:minorTickMark val="none"/>
        <c:tickLblPos val="nextTo"/>
        <c:crossAx val="1418741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0047225501770958"/>
          <c:y val="6.6581306017925737E-2"/>
          <c:w val="0.39964580873671784"/>
          <c:h val="0.8668373879641485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E6251D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126-4B4F-B9FD-E0A9E7BDB479}"/>
              </c:ext>
            </c:extLst>
          </c:dPt>
          <c:dPt>
            <c:idx val="1"/>
            <c:bubble3D val="0"/>
            <c:spPr>
              <a:solidFill>
                <a:srgbClr val="015A94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126-4B4F-B9FD-E0A9E7BDB479}"/>
              </c:ext>
            </c:extLst>
          </c:dPt>
          <c:dLbls>
            <c:dLbl>
              <c:idx val="0"/>
              <c:layout>
                <c:manualLayout>
                  <c:x val="2.0661157024793389E-2"/>
                  <c:y val="1.6645326504481434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126-4B4F-B9FD-E0A9E7BDB479}"/>
                </c:ext>
              </c:extLst>
            </c:dLbl>
            <c:dLbl>
              <c:idx val="1"/>
              <c:layout>
                <c:manualLayout>
                  <c:x val="-2.0661157024793389E-2"/>
                  <c:y val="-2.560819462227912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126-4B4F-B9FD-E0A9E7BDB4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#,##0.0"%";"-"#,##0.0"%"</c:formatCode>
                <c:ptCount val="2"/>
                <c:pt idx="0">
                  <c:v>64</c:v>
                </c:pt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26-4B4F-B9FD-E0A9E7BDB4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C56E1D-A809-4426-835B-25ED0D993D26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9B52900A-986E-443C-92F2-60A27079E8D3}">
      <dgm:prSet phldrT="[Text]" custT="1"/>
      <dgm:spPr/>
      <dgm:t>
        <a:bodyPr/>
        <a:lstStyle/>
        <a:p>
          <a:pPr>
            <a:buSzPct val="100000"/>
          </a:pPr>
          <a:r>
            <a:rPr lang="en-US" sz="2200"/>
            <a:t>How did COVID impact travel to Canada?</a:t>
          </a:r>
          <a:endParaRPr lang="en-CA" sz="2200"/>
        </a:p>
      </dgm:t>
    </dgm:pt>
    <dgm:pt modelId="{DE2C3286-7263-4D07-9654-DFA360F23F3F}" type="parTrans" cxnId="{406C8ED8-FC81-46E9-BF28-B5AD4C688F25}">
      <dgm:prSet/>
      <dgm:spPr/>
      <dgm:t>
        <a:bodyPr/>
        <a:lstStyle/>
        <a:p>
          <a:endParaRPr lang="en-CA"/>
        </a:p>
      </dgm:t>
    </dgm:pt>
    <dgm:pt modelId="{C2403669-1EA2-4B95-83C7-481735A1B7E4}" type="sibTrans" cxnId="{406C8ED8-FC81-46E9-BF28-B5AD4C688F25}">
      <dgm:prSet/>
      <dgm:spPr/>
      <dgm:t>
        <a:bodyPr/>
        <a:lstStyle/>
        <a:p>
          <a:endParaRPr lang="en-CA"/>
        </a:p>
      </dgm:t>
    </dgm:pt>
    <dgm:pt modelId="{53C13726-B085-4A88-815A-37D58FA3776B}">
      <dgm:prSet phldrT="[Text]"/>
      <dgm:spPr/>
      <dgm:t>
        <a:bodyPr/>
        <a:lstStyle/>
        <a:p>
          <a:pPr>
            <a:buSzPct val="100000"/>
          </a:pPr>
          <a:r>
            <a:rPr lang="en-US"/>
            <a:t>What are the main Influencing factors in predicting travelers from one country?</a:t>
          </a:r>
          <a:endParaRPr lang="en-CA"/>
        </a:p>
      </dgm:t>
    </dgm:pt>
    <dgm:pt modelId="{3EDF0E51-30DD-4FE1-A09B-AE54ED4B0B10}" type="parTrans" cxnId="{6AF24B95-3CF0-41FA-8A59-83E4E56CC9C0}">
      <dgm:prSet/>
      <dgm:spPr/>
      <dgm:t>
        <a:bodyPr/>
        <a:lstStyle/>
        <a:p>
          <a:endParaRPr lang="en-CA"/>
        </a:p>
      </dgm:t>
    </dgm:pt>
    <dgm:pt modelId="{BB8FABEB-26C9-4B8F-A4E1-A860B9A9DE4C}" type="sibTrans" cxnId="{6AF24B95-3CF0-41FA-8A59-83E4E56CC9C0}">
      <dgm:prSet/>
      <dgm:spPr/>
      <dgm:t>
        <a:bodyPr/>
        <a:lstStyle/>
        <a:p>
          <a:endParaRPr lang="en-CA"/>
        </a:p>
      </dgm:t>
    </dgm:pt>
    <dgm:pt modelId="{61563750-A6EC-4A20-80F8-2E3E93E99F65}">
      <dgm:prSet phldrT="[Text]"/>
      <dgm:spPr/>
      <dgm:t>
        <a:bodyPr/>
        <a:lstStyle/>
        <a:p>
          <a:pPr>
            <a:buSzPct val="100000"/>
          </a:pPr>
          <a:r>
            <a:rPr lang="en-US"/>
            <a:t>As a cold Country, are there more travelers in the winter or in summer?</a:t>
          </a:r>
          <a:endParaRPr lang="en-CA"/>
        </a:p>
      </dgm:t>
    </dgm:pt>
    <dgm:pt modelId="{56A43406-740E-44C9-B4BD-ACEFE31438C8}" type="parTrans" cxnId="{888FBD31-BE65-405A-B8CE-43657C2E00A4}">
      <dgm:prSet/>
      <dgm:spPr/>
      <dgm:t>
        <a:bodyPr/>
        <a:lstStyle/>
        <a:p>
          <a:endParaRPr lang="en-CA"/>
        </a:p>
      </dgm:t>
    </dgm:pt>
    <dgm:pt modelId="{4DFF2CB6-A93E-4888-BB7E-C7DECFBCE0CB}" type="sibTrans" cxnId="{888FBD31-BE65-405A-B8CE-43657C2E00A4}">
      <dgm:prSet/>
      <dgm:spPr/>
      <dgm:t>
        <a:bodyPr/>
        <a:lstStyle/>
        <a:p>
          <a:endParaRPr lang="en-CA"/>
        </a:p>
      </dgm:t>
    </dgm:pt>
    <dgm:pt modelId="{F89EFF35-FF22-4B4F-A45D-DDA825CD9CEE}" type="pres">
      <dgm:prSet presAssocID="{DCC56E1D-A809-4426-835B-25ED0D993D26}" presName="Name0" presStyleCnt="0">
        <dgm:presLayoutVars>
          <dgm:chMax val="7"/>
          <dgm:chPref val="7"/>
          <dgm:dir/>
        </dgm:presLayoutVars>
      </dgm:prSet>
      <dgm:spPr/>
    </dgm:pt>
    <dgm:pt modelId="{76C5FF7C-6692-4CCC-B92B-391BF4FDD18E}" type="pres">
      <dgm:prSet presAssocID="{DCC56E1D-A809-4426-835B-25ED0D993D26}" presName="Name1" presStyleCnt="0"/>
      <dgm:spPr/>
    </dgm:pt>
    <dgm:pt modelId="{50087E9E-FF27-4AC0-B360-0860BB8C2C96}" type="pres">
      <dgm:prSet presAssocID="{DCC56E1D-A809-4426-835B-25ED0D993D26}" presName="cycle" presStyleCnt="0"/>
      <dgm:spPr/>
    </dgm:pt>
    <dgm:pt modelId="{CB58E090-83D4-42AD-A249-477BEDED1A24}" type="pres">
      <dgm:prSet presAssocID="{DCC56E1D-A809-4426-835B-25ED0D993D26}" presName="srcNode" presStyleLbl="node1" presStyleIdx="0" presStyleCnt="3"/>
      <dgm:spPr/>
    </dgm:pt>
    <dgm:pt modelId="{4D083660-5232-49E4-BF1A-00C53108CB26}" type="pres">
      <dgm:prSet presAssocID="{DCC56E1D-A809-4426-835B-25ED0D993D26}" presName="conn" presStyleLbl="parChTrans1D2" presStyleIdx="0" presStyleCnt="1"/>
      <dgm:spPr/>
    </dgm:pt>
    <dgm:pt modelId="{9EF413D9-ABAB-4C9F-AB7D-96A7E5A822FF}" type="pres">
      <dgm:prSet presAssocID="{DCC56E1D-A809-4426-835B-25ED0D993D26}" presName="extraNode" presStyleLbl="node1" presStyleIdx="0" presStyleCnt="3"/>
      <dgm:spPr/>
    </dgm:pt>
    <dgm:pt modelId="{D79DCA54-EC1B-4C1B-A831-39A456741254}" type="pres">
      <dgm:prSet presAssocID="{DCC56E1D-A809-4426-835B-25ED0D993D26}" presName="dstNode" presStyleLbl="node1" presStyleIdx="0" presStyleCnt="3"/>
      <dgm:spPr/>
    </dgm:pt>
    <dgm:pt modelId="{0FF256E6-C54B-41EF-A378-20BAFFE0CCB4}" type="pres">
      <dgm:prSet presAssocID="{9B52900A-986E-443C-92F2-60A27079E8D3}" presName="text_1" presStyleLbl="node1" presStyleIdx="0" presStyleCnt="3">
        <dgm:presLayoutVars>
          <dgm:bulletEnabled val="1"/>
        </dgm:presLayoutVars>
      </dgm:prSet>
      <dgm:spPr/>
    </dgm:pt>
    <dgm:pt modelId="{7EF5D2D1-83EF-433E-9494-CB45617D827C}" type="pres">
      <dgm:prSet presAssocID="{9B52900A-986E-443C-92F2-60A27079E8D3}" presName="accent_1" presStyleCnt="0"/>
      <dgm:spPr/>
    </dgm:pt>
    <dgm:pt modelId="{6CCD09C5-5559-442A-9888-5B2BC6CA1AAC}" type="pres">
      <dgm:prSet presAssocID="{9B52900A-986E-443C-92F2-60A27079E8D3}" presName="accentRepeatNode" presStyleLbl="solidFgAcc1" presStyleIdx="0" presStyleCnt="3"/>
      <dgm:spPr/>
    </dgm:pt>
    <dgm:pt modelId="{605D42BC-1CC9-48BB-9FF9-81A1B159B8A6}" type="pres">
      <dgm:prSet presAssocID="{53C13726-B085-4A88-815A-37D58FA3776B}" presName="text_2" presStyleLbl="node1" presStyleIdx="1" presStyleCnt="3">
        <dgm:presLayoutVars>
          <dgm:bulletEnabled val="1"/>
        </dgm:presLayoutVars>
      </dgm:prSet>
      <dgm:spPr/>
    </dgm:pt>
    <dgm:pt modelId="{3DFAE8AB-1AC6-4C07-9890-65205B9E7C8A}" type="pres">
      <dgm:prSet presAssocID="{53C13726-B085-4A88-815A-37D58FA3776B}" presName="accent_2" presStyleCnt="0"/>
      <dgm:spPr/>
    </dgm:pt>
    <dgm:pt modelId="{66BBB119-6A0C-42F4-BC43-95316CB761DA}" type="pres">
      <dgm:prSet presAssocID="{53C13726-B085-4A88-815A-37D58FA3776B}" presName="accentRepeatNode" presStyleLbl="solidFgAcc1" presStyleIdx="1" presStyleCnt="3"/>
      <dgm:spPr/>
    </dgm:pt>
    <dgm:pt modelId="{5A15105E-A141-469F-8533-5304FD92ECC2}" type="pres">
      <dgm:prSet presAssocID="{61563750-A6EC-4A20-80F8-2E3E93E99F65}" presName="text_3" presStyleLbl="node1" presStyleIdx="2" presStyleCnt="3">
        <dgm:presLayoutVars>
          <dgm:bulletEnabled val="1"/>
        </dgm:presLayoutVars>
      </dgm:prSet>
      <dgm:spPr/>
    </dgm:pt>
    <dgm:pt modelId="{A04B92FD-2565-454C-ADDC-C96A3B7702F2}" type="pres">
      <dgm:prSet presAssocID="{61563750-A6EC-4A20-80F8-2E3E93E99F65}" presName="accent_3" presStyleCnt="0"/>
      <dgm:spPr/>
    </dgm:pt>
    <dgm:pt modelId="{B9C6BEA5-B951-4401-99A6-503E648DD8F0}" type="pres">
      <dgm:prSet presAssocID="{61563750-A6EC-4A20-80F8-2E3E93E99F65}" presName="accentRepeatNode" presStyleLbl="solidFgAcc1" presStyleIdx="2" presStyleCnt="3"/>
      <dgm:spPr/>
    </dgm:pt>
  </dgm:ptLst>
  <dgm:cxnLst>
    <dgm:cxn modelId="{98D1D203-AB65-4861-BD44-FDDD89528AB3}" type="presOf" srcId="{C2403669-1EA2-4B95-83C7-481735A1B7E4}" destId="{4D083660-5232-49E4-BF1A-00C53108CB26}" srcOrd="0" destOrd="0" presId="urn:microsoft.com/office/officeart/2008/layout/VerticalCurvedList"/>
    <dgm:cxn modelId="{888FBD31-BE65-405A-B8CE-43657C2E00A4}" srcId="{DCC56E1D-A809-4426-835B-25ED0D993D26}" destId="{61563750-A6EC-4A20-80F8-2E3E93E99F65}" srcOrd="2" destOrd="0" parTransId="{56A43406-740E-44C9-B4BD-ACEFE31438C8}" sibTransId="{4DFF2CB6-A93E-4888-BB7E-C7DECFBCE0CB}"/>
    <dgm:cxn modelId="{FC4F1B70-E9C9-4CB1-8268-91280C1197BE}" type="presOf" srcId="{61563750-A6EC-4A20-80F8-2E3E93E99F65}" destId="{5A15105E-A141-469F-8533-5304FD92ECC2}" srcOrd="0" destOrd="0" presId="urn:microsoft.com/office/officeart/2008/layout/VerticalCurvedList"/>
    <dgm:cxn modelId="{6AF24B95-3CF0-41FA-8A59-83E4E56CC9C0}" srcId="{DCC56E1D-A809-4426-835B-25ED0D993D26}" destId="{53C13726-B085-4A88-815A-37D58FA3776B}" srcOrd="1" destOrd="0" parTransId="{3EDF0E51-30DD-4FE1-A09B-AE54ED4B0B10}" sibTransId="{BB8FABEB-26C9-4B8F-A4E1-A860B9A9DE4C}"/>
    <dgm:cxn modelId="{406C8ED8-FC81-46E9-BF28-B5AD4C688F25}" srcId="{DCC56E1D-A809-4426-835B-25ED0D993D26}" destId="{9B52900A-986E-443C-92F2-60A27079E8D3}" srcOrd="0" destOrd="0" parTransId="{DE2C3286-7263-4D07-9654-DFA360F23F3F}" sibTransId="{C2403669-1EA2-4B95-83C7-481735A1B7E4}"/>
    <dgm:cxn modelId="{E916AEEC-7DBD-4B3F-9AF8-E1295E8CE49B}" type="presOf" srcId="{DCC56E1D-A809-4426-835B-25ED0D993D26}" destId="{F89EFF35-FF22-4B4F-A45D-DDA825CD9CEE}" srcOrd="0" destOrd="0" presId="urn:microsoft.com/office/officeart/2008/layout/VerticalCurvedList"/>
    <dgm:cxn modelId="{907369F4-D865-4980-B28E-97F8E58BE79D}" type="presOf" srcId="{9B52900A-986E-443C-92F2-60A27079E8D3}" destId="{0FF256E6-C54B-41EF-A378-20BAFFE0CCB4}" srcOrd="0" destOrd="0" presId="urn:microsoft.com/office/officeart/2008/layout/VerticalCurvedList"/>
    <dgm:cxn modelId="{51F37EF8-D872-4F0C-A72E-5E481C432FC3}" type="presOf" srcId="{53C13726-B085-4A88-815A-37D58FA3776B}" destId="{605D42BC-1CC9-48BB-9FF9-81A1B159B8A6}" srcOrd="0" destOrd="0" presId="urn:microsoft.com/office/officeart/2008/layout/VerticalCurvedList"/>
    <dgm:cxn modelId="{CC159262-9A90-48A5-BD99-280B49B79F03}" type="presParOf" srcId="{F89EFF35-FF22-4B4F-A45D-DDA825CD9CEE}" destId="{76C5FF7C-6692-4CCC-B92B-391BF4FDD18E}" srcOrd="0" destOrd="0" presId="urn:microsoft.com/office/officeart/2008/layout/VerticalCurvedList"/>
    <dgm:cxn modelId="{52327D5D-F8EC-4BA5-88B8-A09C8497B13E}" type="presParOf" srcId="{76C5FF7C-6692-4CCC-B92B-391BF4FDD18E}" destId="{50087E9E-FF27-4AC0-B360-0860BB8C2C96}" srcOrd="0" destOrd="0" presId="urn:microsoft.com/office/officeart/2008/layout/VerticalCurvedList"/>
    <dgm:cxn modelId="{4029C28A-26B7-45B3-A676-3A9DCDCC504E}" type="presParOf" srcId="{50087E9E-FF27-4AC0-B360-0860BB8C2C96}" destId="{CB58E090-83D4-42AD-A249-477BEDED1A24}" srcOrd="0" destOrd="0" presId="urn:microsoft.com/office/officeart/2008/layout/VerticalCurvedList"/>
    <dgm:cxn modelId="{CB1EECC1-9F70-4612-BDE5-2F2EF0003BBD}" type="presParOf" srcId="{50087E9E-FF27-4AC0-B360-0860BB8C2C96}" destId="{4D083660-5232-49E4-BF1A-00C53108CB26}" srcOrd="1" destOrd="0" presId="urn:microsoft.com/office/officeart/2008/layout/VerticalCurvedList"/>
    <dgm:cxn modelId="{16134FF7-3D9B-42AD-8A2C-5C3B993FC128}" type="presParOf" srcId="{50087E9E-FF27-4AC0-B360-0860BB8C2C96}" destId="{9EF413D9-ABAB-4C9F-AB7D-96A7E5A822FF}" srcOrd="2" destOrd="0" presId="urn:microsoft.com/office/officeart/2008/layout/VerticalCurvedList"/>
    <dgm:cxn modelId="{8B29404D-C8EC-4341-BC42-CB47CA4D8C5C}" type="presParOf" srcId="{50087E9E-FF27-4AC0-B360-0860BB8C2C96}" destId="{D79DCA54-EC1B-4C1B-A831-39A456741254}" srcOrd="3" destOrd="0" presId="urn:microsoft.com/office/officeart/2008/layout/VerticalCurvedList"/>
    <dgm:cxn modelId="{E7CE4720-27DB-4AAA-A111-F018F56FE97C}" type="presParOf" srcId="{76C5FF7C-6692-4CCC-B92B-391BF4FDD18E}" destId="{0FF256E6-C54B-41EF-A378-20BAFFE0CCB4}" srcOrd="1" destOrd="0" presId="urn:microsoft.com/office/officeart/2008/layout/VerticalCurvedList"/>
    <dgm:cxn modelId="{70675CAB-ADB9-489D-BA6B-02A81CEA5825}" type="presParOf" srcId="{76C5FF7C-6692-4CCC-B92B-391BF4FDD18E}" destId="{7EF5D2D1-83EF-433E-9494-CB45617D827C}" srcOrd="2" destOrd="0" presId="urn:microsoft.com/office/officeart/2008/layout/VerticalCurvedList"/>
    <dgm:cxn modelId="{04F29580-9583-418A-873B-5016D5ACE66C}" type="presParOf" srcId="{7EF5D2D1-83EF-433E-9494-CB45617D827C}" destId="{6CCD09C5-5559-442A-9888-5B2BC6CA1AAC}" srcOrd="0" destOrd="0" presId="urn:microsoft.com/office/officeart/2008/layout/VerticalCurvedList"/>
    <dgm:cxn modelId="{53639D56-A7D9-4224-8DAC-7C578FC12D73}" type="presParOf" srcId="{76C5FF7C-6692-4CCC-B92B-391BF4FDD18E}" destId="{605D42BC-1CC9-48BB-9FF9-81A1B159B8A6}" srcOrd="3" destOrd="0" presId="urn:microsoft.com/office/officeart/2008/layout/VerticalCurvedList"/>
    <dgm:cxn modelId="{16D7BF8A-A5EF-48EF-86ED-117B1FB88A8E}" type="presParOf" srcId="{76C5FF7C-6692-4CCC-B92B-391BF4FDD18E}" destId="{3DFAE8AB-1AC6-4C07-9890-65205B9E7C8A}" srcOrd="4" destOrd="0" presId="urn:microsoft.com/office/officeart/2008/layout/VerticalCurvedList"/>
    <dgm:cxn modelId="{93CA4734-AF01-43CC-B1FA-C633026E7B65}" type="presParOf" srcId="{3DFAE8AB-1AC6-4C07-9890-65205B9E7C8A}" destId="{66BBB119-6A0C-42F4-BC43-95316CB761DA}" srcOrd="0" destOrd="0" presId="urn:microsoft.com/office/officeart/2008/layout/VerticalCurvedList"/>
    <dgm:cxn modelId="{295DE5FC-4A94-42FF-A6CC-7658717B5F80}" type="presParOf" srcId="{76C5FF7C-6692-4CCC-B92B-391BF4FDD18E}" destId="{5A15105E-A141-469F-8533-5304FD92ECC2}" srcOrd="5" destOrd="0" presId="urn:microsoft.com/office/officeart/2008/layout/VerticalCurvedList"/>
    <dgm:cxn modelId="{313F8B36-9B09-43CC-A3FD-2BA50938AB50}" type="presParOf" srcId="{76C5FF7C-6692-4CCC-B92B-391BF4FDD18E}" destId="{A04B92FD-2565-454C-ADDC-C96A3B7702F2}" srcOrd="6" destOrd="0" presId="urn:microsoft.com/office/officeart/2008/layout/VerticalCurvedList"/>
    <dgm:cxn modelId="{CD4E7573-F9DA-4258-BB99-C2FD3D47470C}" type="presParOf" srcId="{A04B92FD-2565-454C-ADDC-C96A3B7702F2}" destId="{B9C6BEA5-B951-4401-99A6-503E648DD8F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083660-5232-49E4-BF1A-00C53108CB26}">
      <dsp:nvSpPr>
        <dsp:cNvPr id="0" name=""/>
        <dsp:cNvSpPr/>
      </dsp:nvSpPr>
      <dsp:spPr>
        <a:xfrm>
          <a:off x="-3938521" y="-604706"/>
          <a:ext cx="4693755" cy="4693755"/>
        </a:xfrm>
        <a:prstGeom prst="blockArc">
          <a:avLst>
            <a:gd name="adj1" fmla="val 18900000"/>
            <a:gd name="adj2" fmla="val 2700000"/>
            <a:gd name="adj3" fmla="val 460"/>
          </a:avLst>
        </a:pr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F256E6-C54B-41EF-A378-20BAFFE0CCB4}">
      <dsp:nvSpPr>
        <dsp:cNvPr id="0" name=""/>
        <dsp:cNvSpPr/>
      </dsp:nvSpPr>
      <dsp:spPr>
        <a:xfrm>
          <a:off x="485679" y="348434"/>
          <a:ext cx="6302498" cy="6968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3139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None/>
          </a:pPr>
          <a:r>
            <a:rPr lang="en-US" sz="2200" kern="1200"/>
            <a:t>How did COVID impact travel to Canada?</a:t>
          </a:r>
          <a:endParaRPr lang="en-CA" sz="2200" kern="1200"/>
        </a:p>
      </dsp:txBody>
      <dsp:txXfrm>
        <a:off x="485679" y="348434"/>
        <a:ext cx="6302498" cy="696868"/>
      </dsp:txXfrm>
    </dsp:sp>
    <dsp:sp modelId="{6CCD09C5-5559-442A-9888-5B2BC6CA1AAC}">
      <dsp:nvSpPr>
        <dsp:cNvPr id="0" name=""/>
        <dsp:cNvSpPr/>
      </dsp:nvSpPr>
      <dsp:spPr>
        <a:xfrm>
          <a:off x="50136" y="261325"/>
          <a:ext cx="871085" cy="8710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5D42BC-1CC9-48BB-9FF9-81A1B159B8A6}">
      <dsp:nvSpPr>
        <dsp:cNvPr id="0" name=""/>
        <dsp:cNvSpPr/>
      </dsp:nvSpPr>
      <dsp:spPr>
        <a:xfrm>
          <a:off x="738990" y="1393736"/>
          <a:ext cx="6049186" cy="6968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3139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None/>
          </a:pPr>
          <a:r>
            <a:rPr lang="en-US" sz="2200" kern="1200"/>
            <a:t>What are the main Influencing factors in predicting travelers from one country?</a:t>
          </a:r>
          <a:endParaRPr lang="en-CA" sz="2200" kern="1200"/>
        </a:p>
      </dsp:txBody>
      <dsp:txXfrm>
        <a:off x="738990" y="1393736"/>
        <a:ext cx="6049186" cy="696868"/>
      </dsp:txXfrm>
    </dsp:sp>
    <dsp:sp modelId="{66BBB119-6A0C-42F4-BC43-95316CB761DA}">
      <dsp:nvSpPr>
        <dsp:cNvPr id="0" name=""/>
        <dsp:cNvSpPr/>
      </dsp:nvSpPr>
      <dsp:spPr>
        <a:xfrm>
          <a:off x="303448" y="1306628"/>
          <a:ext cx="871085" cy="8710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15105E-A141-469F-8533-5304FD92ECC2}">
      <dsp:nvSpPr>
        <dsp:cNvPr id="0" name=""/>
        <dsp:cNvSpPr/>
      </dsp:nvSpPr>
      <dsp:spPr>
        <a:xfrm>
          <a:off x="485679" y="2439039"/>
          <a:ext cx="6302498" cy="6968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3139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None/>
          </a:pPr>
          <a:r>
            <a:rPr lang="en-US" sz="2200" kern="1200"/>
            <a:t>As a cold Country, are there more travelers in the winter or in summer?</a:t>
          </a:r>
          <a:endParaRPr lang="en-CA" sz="2200" kern="1200"/>
        </a:p>
      </dsp:txBody>
      <dsp:txXfrm>
        <a:off x="485679" y="2439039"/>
        <a:ext cx="6302498" cy="696868"/>
      </dsp:txXfrm>
    </dsp:sp>
    <dsp:sp modelId="{B9C6BEA5-B951-4401-99A6-503E648DD8F0}">
      <dsp:nvSpPr>
        <dsp:cNvPr id="0" name=""/>
        <dsp:cNvSpPr/>
      </dsp:nvSpPr>
      <dsp:spPr>
        <a:xfrm>
          <a:off x="50136" y="2351930"/>
          <a:ext cx="871085" cy="8710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de-DE" smtClean="0"/>
              <a:t>31.07.23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de-DE" smtClean="0"/>
              <a:t>31.07.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15827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203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8743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8830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sz="1200"/>
              <a:t>Yidi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9120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sz="1200"/>
              <a:t>Yidi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2270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sz="1200"/>
              <a:t>Vlad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08344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sz="1200"/>
              <a:t>Vlad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7707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sz="1200"/>
              <a:t>Vlad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7806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sz="1200"/>
              <a:t>Vlad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35330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AFDBE7-7F30-E2CE-2ED8-07ACD7E138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3837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AFDBE7-7F30-E2CE-2ED8-07ACD7E13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560054DA-D00B-61C3-D550-92772BD7AD5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0" y="0"/>
            <a:ext cx="3971925" cy="137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cap="all" baseline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000" smtClean="0">
                <a:solidFill>
                  <a:schemeClr val="accent1"/>
                </a:solidFill>
              </a:defRPr>
            </a:lvl2pPr>
            <a:lvl3pPr>
              <a:defRPr lang="en-US" sz="1000" smtClean="0">
                <a:solidFill>
                  <a:schemeClr val="accent1"/>
                </a:solidFill>
              </a:defRPr>
            </a:lvl3pPr>
            <a:lvl4pPr>
              <a:defRPr lang="en-US" sz="1000" smtClean="0">
                <a:solidFill>
                  <a:schemeClr val="accent1"/>
                </a:solidFill>
              </a:defRPr>
            </a:lvl4pPr>
            <a:lvl5pPr>
              <a:defRPr lang="de-DE"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</a:t>
            </a:r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F66C620-F193-1BBF-D981-9591864BD20E}"/>
              </a:ext>
            </a:extLst>
          </p:cNvPr>
          <p:cNvSpPr txBox="1"/>
          <p:nvPr userDrawn="1"/>
        </p:nvSpPr>
        <p:spPr>
          <a:xfrm>
            <a:off x="-3629891" y="1354892"/>
            <a:ext cx="3629891" cy="815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CA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ent header – Verdana 14 bold </a:t>
            </a:r>
          </a:p>
          <a:p>
            <a:pPr>
              <a:lnSpc>
                <a:spcPct val="110000"/>
              </a:lnSpc>
            </a:pPr>
            <a:endParaRPr lang="de-CA" sz="1600"/>
          </a:p>
          <a:p>
            <a:pPr>
              <a:lnSpc>
                <a:spcPct val="110000"/>
              </a:lnSpc>
            </a:pPr>
            <a:r>
              <a:rPr lang="de-CA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ent – Verdana 12</a:t>
            </a:r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F6C63CE2-B45B-F47E-8962-C56C632FF7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171089"/>
            <a:ext cx="11306175" cy="212939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buNone/>
              <a:defRPr lang="de-DE" sz="1400" b="0" kern="1200" baseline="0" dirty="0" smtClean="0">
                <a:solidFill>
                  <a:schemeClr val="tx1"/>
                </a:solidFill>
                <a:latin typeface="Baskerville Old Face" charset="0"/>
                <a:ea typeface="Baskerville Old Face" charset="0"/>
                <a:cs typeface="Baskerville Old Face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A839E45-55B0-F1AE-FE7D-99B96D7089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13" y="291830"/>
            <a:ext cx="11306175" cy="74315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buNone/>
              <a:defRPr lang="de-DE" sz="2200" b="1" kern="1200" baseline="0" dirty="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Action Title </a:t>
            </a:r>
          </a:p>
        </p:txBody>
      </p:sp>
      <p:cxnSp>
        <p:nvCxnSpPr>
          <p:cNvPr id="14" name="Straight Connector 27">
            <a:extLst>
              <a:ext uri="{FF2B5EF4-FFF2-40B4-BE49-F238E27FC236}">
                <a16:creationId xmlns:a16="http://schemas.microsoft.com/office/drawing/2014/main" id="{CE886C12-BDDB-6D8C-A072-3AA7D3A3B870}"/>
              </a:ext>
            </a:extLst>
          </p:cNvPr>
          <p:cNvCxnSpPr/>
          <p:nvPr userDrawn="1"/>
        </p:nvCxnSpPr>
        <p:spPr>
          <a:xfrm>
            <a:off x="442913" y="1093076"/>
            <a:ext cx="11306175" cy="0"/>
          </a:xfrm>
          <a:prstGeom prst="line">
            <a:avLst/>
          </a:prstGeom>
          <a:ln w="44450" cap="flat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7411FE-4659-F6DE-93B8-B44819F330A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CD48F4-F53A-2EE9-C50A-6886D232F0A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3329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AFDBE7-7F30-E2CE-2ED8-07ACD7E138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5471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AFDBE7-7F30-E2CE-2ED8-07ACD7E13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560054DA-D00B-61C3-D550-92772BD7AD5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0" y="0"/>
            <a:ext cx="3971925" cy="137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cap="all" baseline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000" smtClean="0">
                <a:solidFill>
                  <a:schemeClr val="accent1"/>
                </a:solidFill>
              </a:defRPr>
            </a:lvl2pPr>
            <a:lvl3pPr>
              <a:defRPr lang="en-US" sz="1000" smtClean="0">
                <a:solidFill>
                  <a:schemeClr val="accent1"/>
                </a:solidFill>
              </a:defRPr>
            </a:lvl3pPr>
            <a:lvl4pPr>
              <a:defRPr lang="en-US" sz="1000" smtClean="0">
                <a:solidFill>
                  <a:schemeClr val="accent1"/>
                </a:solidFill>
              </a:defRPr>
            </a:lvl4pPr>
            <a:lvl5pPr>
              <a:defRPr lang="de-DE"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</a:t>
            </a:r>
            <a:endParaRPr lang="de-DE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690A30EA-73BB-9EE3-5F73-C76A9D5ABA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13" y="2308327"/>
            <a:ext cx="11306175" cy="3863874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buNone/>
              <a:defRPr lang="de-DE" sz="1200" b="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ontent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F66C620-F193-1BBF-D981-9591864BD20E}"/>
              </a:ext>
            </a:extLst>
          </p:cNvPr>
          <p:cNvSpPr txBox="1"/>
          <p:nvPr userDrawn="1"/>
        </p:nvSpPr>
        <p:spPr>
          <a:xfrm>
            <a:off x="-3629891" y="1354892"/>
            <a:ext cx="3629891" cy="815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CA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ent header – Verdana 14 bold </a:t>
            </a:r>
          </a:p>
          <a:p>
            <a:pPr>
              <a:lnSpc>
                <a:spcPct val="110000"/>
              </a:lnSpc>
            </a:pPr>
            <a:endParaRPr lang="de-CA" sz="1600"/>
          </a:p>
          <a:p>
            <a:pPr>
              <a:lnSpc>
                <a:spcPct val="110000"/>
              </a:lnSpc>
            </a:pPr>
            <a:r>
              <a:rPr lang="de-CA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ent – Verdana 12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C0D0B8C5-E15A-32DF-FDCE-0B78272183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2913" y="1800321"/>
            <a:ext cx="11317288" cy="413311"/>
          </a:xfrm>
          <a:prstGeom prst="rect">
            <a:avLst/>
          </a:prstGeom>
        </p:spPr>
        <p:txBody>
          <a:bodyPr anchor="ctr"/>
          <a:lstStyle>
            <a:lvl1pPr marL="0" indent="0" algn="l" defTabSz="457189" rtl="0" eaLnBrk="1" latinLnBrk="0" hangingPunct="1">
              <a:buNone/>
              <a:defRPr lang="de-DE" sz="1400" b="1" kern="1200" baseline="0" dirty="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Content header </a:t>
            </a:r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F6C63CE2-B45B-F47E-8962-C56C632FF7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171089"/>
            <a:ext cx="11306175" cy="212939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buNone/>
              <a:defRPr lang="de-DE" sz="1400" b="0" kern="1200" baseline="0" dirty="0" smtClean="0">
                <a:solidFill>
                  <a:schemeClr val="tx1"/>
                </a:solidFill>
                <a:latin typeface="Baskerville Old Face" charset="0"/>
                <a:ea typeface="Baskerville Old Face" charset="0"/>
                <a:cs typeface="Baskerville Old Face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A839E45-55B0-F1AE-FE7D-99B96D7089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13" y="291830"/>
            <a:ext cx="11306175" cy="74315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buNone/>
              <a:defRPr lang="de-DE" sz="2200" b="1" kern="1200" baseline="0" dirty="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Action Title </a:t>
            </a:r>
          </a:p>
        </p:txBody>
      </p:sp>
      <p:cxnSp>
        <p:nvCxnSpPr>
          <p:cNvPr id="14" name="Straight Connector 27">
            <a:extLst>
              <a:ext uri="{FF2B5EF4-FFF2-40B4-BE49-F238E27FC236}">
                <a16:creationId xmlns:a16="http://schemas.microsoft.com/office/drawing/2014/main" id="{CE886C12-BDDB-6D8C-A072-3AA7D3A3B870}"/>
              </a:ext>
            </a:extLst>
          </p:cNvPr>
          <p:cNvCxnSpPr/>
          <p:nvPr userDrawn="1"/>
        </p:nvCxnSpPr>
        <p:spPr>
          <a:xfrm>
            <a:off x="442913" y="1093076"/>
            <a:ext cx="11306175" cy="0"/>
          </a:xfrm>
          <a:prstGeom prst="line">
            <a:avLst/>
          </a:prstGeom>
          <a:ln w="44450" cap="flat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084088F-4FA7-4271-E460-226A5FB7785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53E858E-96A9-3D15-2133-CDD1745CFF0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71780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k +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AFDBE7-7F30-E2CE-2ED8-07ACD7E138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3837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AFDBE7-7F30-E2CE-2ED8-07ACD7E13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0F66C620-F193-1BBF-D981-9591864BD20E}"/>
              </a:ext>
            </a:extLst>
          </p:cNvPr>
          <p:cNvSpPr txBox="1"/>
          <p:nvPr userDrawn="1"/>
        </p:nvSpPr>
        <p:spPr>
          <a:xfrm>
            <a:off x="-3629891" y="1354892"/>
            <a:ext cx="3629891" cy="815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CA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ent header – Verdana 14 bold </a:t>
            </a:r>
          </a:p>
          <a:p>
            <a:pPr>
              <a:lnSpc>
                <a:spcPct val="110000"/>
              </a:lnSpc>
            </a:pPr>
            <a:endParaRPr lang="de-CA" sz="1600"/>
          </a:p>
          <a:p>
            <a:pPr>
              <a:lnSpc>
                <a:spcPct val="110000"/>
              </a:lnSpc>
            </a:pPr>
            <a:r>
              <a:rPr lang="de-CA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ent – Verdana 12</a:t>
            </a:r>
          </a:p>
        </p:txBody>
      </p:sp>
    </p:spTree>
    <p:extLst>
      <p:ext uri="{BB962C8B-B14F-4D97-AF65-F5344CB8AC3E}">
        <p14:creationId xmlns:p14="http://schemas.microsoft.com/office/powerpoint/2010/main" val="16654365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243B23-8889-40A4-B561-D0DC7097C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902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B243B23-8889-40A4-B561-D0DC7097C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27ACCF2-6DC2-71BF-CFF7-8E73B26AAA91}"/>
              </a:ext>
            </a:extLst>
          </p:cNvPr>
          <p:cNvSpPr/>
          <p:nvPr userDrawn="1"/>
        </p:nvSpPr>
        <p:spPr>
          <a:xfrm>
            <a:off x="0" y="0"/>
            <a:ext cx="37084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270F193D-32C9-4002-ABDD-EB87213F15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4350" y="1230674"/>
            <a:ext cx="5876014" cy="4396653"/>
          </a:xfrm>
          <a:prstGeom prst="rect">
            <a:avLst/>
          </a:prstGeom>
          <a:ln>
            <a:noFill/>
          </a:ln>
        </p:spPr>
        <p:txBody>
          <a:bodyPr vert="horz" anchor="ctr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 noProof="0"/>
              <a:t>Agenda Header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935E1EC-65AF-91F4-FD84-70BFF42E79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4" y="739775"/>
            <a:ext cx="4314825" cy="537845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390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68FE6A4-10D1-4FC8-80D2-F625A8913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73624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68FE6A4-10D1-4FC8-80D2-F625A8913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3">
            <a:extLst>
              <a:ext uri="{FF2B5EF4-FFF2-40B4-BE49-F238E27FC236}">
                <a16:creationId xmlns:a16="http://schemas.microsoft.com/office/drawing/2014/main" id="{6172BB9F-D85D-57CC-9ED1-6D1AAE111247}"/>
              </a:ext>
            </a:extLst>
          </p:cNvPr>
          <p:cNvSpPr/>
          <p:nvPr userDrawn="1"/>
        </p:nvSpPr>
        <p:spPr>
          <a:xfrm>
            <a:off x="0" y="-903283"/>
            <a:ext cx="1645750" cy="82769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B2C37</a:t>
            </a: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E35320EF-8FAF-F77A-74F1-D7862BC01F53}"/>
              </a:ext>
            </a:extLst>
          </p:cNvPr>
          <p:cNvSpPr/>
          <p:nvPr userDrawn="1"/>
        </p:nvSpPr>
        <p:spPr>
          <a:xfrm>
            <a:off x="2109250" y="-903283"/>
            <a:ext cx="1645750" cy="827690"/>
          </a:xfrm>
          <a:prstGeom prst="rect">
            <a:avLst/>
          </a:prstGeom>
          <a:solidFill>
            <a:srgbClr val="000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2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00000</a:t>
            </a: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0CBD6272-8F3B-2450-8568-7C75B5E03A8C}"/>
              </a:ext>
            </a:extLst>
          </p:cNvPr>
          <p:cNvSpPr/>
          <p:nvPr userDrawn="1"/>
        </p:nvSpPr>
        <p:spPr>
          <a:xfrm>
            <a:off x="4218500" y="-903283"/>
            <a:ext cx="1645750" cy="827690"/>
          </a:xfrm>
          <a:prstGeom prst="rect">
            <a:avLst/>
          </a:prstGeom>
          <a:solidFill>
            <a:srgbClr val="7F7F7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F7F7F</a:t>
            </a: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520B5247-CB7C-E2DF-F8BB-A9F17A402131}"/>
              </a:ext>
            </a:extLst>
          </p:cNvPr>
          <p:cNvSpPr/>
          <p:nvPr userDrawn="1"/>
        </p:nvSpPr>
        <p:spPr>
          <a:xfrm>
            <a:off x="6327750" y="-903283"/>
            <a:ext cx="1645750" cy="827690"/>
          </a:xfrm>
          <a:prstGeom prst="rect">
            <a:avLst/>
          </a:prstGeom>
          <a:solidFill>
            <a:srgbClr val="BFBFB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FBFBF</a:t>
            </a:r>
          </a:p>
        </p:txBody>
      </p:sp>
      <p:sp>
        <p:nvSpPr>
          <p:cNvPr id="22" name="Rectangle 18">
            <a:extLst>
              <a:ext uri="{FF2B5EF4-FFF2-40B4-BE49-F238E27FC236}">
                <a16:creationId xmlns:a16="http://schemas.microsoft.com/office/drawing/2014/main" id="{E28C0B9C-023C-E8ED-5977-39BC6EFE2A7B}"/>
              </a:ext>
            </a:extLst>
          </p:cNvPr>
          <p:cNvSpPr/>
          <p:nvPr userDrawn="1"/>
        </p:nvSpPr>
        <p:spPr>
          <a:xfrm>
            <a:off x="8437000" y="-903283"/>
            <a:ext cx="1645750" cy="827690"/>
          </a:xfrm>
          <a:prstGeom prst="rect">
            <a:avLst/>
          </a:prstGeom>
          <a:solidFill>
            <a:srgbClr val="D9D9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9D9D9</a:t>
            </a: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B1F30B48-0748-15C1-4102-5B8BB7E97A31}"/>
              </a:ext>
            </a:extLst>
          </p:cNvPr>
          <p:cNvSpPr/>
          <p:nvPr userDrawn="1"/>
        </p:nvSpPr>
        <p:spPr>
          <a:xfrm>
            <a:off x="10546250" y="-898665"/>
            <a:ext cx="1645750" cy="82769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2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0263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37284-B2B8-7965-9C23-43BA7F4B8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425246"/>
            <a:ext cx="4114800" cy="2273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D1C993-92C0-A860-F454-02750CDA9E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8" y="6425246"/>
            <a:ext cx="2743200" cy="2273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4F9ED3D1-DA4B-D842-9E85-ABF36D12847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27" r:id="rId2"/>
    <p:sldLayoutId id="2147483831" r:id="rId3"/>
    <p:sldLayoutId id="2147483828" r:id="rId4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F26B43"/>
          </p15:clr>
        </p15:guide>
        <p15:guide id="1" pos="279" userDrawn="1">
          <p15:clr>
            <a:srgbClr val="F26B43"/>
          </p15:clr>
        </p15:guide>
        <p15:guide id="2" pos="7401" userDrawn="1">
          <p15:clr>
            <a:srgbClr val="F26B43"/>
          </p15:clr>
        </p15:guide>
        <p15:guide id="3" pos="3976" userDrawn="1">
          <p15:clr>
            <a:srgbClr val="F26B43"/>
          </p15:clr>
        </p15:guide>
        <p15:guide id="4" pos="3727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  <p15:guide id="6" pos="2706" userDrawn="1">
          <p15:clr>
            <a:srgbClr val="F26B43"/>
          </p15:clr>
        </p15:guide>
        <p15:guide id="7" pos="2502" userDrawn="1">
          <p15:clr>
            <a:srgbClr val="F26B43"/>
          </p15:clr>
        </p15:guide>
        <p15:guide id="8" pos="4952" userDrawn="1">
          <p15:clr>
            <a:srgbClr val="F26B43"/>
          </p15:clr>
        </p15:guide>
        <p15:guide id="9" pos="5177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1" orient="horz" pos="1325" userDrawn="1">
          <p15:clr>
            <a:srgbClr val="F26B43"/>
          </p15:clr>
        </p15:guide>
        <p15:guide id="12" orient="horz" pos="1139" userDrawn="1">
          <p15:clr>
            <a:srgbClr val="F26B43"/>
          </p15:clr>
        </p15:guide>
        <p15:guide id="13" orient="horz" pos="2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63.xml"/><Relationship Id="rId7" Type="http://schemas.openxmlformats.org/officeDocument/2006/relationships/oleObject" Target="../embeddings/oleObject9.bin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6.png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9" Type="http://schemas.microsoft.com/office/2011/relationships/webextension" Target="../webextensions/webextension1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11/relationships/webextension" Target="../webextensions/webextension2.xml"/><Relationship Id="rId3" Type="http://schemas.openxmlformats.org/officeDocument/2006/relationships/tags" Target="../tags/tag68.xml"/><Relationship Id="rId7" Type="http://schemas.openxmlformats.org/officeDocument/2006/relationships/image" Target="../media/image25.emf"/><Relationship Id="rId12" Type="http://schemas.openxmlformats.org/officeDocument/2006/relationships/image" Target="../media/image17.sv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27.png"/><Relationship Id="rId4" Type="http://schemas.openxmlformats.org/officeDocument/2006/relationships/tags" Target="../tags/tag6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0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96.xml"/><Relationship Id="rId21" Type="http://schemas.openxmlformats.org/officeDocument/2006/relationships/tags" Target="../tags/tag91.xml"/><Relationship Id="rId42" Type="http://schemas.openxmlformats.org/officeDocument/2006/relationships/tags" Target="../tags/tag112.xml"/><Relationship Id="rId47" Type="http://schemas.openxmlformats.org/officeDocument/2006/relationships/tags" Target="../tags/tag117.xml"/><Relationship Id="rId63" Type="http://schemas.openxmlformats.org/officeDocument/2006/relationships/tags" Target="../tags/tag133.xml"/><Relationship Id="rId68" Type="http://schemas.openxmlformats.org/officeDocument/2006/relationships/tags" Target="../tags/tag138.xml"/><Relationship Id="rId84" Type="http://schemas.openxmlformats.org/officeDocument/2006/relationships/tags" Target="../tags/tag154.xml"/><Relationship Id="rId89" Type="http://schemas.openxmlformats.org/officeDocument/2006/relationships/tags" Target="../tags/tag159.xml"/><Relationship Id="rId16" Type="http://schemas.openxmlformats.org/officeDocument/2006/relationships/tags" Target="../tags/tag86.xml"/><Relationship Id="rId107" Type="http://schemas.openxmlformats.org/officeDocument/2006/relationships/slideLayout" Target="../slideLayouts/slideLayout1.xml"/><Relationship Id="rId11" Type="http://schemas.openxmlformats.org/officeDocument/2006/relationships/tags" Target="../tags/tag81.xml"/><Relationship Id="rId32" Type="http://schemas.openxmlformats.org/officeDocument/2006/relationships/tags" Target="../tags/tag102.xml"/><Relationship Id="rId37" Type="http://schemas.openxmlformats.org/officeDocument/2006/relationships/tags" Target="../tags/tag107.xml"/><Relationship Id="rId53" Type="http://schemas.openxmlformats.org/officeDocument/2006/relationships/tags" Target="../tags/tag123.xml"/><Relationship Id="rId58" Type="http://schemas.openxmlformats.org/officeDocument/2006/relationships/tags" Target="../tags/tag128.xml"/><Relationship Id="rId74" Type="http://schemas.openxmlformats.org/officeDocument/2006/relationships/tags" Target="../tags/tag144.xml"/><Relationship Id="rId79" Type="http://schemas.openxmlformats.org/officeDocument/2006/relationships/tags" Target="../tags/tag149.xml"/><Relationship Id="rId102" Type="http://schemas.openxmlformats.org/officeDocument/2006/relationships/tags" Target="../tags/tag172.xml"/><Relationship Id="rId5" Type="http://schemas.openxmlformats.org/officeDocument/2006/relationships/tags" Target="../tags/tag75.xml"/><Relationship Id="rId90" Type="http://schemas.openxmlformats.org/officeDocument/2006/relationships/tags" Target="../tags/tag160.xml"/><Relationship Id="rId95" Type="http://schemas.openxmlformats.org/officeDocument/2006/relationships/tags" Target="../tags/tag165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43" Type="http://schemas.openxmlformats.org/officeDocument/2006/relationships/tags" Target="../tags/tag113.xml"/><Relationship Id="rId48" Type="http://schemas.openxmlformats.org/officeDocument/2006/relationships/tags" Target="../tags/tag118.xml"/><Relationship Id="rId64" Type="http://schemas.openxmlformats.org/officeDocument/2006/relationships/tags" Target="../tags/tag134.xml"/><Relationship Id="rId69" Type="http://schemas.openxmlformats.org/officeDocument/2006/relationships/tags" Target="../tags/tag139.xml"/><Relationship Id="rId80" Type="http://schemas.openxmlformats.org/officeDocument/2006/relationships/tags" Target="../tags/tag150.xml"/><Relationship Id="rId85" Type="http://schemas.openxmlformats.org/officeDocument/2006/relationships/tags" Target="../tags/tag155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33" Type="http://schemas.openxmlformats.org/officeDocument/2006/relationships/tags" Target="../tags/tag103.xml"/><Relationship Id="rId38" Type="http://schemas.openxmlformats.org/officeDocument/2006/relationships/tags" Target="../tags/tag108.xml"/><Relationship Id="rId59" Type="http://schemas.openxmlformats.org/officeDocument/2006/relationships/tags" Target="../tags/tag129.xml"/><Relationship Id="rId103" Type="http://schemas.openxmlformats.org/officeDocument/2006/relationships/tags" Target="../tags/tag173.xml"/><Relationship Id="rId108" Type="http://schemas.openxmlformats.org/officeDocument/2006/relationships/notesSlide" Target="../notesSlides/notesSlide4.xml"/><Relationship Id="rId54" Type="http://schemas.openxmlformats.org/officeDocument/2006/relationships/tags" Target="../tags/tag124.xml"/><Relationship Id="rId70" Type="http://schemas.openxmlformats.org/officeDocument/2006/relationships/tags" Target="../tags/tag140.xml"/><Relationship Id="rId75" Type="http://schemas.openxmlformats.org/officeDocument/2006/relationships/tags" Target="../tags/tag145.xml"/><Relationship Id="rId91" Type="http://schemas.openxmlformats.org/officeDocument/2006/relationships/tags" Target="../tags/tag161.xml"/><Relationship Id="rId96" Type="http://schemas.openxmlformats.org/officeDocument/2006/relationships/tags" Target="../tags/tag166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tags" Target="../tags/tag106.xml"/><Relationship Id="rId49" Type="http://schemas.openxmlformats.org/officeDocument/2006/relationships/tags" Target="../tags/tag119.xml"/><Relationship Id="rId57" Type="http://schemas.openxmlformats.org/officeDocument/2006/relationships/tags" Target="../tags/tag127.xml"/><Relationship Id="rId106" Type="http://schemas.openxmlformats.org/officeDocument/2006/relationships/tags" Target="../tags/tag176.xml"/><Relationship Id="rId10" Type="http://schemas.openxmlformats.org/officeDocument/2006/relationships/tags" Target="../tags/tag80.xml"/><Relationship Id="rId31" Type="http://schemas.openxmlformats.org/officeDocument/2006/relationships/tags" Target="../tags/tag101.xml"/><Relationship Id="rId44" Type="http://schemas.openxmlformats.org/officeDocument/2006/relationships/tags" Target="../tags/tag114.xml"/><Relationship Id="rId52" Type="http://schemas.openxmlformats.org/officeDocument/2006/relationships/tags" Target="../tags/tag122.xml"/><Relationship Id="rId60" Type="http://schemas.openxmlformats.org/officeDocument/2006/relationships/tags" Target="../tags/tag130.xml"/><Relationship Id="rId65" Type="http://schemas.openxmlformats.org/officeDocument/2006/relationships/tags" Target="../tags/tag135.xml"/><Relationship Id="rId73" Type="http://schemas.openxmlformats.org/officeDocument/2006/relationships/tags" Target="../tags/tag143.xml"/><Relationship Id="rId78" Type="http://schemas.openxmlformats.org/officeDocument/2006/relationships/tags" Target="../tags/tag148.xml"/><Relationship Id="rId81" Type="http://schemas.openxmlformats.org/officeDocument/2006/relationships/tags" Target="../tags/tag151.xml"/><Relationship Id="rId86" Type="http://schemas.openxmlformats.org/officeDocument/2006/relationships/tags" Target="../tags/tag156.xml"/><Relationship Id="rId94" Type="http://schemas.openxmlformats.org/officeDocument/2006/relationships/tags" Target="../tags/tag164.xml"/><Relationship Id="rId99" Type="http://schemas.openxmlformats.org/officeDocument/2006/relationships/tags" Target="../tags/tag169.xml"/><Relationship Id="rId101" Type="http://schemas.openxmlformats.org/officeDocument/2006/relationships/tags" Target="../tags/tag171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39" Type="http://schemas.openxmlformats.org/officeDocument/2006/relationships/tags" Target="../tags/tag109.xml"/><Relationship Id="rId109" Type="http://schemas.openxmlformats.org/officeDocument/2006/relationships/oleObject" Target="../embeddings/oleObject12.bin"/><Relationship Id="rId34" Type="http://schemas.openxmlformats.org/officeDocument/2006/relationships/tags" Target="../tags/tag104.xml"/><Relationship Id="rId50" Type="http://schemas.openxmlformats.org/officeDocument/2006/relationships/tags" Target="../tags/tag120.xml"/><Relationship Id="rId55" Type="http://schemas.openxmlformats.org/officeDocument/2006/relationships/tags" Target="../tags/tag125.xml"/><Relationship Id="rId76" Type="http://schemas.openxmlformats.org/officeDocument/2006/relationships/tags" Target="../tags/tag146.xml"/><Relationship Id="rId97" Type="http://schemas.openxmlformats.org/officeDocument/2006/relationships/tags" Target="../tags/tag167.xml"/><Relationship Id="rId104" Type="http://schemas.openxmlformats.org/officeDocument/2006/relationships/tags" Target="../tags/tag174.xml"/><Relationship Id="rId7" Type="http://schemas.openxmlformats.org/officeDocument/2006/relationships/tags" Target="../tags/tag77.xml"/><Relationship Id="rId71" Type="http://schemas.openxmlformats.org/officeDocument/2006/relationships/tags" Target="../tags/tag141.xml"/><Relationship Id="rId92" Type="http://schemas.openxmlformats.org/officeDocument/2006/relationships/tags" Target="../tags/tag162.xml"/><Relationship Id="rId2" Type="http://schemas.openxmlformats.org/officeDocument/2006/relationships/tags" Target="../tags/tag72.xml"/><Relationship Id="rId29" Type="http://schemas.openxmlformats.org/officeDocument/2006/relationships/tags" Target="../tags/tag99.xml"/><Relationship Id="rId24" Type="http://schemas.openxmlformats.org/officeDocument/2006/relationships/tags" Target="../tags/tag94.xml"/><Relationship Id="rId40" Type="http://schemas.openxmlformats.org/officeDocument/2006/relationships/tags" Target="../tags/tag110.xml"/><Relationship Id="rId45" Type="http://schemas.openxmlformats.org/officeDocument/2006/relationships/tags" Target="../tags/tag115.xml"/><Relationship Id="rId66" Type="http://schemas.openxmlformats.org/officeDocument/2006/relationships/tags" Target="../tags/tag136.xml"/><Relationship Id="rId87" Type="http://schemas.openxmlformats.org/officeDocument/2006/relationships/tags" Target="../tags/tag157.xml"/><Relationship Id="rId110" Type="http://schemas.openxmlformats.org/officeDocument/2006/relationships/image" Target="../media/image28.emf"/><Relationship Id="rId61" Type="http://schemas.openxmlformats.org/officeDocument/2006/relationships/tags" Target="../tags/tag131.xml"/><Relationship Id="rId82" Type="http://schemas.openxmlformats.org/officeDocument/2006/relationships/tags" Target="../tags/tag152.xml"/><Relationship Id="rId19" Type="http://schemas.openxmlformats.org/officeDocument/2006/relationships/tags" Target="../tags/tag89.xml"/><Relationship Id="rId14" Type="http://schemas.openxmlformats.org/officeDocument/2006/relationships/tags" Target="../tags/tag84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56" Type="http://schemas.openxmlformats.org/officeDocument/2006/relationships/tags" Target="../tags/tag126.xml"/><Relationship Id="rId77" Type="http://schemas.openxmlformats.org/officeDocument/2006/relationships/tags" Target="../tags/tag147.xml"/><Relationship Id="rId100" Type="http://schemas.openxmlformats.org/officeDocument/2006/relationships/tags" Target="../tags/tag170.xml"/><Relationship Id="rId105" Type="http://schemas.openxmlformats.org/officeDocument/2006/relationships/tags" Target="../tags/tag175.xml"/><Relationship Id="rId8" Type="http://schemas.openxmlformats.org/officeDocument/2006/relationships/tags" Target="../tags/tag78.xml"/><Relationship Id="rId51" Type="http://schemas.openxmlformats.org/officeDocument/2006/relationships/tags" Target="../tags/tag121.xml"/><Relationship Id="rId72" Type="http://schemas.openxmlformats.org/officeDocument/2006/relationships/tags" Target="../tags/tag142.xml"/><Relationship Id="rId93" Type="http://schemas.openxmlformats.org/officeDocument/2006/relationships/tags" Target="../tags/tag163.xml"/><Relationship Id="rId98" Type="http://schemas.openxmlformats.org/officeDocument/2006/relationships/tags" Target="../tags/tag168.xml"/><Relationship Id="rId3" Type="http://schemas.openxmlformats.org/officeDocument/2006/relationships/tags" Target="../tags/tag73.xml"/><Relationship Id="rId25" Type="http://schemas.openxmlformats.org/officeDocument/2006/relationships/tags" Target="../tags/tag95.xml"/><Relationship Id="rId46" Type="http://schemas.openxmlformats.org/officeDocument/2006/relationships/tags" Target="../tags/tag116.xml"/><Relationship Id="rId67" Type="http://schemas.openxmlformats.org/officeDocument/2006/relationships/tags" Target="../tags/tag137.xml"/><Relationship Id="rId20" Type="http://schemas.openxmlformats.org/officeDocument/2006/relationships/tags" Target="../tags/tag90.xml"/><Relationship Id="rId41" Type="http://schemas.openxmlformats.org/officeDocument/2006/relationships/tags" Target="../tags/tag111.xml"/><Relationship Id="rId62" Type="http://schemas.openxmlformats.org/officeDocument/2006/relationships/tags" Target="../tags/tag132.xml"/><Relationship Id="rId83" Type="http://schemas.openxmlformats.org/officeDocument/2006/relationships/tags" Target="../tags/tag153.xml"/><Relationship Id="rId88" Type="http://schemas.openxmlformats.org/officeDocument/2006/relationships/tags" Target="../tags/tag158.xml"/><Relationship Id="rId111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tags" Target="../tags/tag202.xml"/><Relationship Id="rId21" Type="http://schemas.openxmlformats.org/officeDocument/2006/relationships/tags" Target="../tags/tag197.xml"/><Relationship Id="rId42" Type="http://schemas.openxmlformats.org/officeDocument/2006/relationships/tags" Target="../tags/tag218.xml"/><Relationship Id="rId47" Type="http://schemas.openxmlformats.org/officeDocument/2006/relationships/tags" Target="../tags/tag223.xml"/><Relationship Id="rId63" Type="http://schemas.openxmlformats.org/officeDocument/2006/relationships/tags" Target="../tags/tag239.xml"/><Relationship Id="rId68" Type="http://schemas.openxmlformats.org/officeDocument/2006/relationships/tags" Target="../tags/tag244.xml"/><Relationship Id="rId84" Type="http://schemas.openxmlformats.org/officeDocument/2006/relationships/tags" Target="../tags/tag260.xml"/><Relationship Id="rId89" Type="http://schemas.openxmlformats.org/officeDocument/2006/relationships/tags" Target="../tags/tag265.xml"/><Relationship Id="rId16" Type="http://schemas.openxmlformats.org/officeDocument/2006/relationships/tags" Target="../tags/tag192.xml"/><Relationship Id="rId11" Type="http://schemas.openxmlformats.org/officeDocument/2006/relationships/tags" Target="../tags/tag187.xml"/><Relationship Id="rId32" Type="http://schemas.openxmlformats.org/officeDocument/2006/relationships/tags" Target="../tags/tag208.xml"/><Relationship Id="rId37" Type="http://schemas.openxmlformats.org/officeDocument/2006/relationships/tags" Target="../tags/tag213.xml"/><Relationship Id="rId53" Type="http://schemas.openxmlformats.org/officeDocument/2006/relationships/tags" Target="../tags/tag229.xml"/><Relationship Id="rId58" Type="http://schemas.openxmlformats.org/officeDocument/2006/relationships/tags" Target="../tags/tag234.xml"/><Relationship Id="rId74" Type="http://schemas.openxmlformats.org/officeDocument/2006/relationships/tags" Target="../tags/tag250.xml"/><Relationship Id="rId79" Type="http://schemas.openxmlformats.org/officeDocument/2006/relationships/tags" Target="../tags/tag255.xml"/><Relationship Id="rId102" Type="http://schemas.openxmlformats.org/officeDocument/2006/relationships/slideLayout" Target="../slideLayouts/slideLayout1.xml"/><Relationship Id="rId5" Type="http://schemas.openxmlformats.org/officeDocument/2006/relationships/tags" Target="../tags/tag181.xml"/><Relationship Id="rId90" Type="http://schemas.openxmlformats.org/officeDocument/2006/relationships/tags" Target="../tags/tag266.xml"/><Relationship Id="rId95" Type="http://schemas.openxmlformats.org/officeDocument/2006/relationships/tags" Target="../tags/tag271.xml"/><Relationship Id="rId22" Type="http://schemas.openxmlformats.org/officeDocument/2006/relationships/tags" Target="../tags/tag198.xml"/><Relationship Id="rId27" Type="http://schemas.openxmlformats.org/officeDocument/2006/relationships/tags" Target="../tags/tag203.xml"/><Relationship Id="rId43" Type="http://schemas.openxmlformats.org/officeDocument/2006/relationships/tags" Target="../tags/tag219.xml"/><Relationship Id="rId48" Type="http://schemas.openxmlformats.org/officeDocument/2006/relationships/tags" Target="../tags/tag224.xml"/><Relationship Id="rId64" Type="http://schemas.openxmlformats.org/officeDocument/2006/relationships/tags" Target="../tags/tag240.xml"/><Relationship Id="rId69" Type="http://schemas.openxmlformats.org/officeDocument/2006/relationships/tags" Target="../tags/tag245.xml"/><Relationship Id="rId80" Type="http://schemas.openxmlformats.org/officeDocument/2006/relationships/tags" Target="../tags/tag256.xml"/><Relationship Id="rId85" Type="http://schemas.openxmlformats.org/officeDocument/2006/relationships/tags" Target="../tags/tag261.xml"/><Relationship Id="rId12" Type="http://schemas.openxmlformats.org/officeDocument/2006/relationships/tags" Target="../tags/tag188.xml"/><Relationship Id="rId17" Type="http://schemas.openxmlformats.org/officeDocument/2006/relationships/tags" Target="../tags/tag193.xml"/><Relationship Id="rId33" Type="http://schemas.openxmlformats.org/officeDocument/2006/relationships/tags" Target="../tags/tag209.xml"/><Relationship Id="rId38" Type="http://schemas.openxmlformats.org/officeDocument/2006/relationships/tags" Target="../tags/tag214.xml"/><Relationship Id="rId59" Type="http://schemas.openxmlformats.org/officeDocument/2006/relationships/tags" Target="../tags/tag235.xml"/><Relationship Id="rId103" Type="http://schemas.openxmlformats.org/officeDocument/2006/relationships/notesSlide" Target="../notesSlides/notesSlide5.xml"/><Relationship Id="rId20" Type="http://schemas.openxmlformats.org/officeDocument/2006/relationships/tags" Target="../tags/tag196.xml"/><Relationship Id="rId41" Type="http://schemas.openxmlformats.org/officeDocument/2006/relationships/tags" Target="../tags/tag217.xml"/><Relationship Id="rId54" Type="http://schemas.openxmlformats.org/officeDocument/2006/relationships/tags" Target="../tags/tag230.xml"/><Relationship Id="rId62" Type="http://schemas.openxmlformats.org/officeDocument/2006/relationships/tags" Target="../tags/tag238.xml"/><Relationship Id="rId70" Type="http://schemas.openxmlformats.org/officeDocument/2006/relationships/tags" Target="../tags/tag246.xml"/><Relationship Id="rId75" Type="http://schemas.openxmlformats.org/officeDocument/2006/relationships/tags" Target="../tags/tag251.xml"/><Relationship Id="rId83" Type="http://schemas.openxmlformats.org/officeDocument/2006/relationships/tags" Target="../tags/tag259.xml"/><Relationship Id="rId88" Type="http://schemas.openxmlformats.org/officeDocument/2006/relationships/tags" Target="../tags/tag264.xml"/><Relationship Id="rId91" Type="http://schemas.openxmlformats.org/officeDocument/2006/relationships/tags" Target="../tags/tag267.xml"/><Relationship Id="rId96" Type="http://schemas.openxmlformats.org/officeDocument/2006/relationships/tags" Target="../tags/tag272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5" Type="http://schemas.openxmlformats.org/officeDocument/2006/relationships/tags" Target="../tags/tag191.xml"/><Relationship Id="rId23" Type="http://schemas.openxmlformats.org/officeDocument/2006/relationships/tags" Target="../tags/tag199.xml"/><Relationship Id="rId28" Type="http://schemas.openxmlformats.org/officeDocument/2006/relationships/tags" Target="../tags/tag204.xml"/><Relationship Id="rId36" Type="http://schemas.openxmlformats.org/officeDocument/2006/relationships/tags" Target="../tags/tag212.xml"/><Relationship Id="rId49" Type="http://schemas.openxmlformats.org/officeDocument/2006/relationships/tags" Target="../tags/tag225.xml"/><Relationship Id="rId57" Type="http://schemas.openxmlformats.org/officeDocument/2006/relationships/tags" Target="../tags/tag233.xml"/><Relationship Id="rId106" Type="http://schemas.openxmlformats.org/officeDocument/2006/relationships/chart" Target="../charts/chart3.xml"/><Relationship Id="rId10" Type="http://schemas.openxmlformats.org/officeDocument/2006/relationships/tags" Target="../tags/tag186.xml"/><Relationship Id="rId31" Type="http://schemas.openxmlformats.org/officeDocument/2006/relationships/tags" Target="../tags/tag207.xml"/><Relationship Id="rId44" Type="http://schemas.openxmlformats.org/officeDocument/2006/relationships/tags" Target="../tags/tag220.xml"/><Relationship Id="rId52" Type="http://schemas.openxmlformats.org/officeDocument/2006/relationships/tags" Target="../tags/tag228.xml"/><Relationship Id="rId60" Type="http://schemas.openxmlformats.org/officeDocument/2006/relationships/tags" Target="../tags/tag236.xml"/><Relationship Id="rId65" Type="http://schemas.openxmlformats.org/officeDocument/2006/relationships/tags" Target="../tags/tag241.xml"/><Relationship Id="rId73" Type="http://schemas.openxmlformats.org/officeDocument/2006/relationships/tags" Target="../tags/tag249.xml"/><Relationship Id="rId78" Type="http://schemas.openxmlformats.org/officeDocument/2006/relationships/tags" Target="../tags/tag254.xml"/><Relationship Id="rId81" Type="http://schemas.openxmlformats.org/officeDocument/2006/relationships/tags" Target="../tags/tag257.xml"/><Relationship Id="rId86" Type="http://schemas.openxmlformats.org/officeDocument/2006/relationships/tags" Target="../tags/tag262.xml"/><Relationship Id="rId94" Type="http://schemas.openxmlformats.org/officeDocument/2006/relationships/tags" Target="../tags/tag270.xml"/><Relationship Id="rId99" Type="http://schemas.openxmlformats.org/officeDocument/2006/relationships/tags" Target="../tags/tag275.xml"/><Relationship Id="rId101" Type="http://schemas.openxmlformats.org/officeDocument/2006/relationships/tags" Target="../tags/tag277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3" Type="http://schemas.openxmlformats.org/officeDocument/2006/relationships/tags" Target="../tags/tag189.xml"/><Relationship Id="rId18" Type="http://schemas.openxmlformats.org/officeDocument/2006/relationships/tags" Target="../tags/tag194.xml"/><Relationship Id="rId39" Type="http://schemas.openxmlformats.org/officeDocument/2006/relationships/tags" Target="../tags/tag215.xml"/><Relationship Id="rId34" Type="http://schemas.openxmlformats.org/officeDocument/2006/relationships/tags" Target="../tags/tag210.xml"/><Relationship Id="rId50" Type="http://schemas.openxmlformats.org/officeDocument/2006/relationships/tags" Target="../tags/tag226.xml"/><Relationship Id="rId55" Type="http://schemas.openxmlformats.org/officeDocument/2006/relationships/tags" Target="../tags/tag231.xml"/><Relationship Id="rId76" Type="http://schemas.openxmlformats.org/officeDocument/2006/relationships/tags" Target="../tags/tag252.xml"/><Relationship Id="rId97" Type="http://schemas.openxmlformats.org/officeDocument/2006/relationships/tags" Target="../tags/tag273.xml"/><Relationship Id="rId104" Type="http://schemas.openxmlformats.org/officeDocument/2006/relationships/oleObject" Target="../embeddings/oleObject13.bin"/><Relationship Id="rId7" Type="http://schemas.openxmlformats.org/officeDocument/2006/relationships/tags" Target="../tags/tag183.xml"/><Relationship Id="rId71" Type="http://schemas.openxmlformats.org/officeDocument/2006/relationships/tags" Target="../tags/tag247.xml"/><Relationship Id="rId92" Type="http://schemas.openxmlformats.org/officeDocument/2006/relationships/tags" Target="../tags/tag268.xml"/><Relationship Id="rId2" Type="http://schemas.openxmlformats.org/officeDocument/2006/relationships/tags" Target="../tags/tag178.xml"/><Relationship Id="rId29" Type="http://schemas.openxmlformats.org/officeDocument/2006/relationships/tags" Target="../tags/tag205.xml"/><Relationship Id="rId24" Type="http://schemas.openxmlformats.org/officeDocument/2006/relationships/tags" Target="../tags/tag200.xml"/><Relationship Id="rId40" Type="http://schemas.openxmlformats.org/officeDocument/2006/relationships/tags" Target="../tags/tag216.xml"/><Relationship Id="rId45" Type="http://schemas.openxmlformats.org/officeDocument/2006/relationships/tags" Target="../tags/tag221.xml"/><Relationship Id="rId66" Type="http://schemas.openxmlformats.org/officeDocument/2006/relationships/tags" Target="../tags/tag242.xml"/><Relationship Id="rId87" Type="http://schemas.openxmlformats.org/officeDocument/2006/relationships/tags" Target="../tags/tag263.xml"/><Relationship Id="rId61" Type="http://schemas.openxmlformats.org/officeDocument/2006/relationships/tags" Target="../tags/tag237.xml"/><Relationship Id="rId82" Type="http://schemas.openxmlformats.org/officeDocument/2006/relationships/tags" Target="../tags/tag258.xml"/><Relationship Id="rId19" Type="http://schemas.openxmlformats.org/officeDocument/2006/relationships/tags" Target="../tags/tag195.xml"/><Relationship Id="rId14" Type="http://schemas.openxmlformats.org/officeDocument/2006/relationships/tags" Target="../tags/tag190.xml"/><Relationship Id="rId30" Type="http://schemas.openxmlformats.org/officeDocument/2006/relationships/tags" Target="../tags/tag206.xml"/><Relationship Id="rId35" Type="http://schemas.openxmlformats.org/officeDocument/2006/relationships/tags" Target="../tags/tag211.xml"/><Relationship Id="rId56" Type="http://schemas.openxmlformats.org/officeDocument/2006/relationships/tags" Target="../tags/tag232.xml"/><Relationship Id="rId77" Type="http://schemas.openxmlformats.org/officeDocument/2006/relationships/tags" Target="../tags/tag253.xml"/><Relationship Id="rId100" Type="http://schemas.openxmlformats.org/officeDocument/2006/relationships/tags" Target="../tags/tag276.xml"/><Relationship Id="rId105" Type="http://schemas.openxmlformats.org/officeDocument/2006/relationships/image" Target="../media/image28.emf"/><Relationship Id="rId8" Type="http://schemas.openxmlformats.org/officeDocument/2006/relationships/tags" Target="../tags/tag184.xml"/><Relationship Id="rId51" Type="http://schemas.openxmlformats.org/officeDocument/2006/relationships/tags" Target="../tags/tag227.xml"/><Relationship Id="rId72" Type="http://schemas.openxmlformats.org/officeDocument/2006/relationships/tags" Target="../tags/tag248.xml"/><Relationship Id="rId93" Type="http://schemas.openxmlformats.org/officeDocument/2006/relationships/tags" Target="../tags/tag269.xml"/><Relationship Id="rId98" Type="http://schemas.openxmlformats.org/officeDocument/2006/relationships/tags" Target="../tags/tag274.xml"/><Relationship Id="rId3" Type="http://schemas.openxmlformats.org/officeDocument/2006/relationships/tags" Target="../tags/tag179.xml"/><Relationship Id="rId25" Type="http://schemas.openxmlformats.org/officeDocument/2006/relationships/tags" Target="../tags/tag201.xml"/><Relationship Id="rId46" Type="http://schemas.openxmlformats.org/officeDocument/2006/relationships/tags" Target="../tags/tag222.xml"/><Relationship Id="rId67" Type="http://schemas.openxmlformats.org/officeDocument/2006/relationships/tags" Target="../tags/tag24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chart" Target="../charts/chart4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image" Target="../media/image29.emf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282.xml"/><Relationship Id="rId10" Type="http://schemas.openxmlformats.org/officeDocument/2006/relationships/notesSlide" Target="../notesSlides/notesSlide6.xml"/><Relationship Id="rId4" Type="http://schemas.openxmlformats.org/officeDocument/2006/relationships/tags" Target="../tags/tag281.xml"/><Relationship Id="rId9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6.x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7.xml"/><Relationship Id="rId6" Type="http://schemas.openxmlformats.org/officeDocument/2006/relationships/image" Target="../media/image31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8.xml"/><Relationship Id="rId6" Type="http://schemas.openxmlformats.org/officeDocument/2006/relationships/image" Target="../media/image32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26" Type="http://schemas.openxmlformats.org/officeDocument/2006/relationships/tags" Target="../tags/tag314.xml"/><Relationship Id="rId21" Type="http://schemas.openxmlformats.org/officeDocument/2006/relationships/tags" Target="../tags/tag309.xml"/><Relationship Id="rId42" Type="http://schemas.openxmlformats.org/officeDocument/2006/relationships/tags" Target="../tags/tag330.xml"/><Relationship Id="rId47" Type="http://schemas.openxmlformats.org/officeDocument/2006/relationships/tags" Target="../tags/tag335.xml"/><Relationship Id="rId63" Type="http://schemas.openxmlformats.org/officeDocument/2006/relationships/tags" Target="../tags/tag351.xml"/><Relationship Id="rId68" Type="http://schemas.openxmlformats.org/officeDocument/2006/relationships/tags" Target="../tags/tag356.xml"/><Relationship Id="rId84" Type="http://schemas.openxmlformats.org/officeDocument/2006/relationships/tags" Target="../tags/tag372.xml"/><Relationship Id="rId89" Type="http://schemas.openxmlformats.org/officeDocument/2006/relationships/tags" Target="../tags/tag377.xml"/><Relationship Id="rId16" Type="http://schemas.openxmlformats.org/officeDocument/2006/relationships/tags" Target="../tags/tag304.xml"/><Relationship Id="rId107" Type="http://schemas.openxmlformats.org/officeDocument/2006/relationships/chart" Target="../charts/chart5.xml"/><Relationship Id="rId11" Type="http://schemas.openxmlformats.org/officeDocument/2006/relationships/tags" Target="../tags/tag299.xml"/><Relationship Id="rId32" Type="http://schemas.openxmlformats.org/officeDocument/2006/relationships/tags" Target="../tags/tag320.xml"/><Relationship Id="rId37" Type="http://schemas.openxmlformats.org/officeDocument/2006/relationships/tags" Target="../tags/tag325.xml"/><Relationship Id="rId53" Type="http://schemas.openxmlformats.org/officeDocument/2006/relationships/tags" Target="../tags/tag341.xml"/><Relationship Id="rId58" Type="http://schemas.openxmlformats.org/officeDocument/2006/relationships/tags" Target="../tags/tag346.xml"/><Relationship Id="rId74" Type="http://schemas.openxmlformats.org/officeDocument/2006/relationships/tags" Target="../tags/tag362.xml"/><Relationship Id="rId79" Type="http://schemas.openxmlformats.org/officeDocument/2006/relationships/tags" Target="../tags/tag367.xml"/><Relationship Id="rId102" Type="http://schemas.openxmlformats.org/officeDocument/2006/relationships/tags" Target="../tags/tag390.xml"/><Relationship Id="rId5" Type="http://schemas.openxmlformats.org/officeDocument/2006/relationships/tags" Target="../tags/tag293.xml"/><Relationship Id="rId90" Type="http://schemas.openxmlformats.org/officeDocument/2006/relationships/tags" Target="../tags/tag378.xml"/><Relationship Id="rId95" Type="http://schemas.openxmlformats.org/officeDocument/2006/relationships/tags" Target="../tags/tag383.xml"/><Relationship Id="rId22" Type="http://schemas.openxmlformats.org/officeDocument/2006/relationships/tags" Target="../tags/tag310.xml"/><Relationship Id="rId27" Type="http://schemas.openxmlformats.org/officeDocument/2006/relationships/tags" Target="../tags/tag315.xml"/><Relationship Id="rId43" Type="http://schemas.openxmlformats.org/officeDocument/2006/relationships/tags" Target="../tags/tag331.xml"/><Relationship Id="rId48" Type="http://schemas.openxmlformats.org/officeDocument/2006/relationships/tags" Target="../tags/tag336.xml"/><Relationship Id="rId64" Type="http://schemas.openxmlformats.org/officeDocument/2006/relationships/tags" Target="../tags/tag352.xml"/><Relationship Id="rId69" Type="http://schemas.openxmlformats.org/officeDocument/2006/relationships/tags" Target="../tags/tag357.xml"/><Relationship Id="rId80" Type="http://schemas.openxmlformats.org/officeDocument/2006/relationships/tags" Target="../tags/tag368.xml"/><Relationship Id="rId85" Type="http://schemas.openxmlformats.org/officeDocument/2006/relationships/tags" Target="../tags/tag373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33" Type="http://schemas.openxmlformats.org/officeDocument/2006/relationships/tags" Target="../tags/tag321.xml"/><Relationship Id="rId38" Type="http://schemas.openxmlformats.org/officeDocument/2006/relationships/tags" Target="../tags/tag326.xml"/><Relationship Id="rId59" Type="http://schemas.openxmlformats.org/officeDocument/2006/relationships/tags" Target="../tags/tag347.xml"/><Relationship Id="rId103" Type="http://schemas.openxmlformats.org/officeDocument/2006/relationships/tags" Target="../tags/tag391.xml"/><Relationship Id="rId108" Type="http://schemas.openxmlformats.org/officeDocument/2006/relationships/chart" Target="../charts/chart6.xml"/><Relationship Id="rId54" Type="http://schemas.openxmlformats.org/officeDocument/2006/relationships/tags" Target="../tags/tag342.xml"/><Relationship Id="rId70" Type="http://schemas.openxmlformats.org/officeDocument/2006/relationships/tags" Target="../tags/tag358.xml"/><Relationship Id="rId75" Type="http://schemas.openxmlformats.org/officeDocument/2006/relationships/tags" Target="../tags/tag363.xml"/><Relationship Id="rId91" Type="http://schemas.openxmlformats.org/officeDocument/2006/relationships/tags" Target="../tags/tag379.xml"/><Relationship Id="rId96" Type="http://schemas.openxmlformats.org/officeDocument/2006/relationships/tags" Target="../tags/tag384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15" Type="http://schemas.openxmlformats.org/officeDocument/2006/relationships/tags" Target="../tags/tag303.xml"/><Relationship Id="rId23" Type="http://schemas.openxmlformats.org/officeDocument/2006/relationships/tags" Target="../tags/tag311.xml"/><Relationship Id="rId28" Type="http://schemas.openxmlformats.org/officeDocument/2006/relationships/tags" Target="../tags/tag316.xml"/><Relationship Id="rId36" Type="http://schemas.openxmlformats.org/officeDocument/2006/relationships/tags" Target="../tags/tag324.xml"/><Relationship Id="rId49" Type="http://schemas.openxmlformats.org/officeDocument/2006/relationships/tags" Target="../tags/tag337.xml"/><Relationship Id="rId57" Type="http://schemas.openxmlformats.org/officeDocument/2006/relationships/tags" Target="../tags/tag345.xml"/><Relationship Id="rId106" Type="http://schemas.openxmlformats.org/officeDocument/2006/relationships/image" Target="../media/image33.emf"/><Relationship Id="rId10" Type="http://schemas.openxmlformats.org/officeDocument/2006/relationships/tags" Target="../tags/tag298.xml"/><Relationship Id="rId31" Type="http://schemas.openxmlformats.org/officeDocument/2006/relationships/tags" Target="../tags/tag319.xml"/><Relationship Id="rId44" Type="http://schemas.openxmlformats.org/officeDocument/2006/relationships/tags" Target="../tags/tag332.xml"/><Relationship Id="rId52" Type="http://schemas.openxmlformats.org/officeDocument/2006/relationships/tags" Target="../tags/tag340.xml"/><Relationship Id="rId60" Type="http://schemas.openxmlformats.org/officeDocument/2006/relationships/tags" Target="../tags/tag348.xml"/><Relationship Id="rId65" Type="http://schemas.openxmlformats.org/officeDocument/2006/relationships/tags" Target="../tags/tag353.xml"/><Relationship Id="rId73" Type="http://schemas.openxmlformats.org/officeDocument/2006/relationships/tags" Target="../tags/tag361.xml"/><Relationship Id="rId78" Type="http://schemas.openxmlformats.org/officeDocument/2006/relationships/tags" Target="../tags/tag366.xml"/><Relationship Id="rId81" Type="http://schemas.openxmlformats.org/officeDocument/2006/relationships/tags" Target="../tags/tag369.xml"/><Relationship Id="rId86" Type="http://schemas.openxmlformats.org/officeDocument/2006/relationships/tags" Target="../tags/tag374.xml"/><Relationship Id="rId94" Type="http://schemas.openxmlformats.org/officeDocument/2006/relationships/tags" Target="../tags/tag382.xml"/><Relationship Id="rId99" Type="http://schemas.openxmlformats.org/officeDocument/2006/relationships/tags" Target="../tags/tag387.xml"/><Relationship Id="rId101" Type="http://schemas.openxmlformats.org/officeDocument/2006/relationships/tags" Target="../tags/tag389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39" Type="http://schemas.openxmlformats.org/officeDocument/2006/relationships/tags" Target="../tags/tag327.xml"/><Relationship Id="rId109" Type="http://schemas.openxmlformats.org/officeDocument/2006/relationships/chart" Target="../charts/chart7.xml"/><Relationship Id="rId34" Type="http://schemas.openxmlformats.org/officeDocument/2006/relationships/tags" Target="../tags/tag322.xml"/><Relationship Id="rId50" Type="http://schemas.openxmlformats.org/officeDocument/2006/relationships/tags" Target="../tags/tag338.xml"/><Relationship Id="rId55" Type="http://schemas.openxmlformats.org/officeDocument/2006/relationships/tags" Target="../tags/tag343.xml"/><Relationship Id="rId76" Type="http://schemas.openxmlformats.org/officeDocument/2006/relationships/tags" Target="../tags/tag364.xml"/><Relationship Id="rId97" Type="http://schemas.openxmlformats.org/officeDocument/2006/relationships/tags" Target="../tags/tag385.xml"/><Relationship Id="rId104" Type="http://schemas.openxmlformats.org/officeDocument/2006/relationships/slideLayout" Target="../slideLayouts/slideLayout1.xml"/><Relationship Id="rId7" Type="http://schemas.openxmlformats.org/officeDocument/2006/relationships/tags" Target="../tags/tag295.xml"/><Relationship Id="rId71" Type="http://schemas.openxmlformats.org/officeDocument/2006/relationships/tags" Target="../tags/tag359.xml"/><Relationship Id="rId92" Type="http://schemas.openxmlformats.org/officeDocument/2006/relationships/tags" Target="../tags/tag380.xml"/><Relationship Id="rId2" Type="http://schemas.openxmlformats.org/officeDocument/2006/relationships/tags" Target="../tags/tag290.xml"/><Relationship Id="rId29" Type="http://schemas.openxmlformats.org/officeDocument/2006/relationships/tags" Target="../tags/tag317.xml"/><Relationship Id="rId24" Type="http://schemas.openxmlformats.org/officeDocument/2006/relationships/tags" Target="../tags/tag312.xml"/><Relationship Id="rId40" Type="http://schemas.openxmlformats.org/officeDocument/2006/relationships/tags" Target="../tags/tag328.xml"/><Relationship Id="rId45" Type="http://schemas.openxmlformats.org/officeDocument/2006/relationships/tags" Target="../tags/tag333.xml"/><Relationship Id="rId66" Type="http://schemas.openxmlformats.org/officeDocument/2006/relationships/tags" Target="../tags/tag354.xml"/><Relationship Id="rId87" Type="http://schemas.openxmlformats.org/officeDocument/2006/relationships/tags" Target="../tags/tag375.xml"/><Relationship Id="rId61" Type="http://schemas.openxmlformats.org/officeDocument/2006/relationships/tags" Target="../tags/tag349.xml"/><Relationship Id="rId82" Type="http://schemas.openxmlformats.org/officeDocument/2006/relationships/tags" Target="../tags/tag370.xml"/><Relationship Id="rId19" Type="http://schemas.openxmlformats.org/officeDocument/2006/relationships/tags" Target="../tags/tag307.xml"/><Relationship Id="rId14" Type="http://schemas.openxmlformats.org/officeDocument/2006/relationships/tags" Target="../tags/tag302.xml"/><Relationship Id="rId30" Type="http://schemas.openxmlformats.org/officeDocument/2006/relationships/tags" Target="../tags/tag318.xml"/><Relationship Id="rId35" Type="http://schemas.openxmlformats.org/officeDocument/2006/relationships/tags" Target="../tags/tag323.xml"/><Relationship Id="rId56" Type="http://schemas.openxmlformats.org/officeDocument/2006/relationships/tags" Target="../tags/tag344.xml"/><Relationship Id="rId77" Type="http://schemas.openxmlformats.org/officeDocument/2006/relationships/tags" Target="../tags/tag365.xml"/><Relationship Id="rId100" Type="http://schemas.openxmlformats.org/officeDocument/2006/relationships/tags" Target="../tags/tag388.xml"/><Relationship Id="rId105" Type="http://schemas.openxmlformats.org/officeDocument/2006/relationships/oleObject" Target="../embeddings/oleObject18.bin"/><Relationship Id="rId8" Type="http://schemas.openxmlformats.org/officeDocument/2006/relationships/tags" Target="../tags/tag296.xml"/><Relationship Id="rId51" Type="http://schemas.openxmlformats.org/officeDocument/2006/relationships/tags" Target="../tags/tag339.xml"/><Relationship Id="rId72" Type="http://schemas.openxmlformats.org/officeDocument/2006/relationships/tags" Target="../tags/tag360.xml"/><Relationship Id="rId93" Type="http://schemas.openxmlformats.org/officeDocument/2006/relationships/tags" Target="../tags/tag381.xml"/><Relationship Id="rId98" Type="http://schemas.openxmlformats.org/officeDocument/2006/relationships/tags" Target="../tags/tag386.xml"/><Relationship Id="rId3" Type="http://schemas.openxmlformats.org/officeDocument/2006/relationships/tags" Target="../tags/tag291.xml"/><Relationship Id="rId25" Type="http://schemas.openxmlformats.org/officeDocument/2006/relationships/tags" Target="../tags/tag313.xml"/><Relationship Id="rId46" Type="http://schemas.openxmlformats.org/officeDocument/2006/relationships/tags" Target="../tags/tag334.xml"/><Relationship Id="rId67" Type="http://schemas.openxmlformats.org/officeDocument/2006/relationships/tags" Target="../tags/tag355.xml"/><Relationship Id="rId20" Type="http://schemas.openxmlformats.org/officeDocument/2006/relationships/tags" Target="../tags/tag308.xml"/><Relationship Id="rId41" Type="http://schemas.openxmlformats.org/officeDocument/2006/relationships/tags" Target="../tags/tag329.xml"/><Relationship Id="rId62" Type="http://schemas.openxmlformats.org/officeDocument/2006/relationships/tags" Target="../tags/tag350.xml"/><Relationship Id="rId83" Type="http://schemas.openxmlformats.org/officeDocument/2006/relationships/tags" Target="../tags/tag371.xml"/><Relationship Id="rId88" Type="http://schemas.openxmlformats.org/officeDocument/2006/relationships/tags" Target="../tags/tag37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9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8.png"/><Relationship Id="rId5" Type="http://schemas.openxmlformats.org/officeDocument/2006/relationships/tags" Target="../tags/tag11.xml"/><Relationship Id="rId10" Type="http://schemas.openxmlformats.org/officeDocument/2006/relationships/image" Target="../media/image7.jpeg"/><Relationship Id="rId4" Type="http://schemas.openxmlformats.org/officeDocument/2006/relationships/tags" Target="../tags/tag10.xml"/><Relationship Id="rId9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2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405.xml"/><Relationship Id="rId18" Type="http://schemas.openxmlformats.org/officeDocument/2006/relationships/tags" Target="../tags/tag410.xml"/><Relationship Id="rId26" Type="http://schemas.openxmlformats.org/officeDocument/2006/relationships/tags" Target="../tags/tag418.xml"/><Relationship Id="rId39" Type="http://schemas.openxmlformats.org/officeDocument/2006/relationships/chart" Target="../charts/chart11.xml"/><Relationship Id="rId21" Type="http://schemas.openxmlformats.org/officeDocument/2006/relationships/tags" Target="../tags/tag413.xml"/><Relationship Id="rId34" Type="http://schemas.openxmlformats.org/officeDocument/2006/relationships/oleObject" Target="../embeddings/oleObject20.bin"/><Relationship Id="rId7" Type="http://schemas.openxmlformats.org/officeDocument/2006/relationships/tags" Target="../tags/tag399.xml"/><Relationship Id="rId2" Type="http://schemas.openxmlformats.org/officeDocument/2006/relationships/tags" Target="../tags/tag394.xml"/><Relationship Id="rId16" Type="http://schemas.openxmlformats.org/officeDocument/2006/relationships/tags" Target="../tags/tag408.xml"/><Relationship Id="rId20" Type="http://schemas.openxmlformats.org/officeDocument/2006/relationships/tags" Target="../tags/tag412.xml"/><Relationship Id="rId29" Type="http://schemas.openxmlformats.org/officeDocument/2006/relationships/tags" Target="../tags/tag421.xml"/><Relationship Id="rId41" Type="http://schemas.openxmlformats.org/officeDocument/2006/relationships/image" Target="../media/image17.svg"/><Relationship Id="rId1" Type="http://schemas.openxmlformats.org/officeDocument/2006/relationships/tags" Target="../tags/tag393.xml"/><Relationship Id="rId6" Type="http://schemas.openxmlformats.org/officeDocument/2006/relationships/tags" Target="../tags/tag398.xml"/><Relationship Id="rId11" Type="http://schemas.openxmlformats.org/officeDocument/2006/relationships/tags" Target="../tags/tag403.xml"/><Relationship Id="rId24" Type="http://schemas.openxmlformats.org/officeDocument/2006/relationships/tags" Target="../tags/tag416.xml"/><Relationship Id="rId32" Type="http://schemas.openxmlformats.org/officeDocument/2006/relationships/tags" Target="../tags/tag424.xml"/><Relationship Id="rId37" Type="http://schemas.openxmlformats.org/officeDocument/2006/relationships/chart" Target="../charts/chart9.xml"/><Relationship Id="rId40" Type="http://schemas.openxmlformats.org/officeDocument/2006/relationships/image" Target="../media/image16.png"/><Relationship Id="rId5" Type="http://schemas.openxmlformats.org/officeDocument/2006/relationships/tags" Target="../tags/tag397.xml"/><Relationship Id="rId15" Type="http://schemas.openxmlformats.org/officeDocument/2006/relationships/tags" Target="../tags/tag407.xml"/><Relationship Id="rId23" Type="http://schemas.openxmlformats.org/officeDocument/2006/relationships/tags" Target="../tags/tag415.xml"/><Relationship Id="rId28" Type="http://schemas.openxmlformats.org/officeDocument/2006/relationships/tags" Target="../tags/tag420.xml"/><Relationship Id="rId36" Type="http://schemas.openxmlformats.org/officeDocument/2006/relationships/chart" Target="../charts/chart8.xml"/><Relationship Id="rId10" Type="http://schemas.openxmlformats.org/officeDocument/2006/relationships/tags" Target="../tags/tag402.xml"/><Relationship Id="rId19" Type="http://schemas.openxmlformats.org/officeDocument/2006/relationships/tags" Target="../tags/tag411.xml"/><Relationship Id="rId31" Type="http://schemas.openxmlformats.org/officeDocument/2006/relationships/tags" Target="../tags/tag423.xml"/><Relationship Id="rId4" Type="http://schemas.openxmlformats.org/officeDocument/2006/relationships/tags" Target="../tags/tag396.xml"/><Relationship Id="rId9" Type="http://schemas.openxmlformats.org/officeDocument/2006/relationships/tags" Target="../tags/tag401.xml"/><Relationship Id="rId14" Type="http://schemas.openxmlformats.org/officeDocument/2006/relationships/tags" Target="../tags/tag406.xml"/><Relationship Id="rId22" Type="http://schemas.openxmlformats.org/officeDocument/2006/relationships/tags" Target="../tags/tag414.xml"/><Relationship Id="rId27" Type="http://schemas.openxmlformats.org/officeDocument/2006/relationships/tags" Target="../tags/tag419.xml"/><Relationship Id="rId30" Type="http://schemas.openxmlformats.org/officeDocument/2006/relationships/tags" Target="../tags/tag422.xml"/><Relationship Id="rId35" Type="http://schemas.openxmlformats.org/officeDocument/2006/relationships/image" Target="../media/image34.emf"/><Relationship Id="rId8" Type="http://schemas.openxmlformats.org/officeDocument/2006/relationships/tags" Target="../tags/tag400.xml"/><Relationship Id="rId3" Type="http://schemas.openxmlformats.org/officeDocument/2006/relationships/tags" Target="../tags/tag395.xml"/><Relationship Id="rId12" Type="http://schemas.openxmlformats.org/officeDocument/2006/relationships/tags" Target="../tags/tag404.xml"/><Relationship Id="rId17" Type="http://schemas.openxmlformats.org/officeDocument/2006/relationships/tags" Target="../tags/tag409.xml"/><Relationship Id="rId25" Type="http://schemas.openxmlformats.org/officeDocument/2006/relationships/tags" Target="../tags/tag417.xml"/><Relationship Id="rId33" Type="http://schemas.openxmlformats.org/officeDocument/2006/relationships/slideLayout" Target="../slideLayouts/slideLayout1.xml"/><Relationship Id="rId38" Type="http://schemas.openxmlformats.org/officeDocument/2006/relationships/chart" Target="../charts/char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2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13.pn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notesSlide" Target="../notesSlides/notesSlide2.xml"/><Relationship Id="rId17" Type="http://schemas.openxmlformats.org/officeDocument/2006/relationships/image" Target="../media/image17.svg"/><Relationship Id="rId2" Type="http://schemas.openxmlformats.org/officeDocument/2006/relationships/tags" Target="../tags/tag37.xml"/><Relationship Id="rId16" Type="http://schemas.openxmlformats.org/officeDocument/2006/relationships/image" Target="../media/image16.png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40.xml"/><Relationship Id="rId15" Type="http://schemas.openxmlformats.org/officeDocument/2006/relationships/image" Target="../media/image15.png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image" Target="../media/image18.emf"/><Relationship Id="rId3" Type="http://schemas.openxmlformats.org/officeDocument/2006/relationships/tags" Target="../tags/tag49.xml"/><Relationship Id="rId21" Type="http://schemas.openxmlformats.org/officeDocument/2006/relationships/image" Target="../media/image21.png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oleObject" Target="../embeddings/oleObject8.bin"/><Relationship Id="rId25" Type="http://schemas.openxmlformats.org/officeDocument/2006/relationships/chart" Target="../charts/chart1.xml"/><Relationship Id="rId2" Type="http://schemas.openxmlformats.org/officeDocument/2006/relationships/tags" Target="../tags/tag48.xml"/><Relationship Id="rId16" Type="http://schemas.openxmlformats.org/officeDocument/2006/relationships/notesSlide" Target="../notesSlides/notesSlide3.xml"/><Relationship Id="rId20" Type="http://schemas.openxmlformats.org/officeDocument/2006/relationships/image" Target="../media/image20.svg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image" Target="../media/image24.svg"/><Relationship Id="rId5" Type="http://schemas.openxmlformats.org/officeDocument/2006/relationships/tags" Target="../tags/tag51.xml"/><Relationship Id="rId15" Type="http://schemas.openxmlformats.org/officeDocument/2006/relationships/slideLayout" Target="../slideLayouts/slideLayout1.xml"/><Relationship Id="rId23" Type="http://schemas.openxmlformats.org/officeDocument/2006/relationships/image" Target="../media/image23.png"/><Relationship Id="rId10" Type="http://schemas.openxmlformats.org/officeDocument/2006/relationships/tags" Target="../tags/tag56.xml"/><Relationship Id="rId19" Type="http://schemas.openxmlformats.org/officeDocument/2006/relationships/image" Target="../media/image19.png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image" Target="../media/image2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ECBA8DF-ABBC-697F-0D5B-3C909AF07EDD}"/>
              </a:ext>
            </a:extLst>
          </p:cNvPr>
          <p:cNvSpPr>
            <a:spLocks noGrp="1"/>
          </p:cNvSpPr>
          <p:nvPr/>
        </p:nvSpPr>
        <p:spPr>
          <a:xfrm>
            <a:off x="442912" y="3093811"/>
            <a:ext cx="10086975" cy="1907237"/>
          </a:xfrm>
          <a:prstGeom prst="rect">
            <a:avLst/>
          </a:prstGeom>
          <a:solidFill>
            <a:schemeClr val="bg1"/>
          </a:solidFill>
        </p:spPr>
        <p:txBody>
          <a:bodyPr lIns="72000" tIns="36000" anchor="ctr" anchorCtr="0"/>
          <a:lstStyle>
            <a:lvl1pPr marL="0" indent="0" algn="l" defTabSz="3429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None/>
              <a:tabLst>
                <a:tab pos="135731" algn="l"/>
              </a:tabLst>
              <a:defRPr lang="de-DE" sz="750" b="1" kern="1200" cap="all" spc="225" baseline="0" dirty="0" smtClean="0">
                <a:solidFill>
                  <a:srgbClr val="E82128"/>
                </a:solidFill>
                <a:latin typeface="Bahnschrift" charset="0"/>
                <a:ea typeface="Bahnschrift" charset="0"/>
                <a:cs typeface="Bahnschrift" charset="0"/>
              </a:defRPr>
            </a:lvl1pPr>
            <a:lvl2pPr marL="271463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7194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5781" indent="-128588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1513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600">
                <a:solidFill>
                  <a:schemeClr val="accent1"/>
                </a:solidFill>
              </a:rPr>
              <a:t>Canadian travel data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1D91D6E-4150-D6BA-BD96-EC56C0B8638D}"/>
              </a:ext>
            </a:extLst>
          </p:cNvPr>
          <p:cNvSpPr>
            <a:spLocks noGrp="1"/>
          </p:cNvSpPr>
          <p:nvPr/>
        </p:nvSpPr>
        <p:spPr>
          <a:xfrm>
            <a:off x="442913" y="4986337"/>
            <a:ext cx="5994463" cy="322065"/>
          </a:xfrm>
          <a:prstGeom prst="rect">
            <a:avLst/>
          </a:prstGeom>
        </p:spPr>
        <p:txBody>
          <a:bodyPr/>
          <a:lstStyle>
            <a:lvl1pPr marL="135731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_"/>
              <a:tabLst>
                <a:tab pos="135731" algn="l"/>
              </a:tabLst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71463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7194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5781" indent="-128588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1513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>
                <a:solidFill>
                  <a:srgbClr val="BCBCB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Mining &amp; Business Intelligence, Burlington, November 2022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1E50F1-6BB5-7B7F-9E14-8FEDF2D7ADBB}"/>
              </a:ext>
            </a:extLst>
          </p:cNvPr>
          <p:cNvSpPr>
            <a:spLocks noGrp="1"/>
          </p:cNvSpPr>
          <p:nvPr/>
        </p:nvSpPr>
        <p:spPr>
          <a:xfrm>
            <a:off x="478971" y="2900005"/>
            <a:ext cx="3421938" cy="193805"/>
          </a:xfrm>
          <a:prstGeom prst="rect">
            <a:avLst/>
          </a:prstGeom>
          <a:noFill/>
        </p:spPr>
        <p:txBody>
          <a:bodyPr/>
          <a:lstStyle>
            <a:lvl1pPr marL="0" indent="0" algn="l" defTabSz="3429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None/>
              <a:tabLst>
                <a:tab pos="135731" algn="l"/>
              </a:tabLst>
              <a:defRPr lang="de-DE" sz="1050" b="0" kern="1200" baseline="0" dirty="0" smtClean="0">
                <a:solidFill>
                  <a:schemeClr val="tx1"/>
                </a:solidFill>
                <a:latin typeface="Baskerville Old Face" charset="0"/>
                <a:ea typeface="Baskerville Old Face" charset="0"/>
                <a:cs typeface="Baskerville Old Face" charset="0"/>
              </a:defRPr>
            </a:lvl1pPr>
            <a:lvl2pPr marL="271463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7194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5781" indent="-128588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1513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erlin Gutter, </a:t>
            </a:r>
            <a:r>
              <a:rPr lang="en-US" err="1"/>
              <a:t>Yidi</a:t>
            </a:r>
            <a:r>
              <a:rPr lang="en-US"/>
              <a:t> </a:t>
            </a:r>
            <a:r>
              <a:rPr lang="en-US" err="1"/>
              <a:t>Geng</a:t>
            </a:r>
            <a:r>
              <a:rPr lang="en-US"/>
              <a:t>, Vladislav </a:t>
            </a:r>
            <a:r>
              <a:rPr lang="en-US" err="1"/>
              <a:t>Perevalov</a:t>
            </a:r>
            <a:r>
              <a:rPr lang="en-US"/>
              <a:t>, Antony Britto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61766C4A-69E0-9873-0318-8A6CD81FA309}"/>
              </a:ext>
            </a:extLst>
          </p:cNvPr>
          <p:cNvSpPr/>
          <p:nvPr/>
        </p:nvSpPr>
        <p:spPr>
          <a:xfrm>
            <a:off x="442913" y="2576163"/>
            <a:ext cx="2151551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de-DE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600" b="1">
                <a:latin typeface="Verdana" charset="0"/>
                <a:ea typeface="Verdana" charset="0"/>
                <a:cs typeface="Verdana" charset="0"/>
              </a:rPr>
              <a:t>Capstone Project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45F434F-8149-8D89-FA28-1A62B3E7F7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3414" y="5194854"/>
            <a:ext cx="2015674" cy="101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5694D5A-4F1B-E6BD-DD45-745E39C4A3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388" y="5672965"/>
            <a:ext cx="20066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6842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7ADEEFC3-B3E4-BF5D-EF14-81FFBC319F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7ADEEFC3-B3E4-BF5D-EF14-81FFBC319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DE5476-1677-AAE4-FA7A-9AEC14A837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untries</a:t>
            </a:r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90E6A-8414-5997-AA2D-741B98CF047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B2556-127D-9404-D7EC-8D05EED1527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31624C4-0C6C-628C-34B9-9884F7AEC7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913" y="463926"/>
            <a:ext cx="11306175" cy="380749"/>
          </a:xfrm>
        </p:spPr>
        <p:txBody>
          <a:bodyPr/>
          <a:lstStyle/>
          <a:p>
            <a:r>
              <a:rPr lang="en-IN"/>
              <a:t>Country Comparison using Hofstede’s metrics</a:t>
            </a:r>
            <a:endParaRPr lang="en-CA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3DA2818-8755-227C-1964-EC87ABF015AA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3FA8D9D-498F-A51B-511A-B467E1B6861D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3" name="ee4pHeader1">
            <a:extLst>
              <a:ext uri="{FF2B5EF4-FFF2-40B4-BE49-F238E27FC236}">
                <a16:creationId xmlns:a16="http://schemas.microsoft.com/office/drawing/2014/main" id="{77581DEE-340D-020C-2188-A89A56EA5B1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275319" y="1168618"/>
            <a:ext cx="3473767" cy="432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400" b="1" spc="3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9" name="Add-in 8" title="Microsoft Power BI">
                <a:extLst>
                  <a:ext uri="{FF2B5EF4-FFF2-40B4-BE49-F238E27FC236}">
                    <a16:creationId xmlns:a16="http://schemas.microsoft.com/office/drawing/2014/main" id="{1B438C3A-1DA9-26BA-CA00-96EEA58522B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394880316"/>
                  </p:ext>
                </p:extLst>
              </p:nvPr>
            </p:nvGraphicFramePr>
            <p:xfrm>
              <a:off x="4397829" y="1707689"/>
              <a:ext cx="7351257" cy="4543409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9"/>
              </a:graphicData>
            </a:graphic>
          </p:graphicFrame>
        </mc:Choice>
        <mc:Fallback xmlns="">
          <p:pic>
            <p:nvPicPr>
              <p:cNvPr id="9" name="Add-in 8" title="Microsoft Power BI">
                <a:extLst>
                  <a:ext uri="{FF2B5EF4-FFF2-40B4-BE49-F238E27FC236}">
                    <a16:creationId xmlns:a16="http://schemas.microsoft.com/office/drawing/2014/main" id="{1B438C3A-1DA9-26BA-CA00-96EEA58522B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397829" y="1707689"/>
                <a:ext cx="7351257" cy="4543409"/>
              </a:xfrm>
              <a:prstGeom prst="rect">
                <a:avLst/>
              </a:prstGeom>
            </p:spPr>
          </p:pic>
        </mc:Fallback>
      </mc:AlternateContent>
      <p:grpSp>
        <p:nvGrpSpPr>
          <p:cNvPr id="7" name="Group 6">
            <a:extLst>
              <a:ext uri="{FF2B5EF4-FFF2-40B4-BE49-F238E27FC236}">
                <a16:creationId xmlns:a16="http://schemas.microsoft.com/office/drawing/2014/main" id="{333E777D-1FB2-FBA3-B2DD-B992EE987C3F}"/>
              </a:ext>
            </a:extLst>
          </p:cNvPr>
          <p:cNvGrpSpPr/>
          <p:nvPr/>
        </p:nvGrpSpPr>
        <p:grpSpPr>
          <a:xfrm>
            <a:off x="442913" y="1579515"/>
            <a:ext cx="3529012" cy="4664914"/>
            <a:chOff x="442913" y="1579515"/>
            <a:chExt cx="3529012" cy="466491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9903B7D-F043-5DCB-DB94-0C660137174D}"/>
                </a:ext>
              </a:extLst>
            </p:cNvPr>
            <p:cNvGrpSpPr/>
            <p:nvPr/>
          </p:nvGrpSpPr>
          <p:grpSpPr>
            <a:xfrm>
              <a:off x="442913" y="1579515"/>
              <a:ext cx="3529012" cy="4664914"/>
              <a:chOff x="442913" y="1579515"/>
              <a:chExt cx="3529012" cy="4664914"/>
            </a:xfrm>
          </p:grpSpPr>
          <p:sp>
            <p:nvSpPr>
              <p:cNvPr id="13" name="ee4pHeader1">
                <a:extLst>
                  <a:ext uri="{FF2B5EF4-FFF2-40B4-BE49-F238E27FC236}">
                    <a16:creationId xmlns:a16="http://schemas.microsoft.com/office/drawing/2014/main" id="{4D409540-E67C-ED40-E625-A4F4400C81E2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937901" y="1579515"/>
                <a:ext cx="2466270" cy="2563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anchor="ctr"/>
              <a:lstStyle/>
              <a:p>
                <a:pPr algn="ctr" eaLnBrk="0" hangingPunct="0">
                  <a:spcAft>
                    <a:spcPct val="0"/>
                  </a:spcAft>
                </a:pPr>
                <a:r>
                  <a:rPr lang="en-US" sz="1400" b="1" spc="3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EFINITIONS</a:t>
                </a:r>
              </a:p>
            </p:txBody>
          </p:sp>
          <p:sp>
            <p:nvSpPr>
              <p:cNvPr id="16" name="ee4pContent1">
                <a:extLst>
                  <a:ext uri="{FF2B5EF4-FFF2-40B4-BE49-F238E27FC236}">
                    <a16:creationId xmlns:a16="http://schemas.microsoft.com/office/drawing/2014/main" id="{D1506238-5D4D-1EA0-17E6-82FBAD48ED1B}"/>
                  </a:ext>
                </a:extLst>
              </p:cNvPr>
              <p:cNvSpPr txBox="1">
                <a:spLocks/>
              </p:cNvSpPr>
              <p:nvPr>
                <p:custDataLst>
                  <p:tags r:id="rId5"/>
                </p:custDataLst>
              </p:nvPr>
            </p:nvSpPr>
            <p:spPr>
              <a:xfrm>
                <a:off x="442913" y="1892299"/>
                <a:ext cx="3529012" cy="4352130"/>
              </a:xfrm>
              <a:prstGeom prst="rect">
                <a:avLst/>
              </a:prstGeom>
              <a:noFill/>
              <a:ln w="9525" cmpd="sng">
                <a:noFill/>
                <a:prstDash val="solid"/>
              </a:ln>
              <a:effectLst/>
            </p:spPr>
            <p:txBody>
              <a:bodyPr vert="horz" wrap="square" lIns="90000" tIns="90000" rIns="90000" bIns="90000" rtlCol="0" anchor="t">
                <a:spAutoFit/>
              </a:bodyPr>
              <a:lstStyle>
                <a:lvl1pPr marL="0" indent="0" algn="l" defTabSz="914400" rtl="0" eaLnBrk="1" latinLnBrk="0" hangingPunct="1">
                  <a:spcBef>
                    <a:spcPct val="30000"/>
                  </a:spcBef>
                  <a:buClr>
                    <a:srgbClr val="C02A26"/>
                  </a:buClr>
                  <a:buFont typeface="Wingdings" panose="05000000000000000000" pitchFamily="2" charset="2"/>
                  <a:buNone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203200" indent="-203200" algn="l" defTabSz="914400" rtl="0" eaLnBrk="1" latinLnBrk="0" hangingPunct="1">
                  <a:spcBef>
                    <a:spcPct val="300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406400" indent="-203200" algn="l" defTabSz="914400" rtl="0" eaLnBrk="1" latinLnBrk="0" hangingPunct="1">
                  <a:spcBef>
                    <a:spcPct val="300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609600" indent="-203200" algn="l" defTabSz="914400" rtl="0" eaLnBrk="1" latinLnBrk="0" hangingPunct="1">
                  <a:spcBef>
                    <a:spcPct val="300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812800" indent="-203200" algn="l" defTabSz="914400" rtl="0" eaLnBrk="1" latinLnBrk="0" hangingPunct="1">
                  <a:spcBef>
                    <a:spcPct val="300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1016000" indent="-203200" algn="l" defTabSz="914400" rtl="0" eaLnBrk="1" latinLnBrk="0" hangingPunct="1">
                  <a:spcBef>
                    <a:spcPct val="300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1219200" indent="-203200" algn="l" defTabSz="914400" rtl="0" eaLnBrk="1" latinLnBrk="0" hangingPunct="1">
                  <a:spcBef>
                    <a:spcPct val="300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1422400" indent="-203200" algn="l" defTabSz="914400" rtl="0" eaLnBrk="1" latinLnBrk="0" hangingPunct="1">
                  <a:spcBef>
                    <a:spcPct val="300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1625600" indent="-203200" algn="l" defTabSz="914400" rtl="0" eaLnBrk="1" latinLnBrk="0" hangingPunct="1">
                  <a:spcBef>
                    <a:spcPct val="300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latin typeface="Arial"/>
                    <a:ea typeface="Verdana"/>
                    <a:cs typeface="Arial"/>
                  </a:rPr>
                  <a:t>Individualism</a:t>
                </a:r>
                <a:r>
                  <a:rPr lang="en-US" sz="1200">
                    <a:latin typeface="Arial"/>
                    <a:ea typeface="Verdana"/>
                    <a:cs typeface="Arial"/>
                  </a:rPr>
                  <a:t> </a:t>
                </a:r>
                <a:endParaRPr lang="en-US" sz="1200">
                  <a:ea typeface="Verdana" panose="020B0604030504040204" pitchFamily="34" charset="0"/>
                </a:endParaRP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>
                    <a:latin typeface="Arial"/>
                    <a:ea typeface="Verdana"/>
                    <a:cs typeface="Arial"/>
                  </a:rPr>
                  <a:t>Individuals are expected to take care of themselves and their families</a:t>
                </a: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latin typeface="Arial"/>
                    <a:ea typeface="Verdana"/>
                    <a:cs typeface="Arial"/>
                  </a:rPr>
                  <a:t>Indulgence</a:t>
                </a:r>
                <a:r>
                  <a:rPr lang="en-US" sz="1200">
                    <a:latin typeface="Arial"/>
                    <a:ea typeface="Verdana"/>
                    <a:cs typeface="Arial"/>
                  </a:rPr>
                  <a:t> </a:t>
                </a:r>
                <a:endParaRPr lang="en-US" sz="1200">
                  <a:ea typeface="Verdana" panose="020B0604030504040204" pitchFamily="34" charset="0"/>
                </a:endParaRP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>
                    <a:latin typeface="Arial"/>
                    <a:ea typeface="Verdana"/>
                    <a:cs typeface="Arial"/>
                  </a:rPr>
                  <a:t>Gratification of human drives related to enjoying life and having fun.</a:t>
                </a: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latin typeface="Arial"/>
                    <a:ea typeface="Verdana"/>
                    <a:cs typeface="Arial"/>
                  </a:rPr>
                  <a:t>Uncertainty Avoidance</a:t>
                </a: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>
                    <a:latin typeface="Arial"/>
                    <a:ea typeface="Verdana"/>
                    <a:cs typeface="Arial"/>
                  </a:rPr>
                  <a:t>The degree of comfort with uncertainty and ambiguity.</a:t>
                </a: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latin typeface="Arial"/>
                    <a:ea typeface="Verdana"/>
                    <a:cs typeface="Arial"/>
                  </a:rPr>
                  <a:t>Masculinity</a:t>
                </a:r>
                <a:r>
                  <a:rPr lang="en-US" sz="1200">
                    <a:latin typeface="Arial"/>
                    <a:ea typeface="Verdana"/>
                    <a:cs typeface="Arial"/>
                  </a:rPr>
                  <a:t> </a:t>
                </a:r>
                <a:endParaRPr lang="en-US" sz="1200">
                  <a:ea typeface="Verdana" panose="020B0604030504040204" pitchFamily="34" charset="0"/>
                </a:endParaRP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>
                    <a:latin typeface="Arial"/>
                    <a:ea typeface="Verdana"/>
                    <a:cs typeface="Arial"/>
                  </a:rPr>
                  <a:t>A preference in society for heroism, assertiveness, and material rewards for success.</a:t>
                </a: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latin typeface="Arial"/>
                    <a:ea typeface="Verdana"/>
                    <a:cs typeface="Arial"/>
                  </a:rPr>
                  <a:t>Long Term Orientation </a:t>
                </a:r>
                <a:endParaRPr lang="en-US" sz="1200" b="1">
                  <a:ea typeface="Verdana" panose="020B0604030504040204" pitchFamily="34" charset="0"/>
                </a:endParaRP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>
                    <a:latin typeface="Arial"/>
                    <a:ea typeface="Verdana"/>
                    <a:cs typeface="Arial"/>
                  </a:rPr>
                  <a:t>The fostering of virtues oriented towards future rewards.</a:t>
                </a: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latin typeface="Arial"/>
                    <a:ea typeface="Verdana"/>
                    <a:cs typeface="Arial"/>
                  </a:rPr>
                  <a:t>Power Distance</a:t>
                </a:r>
              </a:p>
              <a:p>
                <a:pPr marL="0" lvl="1" indent="0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en-US" sz="1200">
                    <a:latin typeface="Arial"/>
                    <a:ea typeface="Verdana"/>
                    <a:cs typeface="Arial"/>
                  </a:rPr>
                  <a:t>The degree to which people society relate to each other on a hierarchical scale.</a:t>
                </a:r>
              </a:p>
            </p:txBody>
          </p:sp>
        </p:grpSp>
        <p:sp>
          <p:nvSpPr>
            <p:cNvPr id="18" name="ee4pHeader1">
              <a:extLst>
                <a:ext uri="{FF2B5EF4-FFF2-40B4-BE49-F238E27FC236}">
                  <a16:creationId xmlns:a16="http://schemas.microsoft.com/office/drawing/2014/main" id="{0E63121F-5DC2-9A14-7590-4D867BB6321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442913" y="1855585"/>
              <a:ext cx="3529012" cy="4347203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400" spc="3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2833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7ADEEFC3-B3E4-BF5D-EF14-81FFBC319F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6150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7ADEEFC3-B3E4-BF5D-EF14-81FFBC319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DE5476-1677-AAE4-FA7A-9AEC14A837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untries</a:t>
            </a:r>
            <a:endParaRPr lang="en-DE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31624C4-0C6C-628C-34B9-9884F7AEC7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IN"/>
              <a:t>Country Comparison using Hofstede’s metrics</a:t>
            </a:r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90E6A-8414-5997-AA2D-741B98CF047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B2556-127D-9404-D7EC-8D05EED1527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11</a:t>
            </a:fld>
            <a:endParaRPr lang="de-DE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3DA2818-8755-227C-1964-EC87ABF015AA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3FA8D9D-498F-A51B-511A-B467E1B6861D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9" name="Add-in 8" title="Microsoft Power BI">
                <a:extLst>
                  <a:ext uri="{FF2B5EF4-FFF2-40B4-BE49-F238E27FC236}">
                    <a16:creationId xmlns:a16="http://schemas.microsoft.com/office/drawing/2014/main" id="{21F7432A-F56F-B337-F4C4-88633C2D2EC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200550126"/>
                  </p:ext>
                </p:extLst>
              </p:nvPr>
            </p:nvGraphicFramePr>
            <p:xfrm>
              <a:off x="442912" y="1338360"/>
              <a:ext cx="7939088" cy="4696673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9" name="Add-in 8" title="Microsoft Power BI">
                <a:extLst>
                  <a:ext uri="{FF2B5EF4-FFF2-40B4-BE49-F238E27FC236}">
                    <a16:creationId xmlns:a16="http://schemas.microsoft.com/office/drawing/2014/main" id="{21F7432A-F56F-B337-F4C4-88633C2D2EC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42912" y="1338360"/>
                <a:ext cx="7939088" cy="4696673"/>
              </a:xfrm>
              <a:prstGeom prst="rect">
                <a:avLst/>
              </a:prstGeom>
            </p:spPr>
          </p:pic>
        </mc:Fallback>
      </mc:AlternateContent>
      <p:pic>
        <p:nvPicPr>
          <p:cNvPr id="25" name="Graphic 24" descr="Caret Left with solid fill">
            <a:extLst>
              <a:ext uri="{FF2B5EF4-FFF2-40B4-BE49-F238E27FC236}">
                <a16:creationId xmlns:a16="http://schemas.microsoft.com/office/drawing/2014/main" id="{8721EE94-BBF9-AD17-8656-C31B95BF522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29156" r="30384"/>
          <a:stretch/>
        </p:blipFill>
        <p:spPr>
          <a:xfrm rot="10800000">
            <a:off x="5869781" y="1534915"/>
            <a:ext cx="452438" cy="3788169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AD03A182-C9F1-F9D8-F10C-DBD59B9CDF8F}"/>
              </a:ext>
            </a:extLst>
          </p:cNvPr>
          <p:cNvGrpSpPr/>
          <p:nvPr/>
        </p:nvGrpSpPr>
        <p:grpSpPr>
          <a:xfrm>
            <a:off x="6661200" y="1372681"/>
            <a:ext cx="4881060" cy="4217085"/>
            <a:chOff x="7836299" y="1616332"/>
            <a:chExt cx="3580156" cy="3637186"/>
          </a:xfrm>
        </p:grpSpPr>
        <p:sp>
          <p:nvSpPr>
            <p:cNvPr id="13" name="ee4pHeader1">
              <a:extLst>
                <a:ext uri="{FF2B5EF4-FFF2-40B4-BE49-F238E27FC236}">
                  <a16:creationId xmlns:a16="http://schemas.microsoft.com/office/drawing/2014/main" id="{911DC44D-23D0-88EF-735A-B59187964850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7836299" y="1993901"/>
              <a:ext cx="3580156" cy="325961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/>
            <a:lstStyle/>
            <a:p>
              <a:pPr marL="0" lvl="1">
                <a:spcAft>
                  <a:spcPts val="600"/>
                </a:spcAft>
                <a:buNone/>
              </a:pPr>
              <a:r>
                <a:rPr lang="en-US" sz="1200" b="1">
                  <a:ea typeface="Verdana"/>
                  <a:cs typeface="+mn-lt"/>
                </a:rPr>
                <a:t>USA</a:t>
              </a:r>
              <a:endParaRPr lang="en-US"/>
            </a:p>
            <a:p>
              <a:pPr marL="0" lvl="1">
                <a:spcAft>
                  <a:spcPts val="600"/>
                </a:spcAft>
              </a:pPr>
              <a:r>
                <a:rPr lang="en-US" sz="1200">
                  <a:ea typeface="Verdana"/>
                  <a:cs typeface="+mn-lt"/>
                </a:rPr>
                <a:t>Despite common boundaries and Historic roots, USA and Canada have more cultural dissimilarities than expected, except for Indulgence.</a:t>
              </a:r>
              <a:endParaRPr lang="en-US"/>
            </a:p>
            <a:p>
              <a:pPr marL="0" lvl="1">
                <a:spcAft>
                  <a:spcPts val="600"/>
                </a:spcAft>
                <a:buNone/>
              </a:pPr>
              <a:r>
                <a:rPr lang="en-US" sz="1200" b="1">
                  <a:ea typeface="Verdana"/>
                  <a:cs typeface="+mn-lt"/>
                </a:rPr>
                <a:t>UK and FRANCE</a:t>
              </a:r>
              <a:endParaRPr lang="en-US"/>
            </a:p>
            <a:p>
              <a:pPr marL="0" lvl="1">
                <a:spcAft>
                  <a:spcPts val="600"/>
                </a:spcAft>
              </a:pPr>
              <a:r>
                <a:rPr lang="en-US" sz="1200">
                  <a:ea typeface="Verdana"/>
                  <a:cs typeface="+mn-lt"/>
                </a:rPr>
                <a:t>Among the 5 countries, UK and France have the highest similarity, except for Long term orientation. France has a slight difference in Power distance.</a:t>
              </a:r>
              <a:endParaRPr lang="en-US"/>
            </a:p>
            <a:p>
              <a:pPr marL="0" lvl="1">
                <a:spcAft>
                  <a:spcPts val="600"/>
                </a:spcAft>
                <a:buNone/>
              </a:pPr>
              <a:r>
                <a:rPr lang="en-US" sz="1200" b="1">
                  <a:ea typeface="Verdana"/>
                  <a:cs typeface="+mn-lt"/>
                </a:rPr>
                <a:t>GERMANY</a:t>
              </a:r>
              <a:endParaRPr lang="en-US"/>
            </a:p>
            <a:p>
              <a:pPr marL="0" lvl="1">
                <a:spcAft>
                  <a:spcPts val="600"/>
                </a:spcAft>
                <a:buNone/>
              </a:pPr>
              <a:r>
                <a:rPr lang="en-US" sz="1200">
                  <a:ea typeface="Verdana"/>
                  <a:cs typeface="+mn-lt"/>
                </a:rPr>
                <a:t>Although Germany has some history with Canada, they have the 2nd largest difference in Hofstede’s metric with Canada, especially in Indulgence, Long term orientation and uncertainty avoidance.</a:t>
              </a:r>
              <a:endParaRPr lang="en-US"/>
            </a:p>
            <a:p>
              <a:pPr marL="0" lvl="1">
                <a:spcAft>
                  <a:spcPts val="600"/>
                </a:spcAft>
                <a:buNone/>
              </a:pPr>
              <a:r>
                <a:rPr lang="en-US" sz="1200" b="1">
                  <a:ea typeface="Verdana"/>
                  <a:cs typeface="+mn-lt"/>
                </a:rPr>
                <a:t>JAPAN</a:t>
              </a:r>
              <a:endParaRPr lang="en-US"/>
            </a:p>
            <a:p>
              <a:pPr marL="0" lvl="1">
                <a:spcAft>
                  <a:spcPts val="600"/>
                </a:spcAft>
              </a:pPr>
              <a:r>
                <a:rPr lang="en-US" sz="1200">
                  <a:ea typeface="Verdana"/>
                  <a:cs typeface="+mn-lt"/>
                </a:rPr>
                <a:t>With the largest difference in Hofstede’s values, Japanese and Canadians don’t see eye to eye in many aspects of day-to-day life.</a:t>
              </a:r>
              <a:endParaRPr lang="en-US"/>
            </a:p>
          </p:txBody>
        </p:sp>
        <p:sp>
          <p:nvSpPr>
            <p:cNvPr id="10" name="ee4pHeader1">
              <a:extLst>
                <a:ext uri="{FF2B5EF4-FFF2-40B4-BE49-F238E27FC236}">
                  <a16:creationId xmlns:a16="http://schemas.microsoft.com/office/drawing/2014/main" id="{48276BC7-5063-8C09-3C45-D89ABCA94F1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7836299" y="1616332"/>
              <a:ext cx="3580155" cy="4047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solid"/>
              <a:miter lim="800000"/>
              <a:headEnd/>
              <a:tailEnd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en-US" sz="1400" b="1" spc="300">
                  <a:latin typeface="Verdana"/>
                  <a:ea typeface="Verdana"/>
                  <a:cs typeface="Arial"/>
                </a:rPr>
                <a:t>INSIGH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8663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FAACF3-A7AA-62A2-1CE5-63DAC6D9B7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83605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FAACF3-A7AA-62A2-1CE5-63DAC6D9B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7FFD0D-A31C-623E-E3DA-11A223839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4350" y="739775"/>
            <a:ext cx="6154738" cy="5378449"/>
          </a:xfrm>
        </p:spPr>
        <p:txBody>
          <a:bodyPr vert="horz">
            <a:norm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>
                <a:solidFill>
                  <a:schemeClr val="tx2"/>
                </a:solidFill>
              </a:rPr>
              <a:t>Dataset &amp; Data Clean-Up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Countries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accent1"/>
                </a:solidFill>
              </a:rPr>
              <a:t>Continents &amp; Regions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Weather Influences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E6DC30FF-A504-7A9F-B27A-406C4C588826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t="8414" b="8414"/>
          <a:stretch/>
        </p:blipFill>
        <p:spPr bwMode="auto">
          <a:xfrm>
            <a:off x="479424" y="739775"/>
            <a:ext cx="4314825" cy="537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0392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6813096F-D721-0653-587E-E254F033A5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05129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9" imgW="7772400" imgH="10058400" progId="TCLayout.ActiveDocument.1">
                  <p:embed/>
                </p:oleObj>
              </mc:Choice>
              <mc:Fallback>
                <p:oleObj name="think-cell Slide" r:id="rId109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6813096F-D721-0653-587E-E254F033A5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" name="Text Placeholder 214">
            <a:extLst>
              <a:ext uri="{FF2B5EF4-FFF2-40B4-BE49-F238E27FC236}">
                <a16:creationId xmlns:a16="http://schemas.microsoft.com/office/drawing/2014/main" id="{E88AA0DF-B1E5-5E89-2DA4-B2D9368971E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ntinents &amp; Regions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23F066-78F6-ED99-A2E1-FCA243435A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/>
              <a:t>Total Visitors per Continent over ti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9A56F2-33FC-B13B-F824-5320C14683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2800">
                <a:latin typeface="Bahnschrift" panose="020B0502040204020203" pitchFamily="34" charset="0"/>
              </a:rPr>
              <a:t>Insights Behind Trends and Key Movements</a:t>
            </a:r>
            <a:endParaRPr lang="en-DE" sz="2800">
              <a:latin typeface="Bahnschrift" panose="020B050204020402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15DEF-BD86-6BAD-F618-0FCA1640781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13</a:t>
            </a:fld>
            <a:endParaRPr lang="de-DE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AF6F246-54A1-4312-90AB-0320FAD7CD8A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A2F73AD-ADF7-009C-C582-FA06B7B3A06D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9" name="Rectangle 2">
            <a:extLst>
              <a:ext uri="{FF2B5EF4-FFF2-40B4-BE49-F238E27FC236}">
                <a16:creationId xmlns:a16="http://schemas.microsoft.com/office/drawing/2014/main" id="{A288F178-0675-D978-CFEB-B90888260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8113"/>
            <a:ext cx="65" cy="26097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7935" rIns="0" bIns="-793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388F1A4-CB08-FF3C-AD96-AB7FC9CDFFD3}"/>
              </a:ext>
            </a:extLst>
          </p:cNvPr>
          <p:cNvGrpSpPr/>
          <p:nvPr/>
        </p:nvGrpSpPr>
        <p:grpSpPr>
          <a:xfrm>
            <a:off x="550995" y="4107788"/>
            <a:ext cx="3643314" cy="2064412"/>
            <a:chOff x="550995" y="4107788"/>
            <a:chExt cx="3643314" cy="2064412"/>
          </a:xfrm>
        </p:grpSpPr>
        <p:sp>
          <p:nvSpPr>
            <p:cNvPr id="10" name="ee4pHeader1">
              <a:extLst>
                <a:ext uri="{FF2B5EF4-FFF2-40B4-BE49-F238E27FC236}">
                  <a16:creationId xmlns:a16="http://schemas.microsoft.com/office/drawing/2014/main" id="{24323348-6412-EF19-EA46-8CEA164E454F}"/>
                </a:ext>
              </a:extLst>
            </p:cNvPr>
            <p:cNvSpPr/>
            <p:nvPr>
              <p:custDataLst>
                <p:tags r:id="rId105"/>
              </p:custDataLst>
            </p:nvPr>
          </p:nvSpPr>
          <p:spPr bwMode="auto">
            <a:xfrm>
              <a:off x="1139517" y="4107788"/>
              <a:ext cx="2466270" cy="3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en-US" sz="1400" b="1" spc="3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979 - 1980</a:t>
              </a:r>
            </a:p>
          </p:txBody>
        </p:sp>
        <p:sp>
          <p:nvSpPr>
            <p:cNvPr id="15" name="ee4pHeader1">
              <a:extLst>
                <a:ext uri="{FF2B5EF4-FFF2-40B4-BE49-F238E27FC236}">
                  <a16:creationId xmlns:a16="http://schemas.microsoft.com/office/drawing/2014/main" id="{CC6A62E4-E6F0-2512-1FC2-33EE52B543C8}"/>
                </a:ext>
              </a:extLst>
            </p:cNvPr>
            <p:cNvSpPr/>
            <p:nvPr>
              <p:custDataLst>
                <p:tags r:id="rId106"/>
              </p:custDataLst>
            </p:nvPr>
          </p:nvSpPr>
          <p:spPr bwMode="auto">
            <a:xfrm>
              <a:off x="550995" y="4410998"/>
              <a:ext cx="3643314" cy="176120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400" spc="3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F7ED3B8-7EDA-E2AC-E1A6-07FE8FB367AE}"/>
                </a:ext>
              </a:extLst>
            </p:cNvPr>
            <p:cNvSpPr txBox="1"/>
            <p:nvPr/>
          </p:nvSpPr>
          <p:spPr>
            <a:xfrm>
              <a:off x="550995" y="4571338"/>
              <a:ext cx="3643314" cy="10618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CA" sz="1200"/>
                <a:t>22.5% increase</a:t>
              </a:r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CA" sz="1200"/>
                <a:t>Oil price increase</a:t>
              </a:r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CA" sz="1200"/>
                <a:t>Inflation rate surge to 22%</a:t>
              </a:r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CA" sz="1200"/>
                <a:t>Limited budget to travel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939150E-701A-5A28-9F4D-5EEB1D9BFE14}"/>
              </a:ext>
            </a:extLst>
          </p:cNvPr>
          <p:cNvGrpSpPr/>
          <p:nvPr/>
        </p:nvGrpSpPr>
        <p:grpSpPr>
          <a:xfrm>
            <a:off x="4328385" y="4106226"/>
            <a:ext cx="3643314" cy="2065974"/>
            <a:chOff x="4328385" y="4106226"/>
            <a:chExt cx="3643314" cy="2065974"/>
          </a:xfrm>
        </p:grpSpPr>
        <p:sp>
          <p:nvSpPr>
            <p:cNvPr id="16" name="ee4pHeader1">
              <a:extLst>
                <a:ext uri="{FF2B5EF4-FFF2-40B4-BE49-F238E27FC236}">
                  <a16:creationId xmlns:a16="http://schemas.microsoft.com/office/drawing/2014/main" id="{1B2601E8-FC66-1C25-CFBB-3D42FB1F6895}"/>
                </a:ext>
              </a:extLst>
            </p:cNvPr>
            <p:cNvSpPr/>
            <p:nvPr>
              <p:custDataLst>
                <p:tags r:id="rId103"/>
              </p:custDataLst>
            </p:nvPr>
          </p:nvSpPr>
          <p:spPr bwMode="auto">
            <a:xfrm>
              <a:off x="4916907" y="4106226"/>
              <a:ext cx="2466270" cy="3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en-US" sz="1400" b="1" spc="3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981 - 1982</a:t>
              </a:r>
            </a:p>
          </p:txBody>
        </p:sp>
        <p:sp>
          <p:nvSpPr>
            <p:cNvPr id="18" name="ee4pHeader1">
              <a:extLst>
                <a:ext uri="{FF2B5EF4-FFF2-40B4-BE49-F238E27FC236}">
                  <a16:creationId xmlns:a16="http://schemas.microsoft.com/office/drawing/2014/main" id="{5DE6064C-8D86-64D0-17D5-5A318F259ACC}"/>
                </a:ext>
              </a:extLst>
            </p:cNvPr>
            <p:cNvSpPr/>
            <p:nvPr>
              <p:custDataLst>
                <p:tags r:id="rId104"/>
              </p:custDataLst>
            </p:nvPr>
          </p:nvSpPr>
          <p:spPr bwMode="auto">
            <a:xfrm>
              <a:off x="4328385" y="4409436"/>
              <a:ext cx="3643314" cy="176276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400" spc="3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C06680F-40FF-AB8F-DC29-414D19EA23ED}"/>
                </a:ext>
              </a:extLst>
            </p:cNvPr>
            <p:cNvSpPr txBox="1"/>
            <p:nvPr/>
          </p:nvSpPr>
          <p:spPr>
            <a:xfrm>
              <a:off x="4328385" y="4570676"/>
              <a:ext cx="3643314" cy="10618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altLang="zh-CN" sz="1200"/>
                <a:t>18% decrease</a:t>
              </a:r>
            </a:p>
            <a:p>
              <a:pPr marL="285750" indent="-285750"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altLang="zh-CN" sz="1200"/>
                <a:t>Stricker monetary policies</a:t>
              </a:r>
            </a:p>
            <a:p>
              <a:pPr marL="285750" indent="-285750"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altLang="zh-CN" sz="1200"/>
                <a:t>A severe economic recession</a:t>
              </a:r>
            </a:p>
            <a:p>
              <a:pPr marL="285750" indent="-285750"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altLang="zh-CN" sz="1200"/>
                <a:t>No budget to travel </a:t>
              </a:r>
              <a:endParaRPr lang="en-CA" sz="120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7C3E92-B9E1-A92F-636A-7187FCFF26F2}"/>
              </a:ext>
            </a:extLst>
          </p:cNvPr>
          <p:cNvGrpSpPr/>
          <p:nvPr/>
        </p:nvGrpSpPr>
        <p:grpSpPr>
          <a:xfrm>
            <a:off x="8105775" y="4104664"/>
            <a:ext cx="3643314" cy="2067536"/>
            <a:chOff x="8105775" y="4104664"/>
            <a:chExt cx="3643314" cy="2067536"/>
          </a:xfrm>
        </p:grpSpPr>
        <p:sp>
          <p:nvSpPr>
            <p:cNvPr id="22" name="ee4pHeader1">
              <a:extLst>
                <a:ext uri="{FF2B5EF4-FFF2-40B4-BE49-F238E27FC236}">
                  <a16:creationId xmlns:a16="http://schemas.microsoft.com/office/drawing/2014/main" id="{762FE224-4748-3330-47DC-F9776F9E94DE}"/>
                </a:ext>
              </a:extLst>
            </p:cNvPr>
            <p:cNvSpPr/>
            <p:nvPr>
              <p:custDataLst>
                <p:tags r:id="rId101"/>
              </p:custDataLst>
            </p:nvPr>
          </p:nvSpPr>
          <p:spPr bwMode="auto">
            <a:xfrm>
              <a:off x="8694297" y="4104664"/>
              <a:ext cx="2466270" cy="3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en-US" sz="1400" b="1" spc="3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990 - 1999</a:t>
              </a:r>
            </a:p>
          </p:txBody>
        </p:sp>
        <p:sp>
          <p:nvSpPr>
            <p:cNvPr id="39" name="ee4pHeader1">
              <a:extLst>
                <a:ext uri="{FF2B5EF4-FFF2-40B4-BE49-F238E27FC236}">
                  <a16:creationId xmlns:a16="http://schemas.microsoft.com/office/drawing/2014/main" id="{619A6EEA-7E7A-EEA8-1BF9-3041B09DCE2F}"/>
                </a:ext>
              </a:extLst>
            </p:cNvPr>
            <p:cNvSpPr/>
            <p:nvPr>
              <p:custDataLst>
                <p:tags r:id="rId102"/>
              </p:custDataLst>
            </p:nvPr>
          </p:nvSpPr>
          <p:spPr bwMode="auto">
            <a:xfrm>
              <a:off x="8105775" y="4407874"/>
              <a:ext cx="3643314" cy="176432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400" spc="3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E0F6D59-4924-FA4E-D4A7-EF064A9D9D36}"/>
                </a:ext>
              </a:extLst>
            </p:cNvPr>
            <p:cNvSpPr txBox="1"/>
            <p:nvPr/>
          </p:nvSpPr>
          <p:spPr>
            <a:xfrm>
              <a:off x="8161337" y="4570676"/>
              <a:ext cx="3587751" cy="13388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1200"/>
                <a:t>Steady increase</a:t>
              </a:r>
            </a:p>
            <a:p>
              <a:pPr marL="171450" indent="-1714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1200"/>
                <a:t>A time of strong economic growth</a:t>
              </a:r>
            </a:p>
            <a:p>
              <a:pPr marL="171450" indent="-1714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altLang="zh-CN" sz="1200"/>
                <a:t>Lower airfares</a:t>
              </a:r>
            </a:p>
            <a:p>
              <a:pPr marL="171450" indent="-1714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CA" sz="1200"/>
                <a:t>More politicians supports</a:t>
              </a:r>
              <a:r>
                <a:rPr lang="zh-CN" altLang="en-US" sz="1200"/>
                <a:t> </a:t>
              </a:r>
              <a:r>
                <a:rPr lang="en-US" altLang="zh-CN" sz="1200"/>
                <a:t>in</a:t>
              </a:r>
              <a:r>
                <a:rPr lang="zh-CN" altLang="en-US" sz="1200"/>
                <a:t> </a:t>
              </a:r>
              <a:r>
                <a:rPr lang="en-US" altLang="zh-CN" sz="1200"/>
                <a:t>Canada</a:t>
              </a:r>
              <a:r>
                <a:rPr lang="en-CA" sz="1200"/>
                <a:t> lead to recreation, parks and culture became far more sophisticated</a:t>
              </a:r>
            </a:p>
          </p:txBody>
        </p:sp>
      </p:grp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A56153A-26DB-6CEF-E1C8-AFA3BF9C5E05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625600" y="2816225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E2FBE29-35A6-F7BD-3C88-01CB583DF196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625600" y="2151063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E8B403E-4269-6D6E-8DAE-C9D4867C618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625600" y="2371725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A6CCF3D-020D-B47C-C837-7BE0C28FD89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625600" y="2593975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8566FA7-8344-A09D-B194-1573EBFA0F5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625600" y="1928813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0374228-89D2-0D25-1C8C-FCDC9C8969E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625600" y="3130550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C59B858-7B1D-AD30-C5C7-8198B614981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625600" y="1706563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244BA2F-D4BC-D36E-AC11-B53C22583F4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1582738" y="2371725"/>
            <a:ext cx="42862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9D267BB-F56E-6C97-F32C-838DD7CB627B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1582738" y="2593975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84EC530-AD4B-29D3-4ABD-E1211C24FA9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1582738" y="3130550"/>
            <a:ext cx="42862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267DC05-9A1B-8ED3-07CB-271C580B15D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1582738" y="3352800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1C27F1C-13EF-0EA7-F05B-42A4C5EB03F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1582738" y="1706563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4F63EC1-0C9D-73AE-44F0-00BF88D7F4F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1582738" y="2151063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34914C2-F645-CA7E-1DE3-36F6F9538B6D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1582738" y="2816225"/>
            <a:ext cx="42862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1096F9C-A9AA-E4DD-18E8-C423B28E294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1582738" y="1928813"/>
            <a:ext cx="42862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4" name="Chart 213">
            <a:extLst>
              <a:ext uri="{FF2B5EF4-FFF2-40B4-BE49-F238E27FC236}">
                <a16:creationId xmlns:a16="http://schemas.microsoft.com/office/drawing/2014/main" id="{6B920EE4-FCBD-5D52-7A88-56E39F2FF214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90274258"/>
              </p:ext>
            </p:extLst>
          </p:nvPr>
        </p:nvGraphicFramePr>
        <p:xfrm>
          <a:off x="1543050" y="1624013"/>
          <a:ext cx="10288588" cy="1811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1"/>
          </a:graphicData>
        </a:graphic>
      </p:graphicFrame>
      <p:sp>
        <p:nvSpPr>
          <p:cNvPr id="65" name="Rectangle 64">
            <a:extLst>
              <a:ext uri="{FF2B5EF4-FFF2-40B4-BE49-F238E27FC236}">
                <a16:creationId xmlns:a16="http://schemas.microsoft.com/office/drawing/2014/main" id="{E182FC0B-9421-DA29-3FB2-2889D10FAA6E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757238" y="2530476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30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5957967-307A-D766-F8FF-7836A2F07D03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757238" y="1643064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50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54A686E-F37D-B2A0-FE6E-5BE1C593E099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757238" y="2308226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35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2C5D45C-4AD1-4627-129F-74EB9629B48C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757238" y="2752726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25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87628E0-DF20-9A18-5AEA-3019A50D5D46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757238" y="2087564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40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C410A5A-8AC8-30DD-2387-DCE54A4234A7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838200" y="3067051"/>
            <a:ext cx="658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5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C9FEA9A-F3D6-C7A9-5253-E2BD75099F41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757238" y="1865314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45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3A7DE57-9885-52B6-6519-5DF18E0E5A7B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1416050" y="3289301"/>
            <a:ext cx="809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B6942A-CBE6-4981-B52A-BAC7B153DEA9}" type="datetime'''''0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 useBgFill="1">
        <p:nvSpPr>
          <p:cNvPr id="71" name="Freeform 70">
            <a:extLst>
              <a:ext uri="{FF2B5EF4-FFF2-40B4-BE49-F238E27FC236}">
                <a16:creationId xmlns:a16="http://schemas.microsoft.com/office/drawing/2014/main" id="{6AC205B5-7852-F30F-7BE2-A18CEA8358C7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571625" y="3022600"/>
            <a:ext cx="10071101" cy="79376"/>
          </a:xfrm>
          <a:custGeom>
            <a:avLst/>
            <a:gdLst/>
            <a:ahLst/>
            <a:cxnLst/>
            <a:rect l="0" t="0" r="0" b="0"/>
            <a:pathLst>
              <a:path w="100711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832850" y="0"/>
                </a:lnTo>
                <a:lnTo>
                  <a:pt x="8915400" y="22225"/>
                </a:lnTo>
                <a:lnTo>
                  <a:pt x="8997950" y="0"/>
                </a:lnTo>
                <a:lnTo>
                  <a:pt x="9080500" y="22225"/>
                </a:lnTo>
                <a:lnTo>
                  <a:pt x="9163050" y="0"/>
                </a:lnTo>
                <a:lnTo>
                  <a:pt x="9245600" y="22225"/>
                </a:lnTo>
                <a:lnTo>
                  <a:pt x="9328150" y="0"/>
                </a:lnTo>
                <a:lnTo>
                  <a:pt x="9410700" y="22225"/>
                </a:lnTo>
                <a:lnTo>
                  <a:pt x="9493250" y="0"/>
                </a:lnTo>
                <a:lnTo>
                  <a:pt x="9575800" y="22225"/>
                </a:lnTo>
                <a:lnTo>
                  <a:pt x="9658350" y="0"/>
                </a:lnTo>
                <a:lnTo>
                  <a:pt x="9740900" y="22225"/>
                </a:lnTo>
                <a:lnTo>
                  <a:pt x="9823450" y="0"/>
                </a:lnTo>
                <a:lnTo>
                  <a:pt x="9906000" y="22225"/>
                </a:lnTo>
                <a:lnTo>
                  <a:pt x="9988550" y="0"/>
                </a:lnTo>
                <a:lnTo>
                  <a:pt x="10071100" y="22225"/>
                </a:lnTo>
                <a:lnTo>
                  <a:pt x="10071100" y="79375"/>
                </a:lnTo>
                <a:lnTo>
                  <a:pt x="9988550" y="57150"/>
                </a:lnTo>
                <a:lnTo>
                  <a:pt x="9906000" y="79375"/>
                </a:lnTo>
                <a:lnTo>
                  <a:pt x="9823450" y="57150"/>
                </a:lnTo>
                <a:lnTo>
                  <a:pt x="9740900" y="79375"/>
                </a:lnTo>
                <a:lnTo>
                  <a:pt x="9658350" y="57150"/>
                </a:lnTo>
                <a:lnTo>
                  <a:pt x="9575800" y="79375"/>
                </a:lnTo>
                <a:lnTo>
                  <a:pt x="9493250" y="57150"/>
                </a:lnTo>
                <a:lnTo>
                  <a:pt x="9410700" y="79375"/>
                </a:lnTo>
                <a:lnTo>
                  <a:pt x="9328150" y="57150"/>
                </a:lnTo>
                <a:lnTo>
                  <a:pt x="9245600" y="79375"/>
                </a:lnTo>
                <a:lnTo>
                  <a:pt x="9163050" y="57150"/>
                </a:lnTo>
                <a:lnTo>
                  <a:pt x="9080500" y="79375"/>
                </a:lnTo>
                <a:lnTo>
                  <a:pt x="8997950" y="57150"/>
                </a:lnTo>
                <a:lnTo>
                  <a:pt x="8915400" y="79375"/>
                </a:lnTo>
                <a:lnTo>
                  <a:pt x="8832850" y="57150"/>
                </a:lnTo>
                <a:lnTo>
                  <a:pt x="8750300" y="79375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de-DE" sz="1600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F2480755-F297-AAA5-1C1E-15496E20055D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571625" y="3022600"/>
            <a:ext cx="10071101" cy="22226"/>
          </a:xfrm>
          <a:custGeom>
            <a:avLst/>
            <a:gdLst/>
            <a:ahLst/>
            <a:cxnLst/>
            <a:rect l="0" t="0" r="0" b="0"/>
            <a:pathLst>
              <a:path w="100711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832850" y="0"/>
                </a:lnTo>
                <a:lnTo>
                  <a:pt x="8915400" y="22225"/>
                </a:lnTo>
                <a:lnTo>
                  <a:pt x="8997950" y="0"/>
                </a:lnTo>
                <a:lnTo>
                  <a:pt x="9080500" y="22225"/>
                </a:lnTo>
                <a:lnTo>
                  <a:pt x="9163050" y="0"/>
                </a:lnTo>
                <a:lnTo>
                  <a:pt x="9245600" y="22225"/>
                </a:lnTo>
                <a:lnTo>
                  <a:pt x="9328150" y="0"/>
                </a:lnTo>
                <a:lnTo>
                  <a:pt x="9410700" y="22225"/>
                </a:lnTo>
                <a:lnTo>
                  <a:pt x="9493250" y="0"/>
                </a:lnTo>
                <a:lnTo>
                  <a:pt x="9575800" y="22225"/>
                </a:lnTo>
                <a:lnTo>
                  <a:pt x="9658350" y="0"/>
                </a:lnTo>
                <a:lnTo>
                  <a:pt x="9740900" y="22225"/>
                </a:lnTo>
                <a:lnTo>
                  <a:pt x="9823450" y="0"/>
                </a:lnTo>
                <a:lnTo>
                  <a:pt x="9906000" y="22225"/>
                </a:lnTo>
                <a:lnTo>
                  <a:pt x="9988550" y="0"/>
                </a:lnTo>
                <a:lnTo>
                  <a:pt x="10071100" y="22225"/>
                </a:lnTo>
              </a:path>
            </a:pathLst>
          </a:custGeom>
          <a:noFill/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Freeform 71">
            <a:extLst>
              <a:ext uri="{FF2B5EF4-FFF2-40B4-BE49-F238E27FC236}">
                <a16:creationId xmlns:a16="http://schemas.microsoft.com/office/drawing/2014/main" id="{2818825D-180A-2911-1A64-D3F64BC3B88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571625" y="3079750"/>
            <a:ext cx="10071101" cy="22226"/>
          </a:xfrm>
          <a:custGeom>
            <a:avLst/>
            <a:gdLst/>
            <a:ahLst/>
            <a:cxnLst/>
            <a:rect l="0" t="0" r="0" b="0"/>
            <a:pathLst>
              <a:path w="100711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832850" y="0"/>
                </a:lnTo>
                <a:lnTo>
                  <a:pt x="8915400" y="22225"/>
                </a:lnTo>
                <a:lnTo>
                  <a:pt x="8997950" y="0"/>
                </a:lnTo>
                <a:lnTo>
                  <a:pt x="9080500" y="22225"/>
                </a:lnTo>
                <a:lnTo>
                  <a:pt x="9163050" y="0"/>
                </a:lnTo>
                <a:lnTo>
                  <a:pt x="9245600" y="22225"/>
                </a:lnTo>
                <a:lnTo>
                  <a:pt x="9328150" y="0"/>
                </a:lnTo>
                <a:lnTo>
                  <a:pt x="9410700" y="22225"/>
                </a:lnTo>
                <a:lnTo>
                  <a:pt x="9493250" y="0"/>
                </a:lnTo>
                <a:lnTo>
                  <a:pt x="9575800" y="22225"/>
                </a:lnTo>
                <a:lnTo>
                  <a:pt x="9658350" y="0"/>
                </a:lnTo>
                <a:lnTo>
                  <a:pt x="9740900" y="22225"/>
                </a:lnTo>
                <a:lnTo>
                  <a:pt x="9823450" y="0"/>
                </a:lnTo>
                <a:lnTo>
                  <a:pt x="9906000" y="22225"/>
                </a:lnTo>
                <a:lnTo>
                  <a:pt x="9988550" y="0"/>
                </a:lnTo>
                <a:lnTo>
                  <a:pt x="10071100" y="22225"/>
                </a:lnTo>
              </a:path>
            </a:pathLst>
          </a:custGeom>
          <a:noFill/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D5DF722D-91CA-D004-2600-CAA338CB9D8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3071813" y="1822450"/>
            <a:ext cx="0" cy="592138"/>
          </a:xfrm>
          <a:prstGeom prst="line">
            <a:avLst/>
          </a:prstGeom>
          <a:ln w="1270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0FA83951-83FF-99A0-6B86-A596BF41D78A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278188" y="1822450"/>
            <a:ext cx="0" cy="260350"/>
          </a:xfrm>
          <a:prstGeom prst="line">
            <a:avLst/>
          </a:prstGeom>
          <a:ln w="12700" cap="sq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F845B29D-60DE-BBE6-7212-49B59A6B6FF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3071813" y="1822450"/>
            <a:ext cx="206375" cy="0"/>
          </a:xfrm>
          <a:prstGeom prst="line">
            <a:avLst/>
          </a:prstGeom>
          <a:ln w="1270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050740B6-B70B-2C4B-1CDD-DFD5FD139F4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690938" y="1530350"/>
            <a:ext cx="0" cy="830263"/>
          </a:xfrm>
          <a:prstGeom prst="line">
            <a:avLst/>
          </a:prstGeom>
          <a:ln w="12700" cap="sq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A0D58CE4-B9FA-8281-EA94-0BA71AAE7002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3484563" y="1530350"/>
            <a:ext cx="0" cy="495300"/>
          </a:xfrm>
          <a:prstGeom prst="line">
            <a:avLst/>
          </a:prstGeom>
          <a:ln w="1270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525250AE-1114-9589-1E98-2BD765462001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3484563" y="1530350"/>
            <a:ext cx="206375" cy="0"/>
          </a:xfrm>
          <a:prstGeom prst="line">
            <a:avLst/>
          </a:prstGeom>
          <a:ln w="1270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63561936-A70D-8548-EF6E-5402A0231A50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 flipV="1">
            <a:off x="5345113" y="1533525"/>
            <a:ext cx="1858963" cy="492125"/>
          </a:xfrm>
          <a:prstGeom prst="line">
            <a:avLst/>
          </a:prstGeom>
          <a:ln w="28575" cap="sq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4E7A05F4-E794-83B7-1C04-29D67115DDEA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50609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8ED1485-7731-4B41-84CE-30D8CD3AE1D4}" type="datetime'''1''9''''''8''''9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76BB3CA-8EF4-777B-6696-1C82CE3C0603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7892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22F051F-57C2-4AAB-9A31-C06FE85D773D}" type="datetime'''19''''''''''''''''''''''78''''''''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59C057F-EB35-06E8-ECF1-12590153AF79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42354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8B81687-0C5B-4DED-8079-C969AFA0EDD4}" type="datetime'''''1''''''9''''''''''''''''''''''''''''8''5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1FCB19F-5475-3B1A-A0A5-2D1ED8A0D21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58880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323C069-AD38-4E0A-BBEA-D0BD80C23ABF}" type="datetime'''''''''''''''''1''9''''''''''''''''9''''''3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E4C6666-4458-CD01-E4D5-7E68D646BE63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21685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929B46A-2BBC-4EF4-B113-5CE3E73BA19F}" type="datetime'''''''''''''''''197''''5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786E6BB-AD7F-B44E-E826-8A07768A66DE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60944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7DE8AF9-DBF9-4CA1-B0A6-F767D9BC1629}" type="datetime'''1''''''''''99''''4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40B17D2-D1D5-0901-D090-CC988FB7F8DB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17557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C7CB584-B3E8-4EB6-8D94-C1FB9E3EEED2}" type="datetime'''''''''''1''''''''''''''''''''''9''7''''''''''''3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51F1D18-F0EA-DEFB-94EF-D94A0D43D027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65071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824AD39-0AD9-49F7-89E6-E9586988EE77}" type="datetime'''''''''''''''''''''''1''''''''''''''9''''''96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93010FF-C37E-F8FC-0FB8-D9452C820500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36147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4FF179C-B7E1-4F93-8066-60BB421CEB84}" type="datetime'''1''''''''9''''''''''''''''''''''8''''''2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F441A7CD-1738-1257-3CCC-154C8F869307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56816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EA2C5D6-BDFA-4DA6-B330-68B54F45FC78}" type="datetime'''''''''''''''1''''''''''''''''9''''9''''2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ACF863E-FDC3-50E2-CC22-BA5337C1E89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9215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435BB87-5E8F-4398-9BA3-F2ACA9F46C07}" type="datetime'''''''''''1''9''''''''''9''''''8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8670B54-6FC1-3CB3-974A-3AADB7577174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71278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E328192-0B3F-4633-8AF5-9AF5166DAA4D}" type="datetime'1''9''''''''''''''''''''''''''9''9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9DC2949-DE29-08A9-6A36-1869DD26ADCA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73342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9A95BD6-1743-4FFF-84B9-BC1733949FF2}" type="datetime'''''''''''''2''''''000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D296FF2-7FEB-1E33-C6C0-5140943B6726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48545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AACC4C-0DBC-4EE2-ACB2-30E808F213B9}" type="datetime'1''''''9''''''''''''''''''''''''''''''''''''8''''''''8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4A1691AE-ED22-5C5A-79F9-4E9084A6C30A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29956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67E561C-12DB-459F-8735-D343DBA2AB68}" type="datetime'''1''9''''''''''7''''''''''''''''''''''''9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9A3E3BE-D27D-FC78-7B3F-F7B700DDE241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83677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CBF3E08-D66A-49A2-AFDB-27C03633F4FC}" type="datetime'''''''''''''''''''''''''''20''''''0''''''''''''''''''''''''5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9958275-D01C-D9E2-3358-5E3CF915604A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9621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41A2BDC-D3C4-4101-8480-12EDCE73CAA4}" type="datetime'''1''''''''''9''''''''''''''''''''''''''7''''''''''''''4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0011749-18D2-8B51-3C5E-28672A19FA3C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79533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D05029C-20F4-471C-B144-35B3BC1BEEA3}" type="datetime'20''''''''''''''''''0''''''''''3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6F5AAD87-A3BB-991A-F24A-C1947D0085C8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23764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F63F6DD-8FB7-4505-9FA3-6A8F5EF868DA}" type="datetime'''''''''''''''''''''''''''''''1''9''''''7''6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4CE66421-A685-4A24-9D61-DF84787419B7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81613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78EA65-8832-4558-9DD8-D03F7EBF0F07}" type="datetime'''''''''''''''''''''''''''''''''2''''''0''''''''0''''4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949BB3D-6C17-342B-AC4D-2052B1936156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32019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1249BBB-D83D-46CE-AFB7-3EB1B0BEBE20}" type="datetime'''''''''''''''''''''''''19''''''''''''8''''''''0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B8C0583-A15B-FCCA-2764-B95AFBF91AB3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85740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0DF47A6-DE23-4FAA-AA76-E8F065C1C27F}" type="datetime'2''''0''''''''0''''6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FC12358-CC44-6411-FEB8-48E7D66E7BF8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77470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58300BB-F743-4F22-B655-297E4F1C6125}" type="datetime'''''''''''''2''''0''''''''''0''''''''''''''''''2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E548F2F-C904-F0BD-F913-53B43F3B93F5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15494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1AC42D6-4E68-4B8F-BFAC-262A55F72603}" type="datetime'''''1''''''''''''97''''''''''''''''''''''2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66A28265-B7E2-B6FE-5D5D-06129AF28B89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112601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79DE66B-2B06-437E-A82D-6CC467878661}" type="datetime'''''''''''''''2''''''''''''''0''''19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9F4E30C-EFD6-E0FE-93E6-499129C41C92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87804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3E22962-FB41-4091-82D2-056A5B7768F1}" type="datetime'''2''''''0''''''''''0''''''''''''''''''''''''''''''7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91A71B84-DD4F-8529-42D0-EC4433C226BA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89868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B623778-8F45-4628-A053-A4431F0CE445}" type="datetime'''''''''2''''''''''''''''0''''''''0''''''''''8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4CE09E8D-2EBD-482F-F970-9B0638293EB3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91932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4724B03-4F9F-44D1-A7C3-7EA2CF407DCC}" type="datetime'''''''''''''''''''''''''''''2''''0''''''''0''''''''''''''9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D3D38D8-EFA5-7E59-76BF-E6163FA3CA1A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46482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FCBD753-384D-484D-84CF-CF64B6321EE8}" type="datetime'1''''''''''9''''''''''''''8''7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6B8611B-BF0F-CFB2-D1CF-B4D9F341FB04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96075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B3CF24E-0C74-42AA-A435-39124F86AB63}" type="datetime'''''''''''''2''''0''''11''''''''''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885B0B41-88B3-92E7-C826-8BBC50842F14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98139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DF87BBC-044C-4160-B556-708D00FA3991}" type="datetime'20''''''''''1''''''''''''''''''''''''''''''''''''''2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B96F481-9EFC-34E2-7534-A576370F62FF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00203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C897142-5E2A-430E-8AB9-17A594D285A9}" type="datetime'''''''''''''''''''2''''''''''''0''''13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5DF792CD-2043-C12C-3DA3-5044416AC194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04330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E5839AE-BC95-4566-8448-130E95BEDA67}" type="datetime'''''''2''''''0''''1''''''5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9F783156-1E65-5937-33CD-38DE723B9C6B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102266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1B44E1C-9AF0-4E62-A701-45F57DA92D2B}" type="datetime'''''''''''''''''''2''''0''''''''''''1''4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B20D77F3-3E70-5CBD-C7D9-EAF9AACD2154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106394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215FC4E-9BEF-46D1-8F2E-F658EB3479FA}" type="datetime'''''''''''''''''''''''2''''01''''''''''''''''''''6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F7954165-8FFC-E18B-B516-DD2FF0F06D35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93995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A8AD655-BC68-4860-BF9D-EBBC5723BEA8}" type="datetime'2''''''''0''''''1''''0''''''''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7CA6EEA1-1A78-81D0-30AF-7783D35339A9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75406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4E3B425-9BE0-4C2B-9EB6-02CAC04B6E06}" type="datetime'''''''''''''''''''''''''''''''''''''''''20''''0''''''1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BB46F8F-4AA7-C909-D5CC-2D196F82B303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110537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7F72FF2-7E17-46AA-8260-F8946A76CECF}" type="datetime'2''''''''''0''''''''''1''''''8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3981093-29C3-6DED-C25D-9C2E107C92F2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52689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CB5B5DA-7688-48B3-AFCA-5E32ED492664}" type="datetime'''''''''''''''''''19''''''9''''''0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C8ADC001-3291-8EAF-EEFE-2EB02120F57A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25828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701896A-F70B-484C-8DE4-D931901FE924}" type="datetime'''''1''''''''9''''''''''''7''''''''''7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02CA99CC-02A1-BF0A-B278-E081F42052E0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114665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C8EE388-85AB-4D55-98B8-897E6F1AA6C2}" type="datetime'''''''''''''''''''''''''''2''''''''''''0''''2''''0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6D21D482-91EA-85C0-E5F6-35646044E6B9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116728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CCF3AE-20EF-427B-8D06-9AE242333F98}" type="datetime'''''''2''''0''''''''''''''''''''''''''2''''''''''''1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5F499540-F340-BDFC-509D-6830B959D6A0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108458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678CAAA-CF82-43EF-8B26-0FF1EF964C9B}" type="datetime'''2''''''''''''''''''''''''0''''''''''''''''''''''''1''''''7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8DF0F20B-9853-DC29-3F26-0D0F2F68D337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54752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F46D385-CC5F-49E8-834E-8132ECF36999}" type="datetime'1''''''''''''''''''''9''''''''''''''''''9''''''''''1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01AFC18-4B97-EDEB-E706-BF1F804AF4A0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40290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0E00864-58C6-49C2-A4EA-2E7D151CCAE3}" type="datetime'''''''''''''''''''''''''19''''8''''''''''4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B2C80B9-B07E-D5A5-CA7A-0610864761E7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34083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2035920-9907-454B-8A37-A1A405ACC517}" type="datetime'''''''''''''1''''''''''98''''''''''''''1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F00FCF6-94B9-756C-C671-71A618F474CC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38227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4655717-F82E-42A2-9EA6-1046045F0A03}" type="datetime'1''''''''''''''''''''''''''''''9''''''''''''''''''''83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557F4FA-0984-8D80-C9AC-8E0E7D7A5011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63007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BBDCF7D-3165-4E1A-BEA1-7C95F55071B1}" type="datetime'''''''''''''1''''''''''9''''''''''''''''''''''''95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4225C3A-2694-D770-A85A-DB18D47A28BD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67151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0FC3675-80F9-471A-92F2-D98508796920}" type="datetime'1''''''9''''''''''''''''''9''''''''''''''''7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53219EB-B9A1-0F0B-E17D-0417AA95F142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44418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D3FD9E-2427-4526-952C-606E59E47188}" type="datetime'''''''''1''''''''''''''''9''''''''''''''''8''''''''6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4E7AE04D-3C9C-C81E-9117-4A8CDCC02673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2759075" y="1714500"/>
            <a:ext cx="833438" cy="2159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000" b="1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22.5%</a:t>
            </a:r>
            <a:endParaRPr lang="en-GB" sz="10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2A6039AD-6F32-1DEA-E7D9-D48659B0D5E8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3206750" y="1422400"/>
            <a:ext cx="763588" cy="2159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000" b="1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18%</a:t>
            </a:r>
            <a:endParaRPr lang="en-GB" sz="10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F3802B06-C1AA-0C88-86F6-EDDF9880D551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5921375" y="1671638"/>
            <a:ext cx="706438" cy="2159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000" b="1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2.9%</a:t>
            </a:r>
            <a:endParaRPr lang="en-GB" sz="10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894860E7-AF4E-8280-D97D-781A8B00C650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9891713" y="6454775"/>
            <a:ext cx="179388" cy="133350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0F7A003-5FC8-F89E-BF58-C74D51AEE1C0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4608513" y="6454775"/>
            <a:ext cx="179388" cy="133350"/>
          </a:xfrm>
          <a:prstGeom prst="rect">
            <a:avLst/>
          </a:prstGeom>
          <a:solidFill>
            <a:srgbClr val="008650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8512CD68-B1BA-6C46-7685-010B61EB2864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9048750" y="6454775"/>
            <a:ext cx="179388" cy="133350"/>
          </a:xfrm>
          <a:prstGeom prst="rect">
            <a:avLst/>
          </a:prstGeom>
          <a:solidFill>
            <a:srgbClr val="F9D612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78300576-2553-A787-FE9F-3546B7F00763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7670800" y="6454775"/>
            <a:ext cx="179388" cy="133350"/>
          </a:xfrm>
          <a:prstGeom prst="rect">
            <a:avLst/>
          </a:prstGeom>
          <a:solidFill>
            <a:srgbClr val="015A94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C39C1766-B6D7-5DA1-C2C8-AEF9DF1AEBAD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8267700" y="6454775"/>
            <a:ext cx="179388" cy="133350"/>
          </a:xfrm>
          <a:prstGeom prst="rect">
            <a:avLst/>
          </a:prstGeom>
          <a:solidFill>
            <a:schemeClr val="accent3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22E9F76C-266B-E8D1-D0F3-303DDFB3526F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303838" y="6454775"/>
            <a:ext cx="179388" cy="133350"/>
          </a:xfrm>
          <a:prstGeom prst="rect">
            <a:avLst/>
          </a:prstGeom>
          <a:solidFill>
            <a:schemeClr val="accent5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406C2B40-33CE-4F55-30B5-EFEE4060C558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8497888" y="6450013"/>
            <a:ext cx="449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A95AD9E-9E05-4F61-A09B-9832149015C0}" type="datetime'''Eu''''''''''''''''''ro''''''''''''''''''''''''''''''pe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Europe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B13D85E1-6E11-7E45-E3B1-2E01F712F836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7900988" y="6450013"/>
            <a:ext cx="265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A34886E-3C90-494B-899A-F35BA95169B0}" type="datetime'''As''''''''''''''''''''''''''''''''''''''''''i''''a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sia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BAB89DCE-013B-18D7-7802-BD2496C9D6B4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10121900" y="6450013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98DF364-F606-4702-A051-07CEC73862B0}" type="datetime'''A''''meri''''''''''''''ca''''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merica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782F2973-FFA5-7232-1758-6768BC518954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9278938" y="6450013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CEBCE76-99F6-4AC1-A904-100BDD568E38}" type="datetime'''''''''''O''''''''''c''''''ea''n''''''''i''''''''''''''a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Oceania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D626251A-1334-63CE-F085-723279011498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5534025" y="6450013"/>
            <a:ext cx="2035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C2A6D31-FD0C-4A4E-9046-0C0948BCEE58}" type="datetime'''Anta''''r''ctica ''''''and A''''djacent'' ''Isl''ands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ntarctica and Adjacent Islands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6E086DB9-6623-24B5-C305-0E5D05DD5C33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4838700" y="6450013"/>
            <a:ext cx="363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0680C1C-0384-4BB1-B119-43392E7BE64E}" type="datetime'''''''A''f''r''''''''i''''''''''''''''''''''''''''''ca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frica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5808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6813096F-D721-0653-587E-E254F033A5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565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4" imgW="7772400" imgH="10058400" progId="TCLayout.ActiveDocument.1">
                  <p:embed/>
                </p:oleObj>
              </mc:Choice>
              <mc:Fallback>
                <p:oleObj name="think-cell Slide" r:id="rId104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6813096F-D721-0653-587E-E254F033A5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BDD7A3D-4F52-3DE2-F933-8449D83DCF0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ntinents &amp; Regions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23F066-78F6-ED99-A2E1-FCA243435A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/>
              <a:t>Total Visitors per Continent over ti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9A56F2-33FC-B13B-F824-5320C14683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2800">
                <a:latin typeface="Bahnschrift" panose="020B0502040204020203" pitchFamily="34" charset="0"/>
              </a:rPr>
              <a:t>Insights Behind Trends and Key Movements</a:t>
            </a:r>
            <a:endParaRPr lang="en-DE" sz="2800">
              <a:latin typeface="Bahnschrift" panose="020B050204020402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15DEF-BD86-6BAD-F618-0FCA1640781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14</a:t>
            </a:fld>
            <a:endParaRPr lang="de-DE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AF6F246-54A1-4312-90AB-0320FAD7CD8A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A2F73AD-ADF7-009C-C582-FA06B7B3A06D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9" name="Rectangle 2">
            <a:extLst>
              <a:ext uri="{FF2B5EF4-FFF2-40B4-BE49-F238E27FC236}">
                <a16:creationId xmlns:a16="http://schemas.microsoft.com/office/drawing/2014/main" id="{A288F178-0675-D978-CFEB-B90888260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8113"/>
            <a:ext cx="65" cy="26097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7935" rIns="0" bIns="-793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3CA9650-E3B7-B802-106B-4418D7A43C6E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625600" y="2151063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F84E1F6-185C-D233-67ED-EDB45D50810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625600" y="1706563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018BA18-5DBA-D301-552F-83131A3EFAB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625600" y="3130550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DC53672-BFC6-75E1-4EBD-99DA323984F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625600" y="1928813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DF90C88-065B-E824-B6AF-141395CF1ED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625600" y="2593975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AE0D8C0-7A7F-F656-1AC6-E25B15B42CD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625600" y="2371725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2DBE283-51A6-7A57-FEB4-FD29878238C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625600" y="2816225"/>
            <a:ext cx="10123488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D99B66E-EE8C-C4C7-04BE-85291F56B11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1582738" y="2371725"/>
            <a:ext cx="42862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E183AD7-DEC0-8A29-21A4-CF6E0CDBCAC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1582738" y="2816225"/>
            <a:ext cx="42862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3A60A28-52C2-0F31-145F-55388F87478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1582738" y="1706563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0D35BA-1048-F23A-19B2-EC273706612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1582738" y="1928813"/>
            <a:ext cx="42862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EC0853C-A25E-EB98-5B27-780740E185E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1582738" y="3130550"/>
            <a:ext cx="42862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A29EFE5-19B4-93F7-70AC-1C1D87392F7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1582738" y="2593975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837275F-F745-B7F0-99B6-A47CE4230FD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1582738" y="2151063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5D974BDC-8D18-C7FD-D51D-81434F58FB1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1582738" y="3352800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06" name="Chart 205">
            <a:extLst>
              <a:ext uri="{FF2B5EF4-FFF2-40B4-BE49-F238E27FC236}">
                <a16:creationId xmlns:a16="http://schemas.microsoft.com/office/drawing/2014/main" id="{6D6CA60F-D6B0-00B0-A318-0AB3A18DE004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39993983"/>
              </p:ext>
            </p:extLst>
          </p:nvPr>
        </p:nvGraphicFramePr>
        <p:xfrm>
          <a:off x="1543050" y="1624013"/>
          <a:ext cx="10288588" cy="1811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6"/>
          </a:graphicData>
        </a:graphic>
      </p:graphicFrame>
      <p:sp>
        <p:nvSpPr>
          <p:cNvPr id="54" name="Rectangle 53">
            <a:extLst>
              <a:ext uri="{FF2B5EF4-FFF2-40B4-BE49-F238E27FC236}">
                <a16:creationId xmlns:a16="http://schemas.microsoft.com/office/drawing/2014/main" id="{F1CB8086-45BB-EBC3-A196-B7AFBE1BB234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757238" y="2752726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25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7202597-0609-C9B1-D4F2-D92BC76205E2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757238" y="1865314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45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06919A8-C502-169C-2901-502D95D9DC72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757238" y="2530476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30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FB3644-F130-9F8D-85E6-958079239011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1416050" y="3289301"/>
            <a:ext cx="809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C29690E-DA94-4748-B77C-BA1A2882BB86}" type="datetime'''''''''''''''0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535897C-0E51-A7F0-EFF9-1AFA935DAA8D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757238" y="1643064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50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230DF80-00E9-F611-3BCE-8A635AB11447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757238" y="2087564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40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3ABC8BC-0B81-EB5E-6DA9-5CE6FDD15AC0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838200" y="3067051"/>
            <a:ext cx="658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5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D6B3B8D-1FC7-053B-9C39-E6C228AF06F1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757238" y="2308226"/>
            <a:ext cx="739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35,0000</a:t>
            </a:r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 useBgFill="1">
        <p:nvSpPr>
          <p:cNvPr id="56" name="Freeform 55">
            <a:extLst>
              <a:ext uri="{FF2B5EF4-FFF2-40B4-BE49-F238E27FC236}">
                <a16:creationId xmlns:a16="http://schemas.microsoft.com/office/drawing/2014/main" id="{64A69D84-38D2-E97D-73B4-0BAC2FF100C2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571625" y="3022600"/>
            <a:ext cx="10071101" cy="79376"/>
          </a:xfrm>
          <a:custGeom>
            <a:avLst/>
            <a:gdLst/>
            <a:ahLst/>
            <a:cxnLst/>
            <a:rect l="0" t="0" r="0" b="0"/>
            <a:pathLst>
              <a:path w="100711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832850" y="0"/>
                </a:lnTo>
                <a:lnTo>
                  <a:pt x="8915400" y="22225"/>
                </a:lnTo>
                <a:lnTo>
                  <a:pt x="8997950" y="0"/>
                </a:lnTo>
                <a:lnTo>
                  <a:pt x="9080500" y="22225"/>
                </a:lnTo>
                <a:lnTo>
                  <a:pt x="9163050" y="0"/>
                </a:lnTo>
                <a:lnTo>
                  <a:pt x="9245600" y="22225"/>
                </a:lnTo>
                <a:lnTo>
                  <a:pt x="9328150" y="0"/>
                </a:lnTo>
                <a:lnTo>
                  <a:pt x="9410700" y="22225"/>
                </a:lnTo>
                <a:lnTo>
                  <a:pt x="9493250" y="0"/>
                </a:lnTo>
                <a:lnTo>
                  <a:pt x="9575800" y="22225"/>
                </a:lnTo>
                <a:lnTo>
                  <a:pt x="9658350" y="0"/>
                </a:lnTo>
                <a:lnTo>
                  <a:pt x="9740900" y="22225"/>
                </a:lnTo>
                <a:lnTo>
                  <a:pt x="9823450" y="0"/>
                </a:lnTo>
                <a:lnTo>
                  <a:pt x="9906000" y="22225"/>
                </a:lnTo>
                <a:lnTo>
                  <a:pt x="9988550" y="0"/>
                </a:lnTo>
                <a:lnTo>
                  <a:pt x="10071100" y="22225"/>
                </a:lnTo>
                <a:lnTo>
                  <a:pt x="10071100" y="79375"/>
                </a:lnTo>
                <a:lnTo>
                  <a:pt x="9988550" y="57150"/>
                </a:lnTo>
                <a:lnTo>
                  <a:pt x="9906000" y="79375"/>
                </a:lnTo>
                <a:lnTo>
                  <a:pt x="9823450" y="57150"/>
                </a:lnTo>
                <a:lnTo>
                  <a:pt x="9740900" y="79375"/>
                </a:lnTo>
                <a:lnTo>
                  <a:pt x="9658350" y="57150"/>
                </a:lnTo>
                <a:lnTo>
                  <a:pt x="9575800" y="79375"/>
                </a:lnTo>
                <a:lnTo>
                  <a:pt x="9493250" y="57150"/>
                </a:lnTo>
                <a:lnTo>
                  <a:pt x="9410700" y="79375"/>
                </a:lnTo>
                <a:lnTo>
                  <a:pt x="9328150" y="57150"/>
                </a:lnTo>
                <a:lnTo>
                  <a:pt x="9245600" y="79375"/>
                </a:lnTo>
                <a:lnTo>
                  <a:pt x="9163050" y="57150"/>
                </a:lnTo>
                <a:lnTo>
                  <a:pt x="9080500" y="79375"/>
                </a:lnTo>
                <a:lnTo>
                  <a:pt x="8997950" y="57150"/>
                </a:lnTo>
                <a:lnTo>
                  <a:pt x="8915400" y="79375"/>
                </a:lnTo>
                <a:lnTo>
                  <a:pt x="8832850" y="57150"/>
                </a:lnTo>
                <a:lnTo>
                  <a:pt x="8750300" y="79375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de-DE" sz="1600"/>
          </a:p>
        </p:txBody>
      </p:sp>
      <p:sp>
        <p:nvSpPr>
          <p:cNvPr id="58" name="Freeform 57">
            <a:extLst>
              <a:ext uri="{FF2B5EF4-FFF2-40B4-BE49-F238E27FC236}">
                <a16:creationId xmlns:a16="http://schemas.microsoft.com/office/drawing/2014/main" id="{BCE57827-382D-0067-CEF2-557642FC7B2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571625" y="3079750"/>
            <a:ext cx="10071101" cy="22226"/>
          </a:xfrm>
          <a:custGeom>
            <a:avLst/>
            <a:gdLst/>
            <a:ahLst/>
            <a:cxnLst/>
            <a:rect l="0" t="0" r="0" b="0"/>
            <a:pathLst>
              <a:path w="100711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832850" y="0"/>
                </a:lnTo>
                <a:lnTo>
                  <a:pt x="8915400" y="22225"/>
                </a:lnTo>
                <a:lnTo>
                  <a:pt x="8997950" y="0"/>
                </a:lnTo>
                <a:lnTo>
                  <a:pt x="9080500" y="22225"/>
                </a:lnTo>
                <a:lnTo>
                  <a:pt x="9163050" y="0"/>
                </a:lnTo>
                <a:lnTo>
                  <a:pt x="9245600" y="22225"/>
                </a:lnTo>
                <a:lnTo>
                  <a:pt x="9328150" y="0"/>
                </a:lnTo>
                <a:lnTo>
                  <a:pt x="9410700" y="22225"/>
                </a:lnTo>
                <a:lnTo>
                  <a:pt x="9493250" y="0"/>
                </a:lnTo>
                <a:lnTo>
                  <a:pt x="9575800" y="22225"/>
                </a:lnTo>
                <a:lnTo>
                  <a:pt x="9658350" y="0"/>
                </a:lnTo>
                <a:lnTo>
                  <a:pt x="9740900" y="22225"/>
                </a:lnTo>
                <a:lnTo>
                  <a:pt x="9823450" y="0"/>
                </a:lnTo>
                <a:lnTo>
                  <a:pt x="9906000" y="22225"/>
                </a:lnTo>
                <a:lnTo>
                  <a:pt x="9988550" y="0"/>
                </a:lnTo>
                <a:lnTo>
                  <a:pt x="10071100" y="22225"/>
                </a:lnTo>
              </a:path>
            </a:pathLst>
          </a:custGeom>
          <a:noFill/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F842C416-DC53-281E-D2A6-0E7E7D75BBC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571625" y="3022600"/>
            <a:ext cx="10071101" cy="22226"/>
          </a:xfrm>
          <a:custGeom>
            <a:avLst/>
            <a:gdLst/>
            <a:ahLst/>
            <a:cxnLst/>
            <a:rect l="0" t="0" r="0" b="0"/>
            <a:pathLst>
              <a:path w="100711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832850" y="0"/>
                </a:lnTo>
                <a:lnTo>
                  <a:pt x="8915400" y="22225"/>
                </a:lnTo>
                <a:lnTo>
                  <a:pt x="8997950" y="0"/>
                </a:lnTo>
                <a:lnTo>
                  <a:pt x="9080500" y="22225"/>
                </a:lnTo>
                <a:lnTo>
                  <a:pt x="9163050" y="0"/>
                </a:lnTo>
                <a:lnTo>
                  <a:pt x="9245600" y="22225"/>
                </a:lnTo>
                <a:lnTo>
                  <a:pt x="9328150" y="0"/>
                </a:lnTo>
                <a:lnTo>
                  <a:pt x="9410700" y="22225"/>
                </a:lnTo>
                <a:lnTo>
                  <a:pt x="9493250" y="0"/>
                </a:lnTo>
                <a:lnTo>
                  <a:pt x="9575800" y="22225"/>
                </a:lnTo>
                <a:lnTo>
                  <a:pt x="9658350" y="0"/>
                </a:lnTo>
                <a:lnTo>
                  <a:pt x="9740900" y="22225"/>
                </a:lnTo>
                <a:lnTo>
                  <a:pt x="9823450" y="0"/>
                </a:lnTo>
                <a:lnTo>
                  <a:pt x="9906000" y="22225"/>
                </a:lnTo>
                <a:lnTo>
                  <a:pt x="9988550" y="0"/>
                </a:lnTo>
                <a:lnTo>
                  <a:pt x="10071100" y="22225"/>
                </a:lnTo>
              </a:path>
            </a:pathLst>
          </a:custGeom>
          <a:noFill/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BCDCDB3F-EA58-715D-4B25-0230401DAFB8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7410450" y="1479550"/>
            <a:ext cx="2065338" cy="1022350"/>
          </a:xfrm>
          <a:prstGeom prst="line">
            <a:avLst/>
          </a:prstGeom>
          <a:ln w="28575" cap="sq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B12694A4-F904-29EA-BE29-0929CBDEE926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93995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6A5597-A5F1-4043-9232-E5C8D292F39D}" type="datetime'2''0''''''''''''''''''''''''1''''''''''''''''''0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3A5F7F0-FCC7-4EC3-4E14-DB184D9297E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34083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02A218C-8560-4910-8E74-F16EBF4606B6}" type="datetime'''''''''1''''''''''''''''''''9''''''8''''''''''''''''1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A5D0C51-E52B-67C6-CFDD-216D5B082E40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32019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56D2346-2A85-4DB2-9263-74C3E7E317EB}" type="datetime'''''''1''''9''''''''''8''''''''''0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BF16E5B-3771-FC1E-D127-502830D461C4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36147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C0C585C-61FB-4A4C-93A8-3E2872D672D7}" type="datetime'''''''''''1''''9''''''''''''''''''''''''''''8''''''''2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98E873D-F3B4-EFEF-37FD-4E74F021BF9B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27892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1614566-1099-4512-A6CB-524DB3526CC9}" type="datetime'''''''''''''''''''''''1''9''''''''7''''''''''''''''''''''8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7F6EF03-CA95-3CFB-D370-F2F4EAB1BB48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67151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959C06A-5D0D-4D60-8DEA-4D548D185E60}" type="datetime'''''''''''''1''9''''''9''''''''''''''''''''7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77DE607-7D11-8EDD-A170-6AE834828544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42354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866DC17-1504-41D8-A82C-046ED478329A}" type="datetime'''''''''''''''''''''''1''''''9''''''''''''85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40A1764-158A-FE9F-5D19-3C552DA34B8F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50609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66369B7-1E6A-4DA0-92DD-20B906FA6FFC}" type="datetime'''''''''''''''1''''''''98''''''''''''9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7B5F680-6EE5-8D64-B799-2F38DF3BC320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40290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BD1C952-AE27-46E1-908E-4AB73D479DAD}" type="datetime'1''''''''''9''''''8''''''''''''''4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D4911DE-6575-DAA9-EC77-4EE297F4E3C0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21685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D8CFA2A-BAAA-4F27-A2EA-6ED0EF93ACAB}" type="datetime'1''''''''97''''''5''''''''''''''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EB646D2-1610-A0CD-4389-B74CC6B0DBE6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58880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2324246-DACC-4BC8-BD2C-62A83E5D31FD}" type="datetime'''''''''''''''''1''''''''''''''''''993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3BD3BBB-3158-B471-1043-2192A00F2E6B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6075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0D2EC60-7EE9-4C82-90B7-EAF59100E5AB}" type="datetime'''''''''''''''2''''''''''''0''''''''11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93A8C2C-FE5B-0A57-C73D-A3AFA75622A4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60944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624A7F4-9EA4-4DED-81A9-DD099D87EB93}" type="datetime'''1''''''''''''''''''''''''994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BB9BFF2-7DB7-45C7-FAC9-F04A19A6916A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63007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116C31C-C69C-421A-82E8-FF71B6EC08CB}" type="datetime'1''''''9''''''''9''''''''''''''''''''''''''''''''5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9DC4014-650F-2838-2974-FD6B5F6EC984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5071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3C03ED2-9BA5-4640-9958-0B68C26A18B6}" type="datetime'''''''''''''''''''''1''''''99''''''''''''''''6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CA56456-5398-378F-BECA-52C18E97D21B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9215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7E0527C-2330-4325-9CD2-6A036B727464}" type="datetime'''1''''''''''''''9''9''''8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A000F68-C049-D61B-2CAD-2A730604507C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71278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095240D-3B11-46D2-B6F0-B67AC81CC005}" type="datetime'''''''''''1''''''''''''''''''''''''''9''''99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D1FD381A-A710-D5B3-1F10-B27BD09123E7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19621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A038108-A7E6-4759-B0EC-0147ED144A62}" type="datetime'''1''''''''''''''''''''''''9''''''''''''''''7''''''''''''4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29643BFB-59CC-6B64-E663-D92E04171ED5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73342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1792E51-7C83-47D3-81D7-788D9C8B92E8}" type="datetime'''''2''0''''''''''''''''''0''''0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BD466D2B-165A-4AE7-4FB9-6CB886EB8864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79533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95B1DAE-BFAE-46DF-9B59-237C2411E3F3}" type="datetime'''''''''20''''''''''''0''3''''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89799F8-2C21-C4C8-95F6-A7EA6EC0AB36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77470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F07C9FC-2BF2-4B42-B4E4-3E9C8CC8E252}" type="datetime'''''2''''''''''0''''02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DD9E423A-6953-D778-BC6B-704AF31653D5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81613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69ECF4E-2023-434B-AD65-ABA156981853}" type="datetime'''''2''''''0''''''''''''''''0''''''''4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B7C803F-4251-6458-191B-174D7259C30B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52689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6984813-49F9-4353-8713-3F3E8D5ACDEB}" type="datetime'''''''19''''''''''9''''''0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28FD76D9-8570-9948-04B4-ED0C84DBBA9C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15494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725A8D1-69EE-4FFF-8533-37E130A06812}" type="datetime'''''''''''''''''''''''''''''''''''''1''9''''72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5D7F4F5-8EDF-C324-BED1-062758B4CA16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48545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22C81CC-750B-4D12-B93C-56A9398C735E}" type="datetime'''''''''''''''''''''1''''''''9''''''''''''''8''''''''''8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5E392F5-626F-E55C-9E75-F8B9CF156C8B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83677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7DDA291-49EC-49E5-8716-98401F1A381A}" type="datetime'''''''''''2''''0''''''0''''''5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FB8E32D-81FE-AE1F-9D32-E71060A541DE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17557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589B33E-68B9-4816-B6A9-54444660FBCB}" type="datetime'1''9''''7''''''''''''''''''''''''''''''''''''''''''''''''''3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AEE54A90-2853-AB4A-0A91-B5A5CDC689C0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85740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35199F6-1631-4489-9637-9860E73C2CF2}" type="datetime'2''''''''''0''''''''0''''''''''''''''''6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56F74EE-76E3-96FF-4DBF-CFDFA560F496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08458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64B61FA-3F68-4560-93F0-A3FCEFE0E8AD}" type="datetime'''2''''''''''''''01''''''''''7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5F3BCFC-3A01-D4F5-4625-E8980AA6024E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44418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15C1553-0FA7-458C-A177-70F05CACF69D}" type="datetime'''''''1''''''''''''''''''''''''''''''9''''86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F307EDD-84F9-6D35-67CC-FCB04E9B957F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87804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27D97EC-6670-45A2-94DF-48718C28DAEC}" type="datetime'''''''2''''''''''''''''''''''''''0''''''''0''''''''7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7097D0E7-2899-1D83-6F21-50E74487697F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89868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389F4E4-660F-4B85-A250-FCAB17205107}" type="datetime'''''''''''''''''''2''''''''''0''''''''''''0''''8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C4E1D0B-E93F-2151-7935-E908337A3621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91932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EA19320-F39A-4DEA-8416-1FD343629549}" type="datetime'''''''''''2''''''''''''''0''''''''''''0''''''''9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90CD8-986E-E250-EB28-2A434970DAAA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46482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FFA754A-D3DD-4CD1-A99E-018FEBC48CFC}" type="datetime'''''1''9''''''''''''''''''''''''''''8''7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83A08C1-B5F5-8485-32B1-063268F52256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98139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55DD6F1-2D82-471D-8546-0DF76D3E4359}" type="datetime'''''''''''''''''''2''0''''''''''''''''''1''''''''''''''2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2C5D62C-EFE0-D3D2-AB38-A5B6CA9BC1A0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00203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BF45393-089C-4A27-960A-AB3581BAE424}" type="datetime'''''''''''2''''''0''''''''1''''''3''''''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22E3C65-1E61-7CE5-0D05-86B54644434E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25828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654FE6-2BCA-4D4A-A596-325086F8D97C}" type="datetime'''''1''''''9''''''''''''''7''''''''''''''7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7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85158988-A147-70F9-1876-EF8A1930A741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382270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573B2D6-16DE-4953-B09B-96AA64EC11AB}" type="datetime'1''''9''''8''''''''''''''''''''''''''''''3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83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E609816-A1ED-3573-3663-13F638855992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022667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68F2126-1107-4157-ADC0-D8FDB7812F40}" type="datetime'''''''''''''''''''''''''''2''''01''''''''''4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F4CD779-EFC2-50D1-411F-7A348D1C30D5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10433050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249A94D-9FE6-4FFD-B463-A04E6F4D2B39}" type="datetime'''2''''''''''''''''0''''''''1''''5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CA824FE-9BBE-1C43-5361-814CA70D6B25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29956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2D72EE3-8E95-4BD5-9AE5-9A2B7DBA43AC}" type="datetime'''''1''''''''''''''''''''''''''''9''''''''7''''''''9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FD0B361-410A-0105-7AF4-1F7B42D083DE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106394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333439C-143E-4830-97E0-70D1A63CF845}" type="datetime'''''''2''''''0''''''''''''''''''''''1''''6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D099C73-70CA-2A04-1192-8A28C03BA00B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23764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F47A206-18A4-46AE-8749-4CC8DDE9CB06}" type="datetime'''''''''''1''''''''''97''6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76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17C833DC-F6A7-DD2B-619A-CF4223A6218F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7540625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2AA6723-15E5-4FD9-955E-D149E384E795}" type="datetime'''''''''''2''''''''''''''0''''0''''''''1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FF53911-F606-6A92-4E72-4BDF463B0CBA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110537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02E56AE-943E-4EDB-8DE1-BAB4842328F3}" type="datetime'''''''''20''1''''''''''''''''''''''''8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5E63C95-9497-8157-FAE7-5426A76A00C1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1126013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57C04A-263D-4509-9181-53E71BA0546C}" type="datetime'''''''''''''''''''''''2''''''''''01''''''9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F349D65-DF2F-6EA3-448B-8182FE5DB3DE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568166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4DDB8CA-FCEB-4A60-96E2-276A28C71D85}" type="datetime'''''''''19''''9''''''''''''''''''''''2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2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2A834AF-3B23-58BD-9356-548DC19A3B76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116728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3ABFD0A-3C7D-406F-A3B8-AB6C90930B59}" type="datetime'''''''''2''''''''''''''''''''''''''''''''0''''''''''2''''''1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180E0A1-D270-2203-821E-333050039E90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11466513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1233531-B12D-4F10-88FE-A37CF36F1C8B}" type="datetime'''''''''''''''''''''''''2''''''''''''0''2''''0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32DB5F2-6387-2E77-464C-A8C6B9F6186A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5475288" y="3438525"/>
            <a:ext cx="1524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688D5AE-D738-45E8-A09A-D79966A46964}" type="datetime'''''''1''''''''''''''9''''9''''1''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91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1EA32728-4098-F571-AB68-67734B8EE541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8124825" y="1882775"/>
            <a:ext cx="636588" cy="2159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000" b="1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6.2%</a:t>
            </a:r>
            <a:endParaRPr lang="en-GB" sz="10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10850182-A9FC-1887-1DE0-7D091C5D453E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9891713" y="6454775"/>
            <a:ext cx="179388" cy="133350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8AA7409E-A483-E125-FA46-63E6DD2903D1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9048750" y="6454775"/>
            <a:ext cx="179388" cy="133350"/>
          </a:xfrm>
          <a:prstGeom prst="rect">
            <a:avLst/>
          </a:prstGeom>
          <a:solidFill>
            <a:srgbClr val="F9D612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89750B6B-F620-045D-4FF6-ACD45557461D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7670800" y="6454775"/>
            <a:ext cx="179388" cy="133350"/>
          </a:xfrm>
          <a:prstGeom prst="rect">
            <a:avLst/>
          </a:prstGeom>
          <a:solidFill>
            <a:srgbClr val="015A94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E6490C23-DC03-4108-D0FE-2D2ED72A8672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8267700" y="6454775"/>
            <a:ext cx="179388" cy="133350"/>
          </a:xfrm>
          <a:prstGeom prst="rect">
            <a:avLst/>
          </a:prstGeom>
          <a:solidFill>
            <a:schemeClr val="accent3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0F633143-F22B-4C7E-7DCB-AFDB5C264DF3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4608513" y="6454775"/>
            <a:ext cx="179388" cy="133350"/>
          </a:xfrm>
          <a:prstGeom prst="rect">
            <a:avLst/>
          </a:prstGeom>
          <a:solidFill>
            <a:srgbClr val="008650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E50DE5DB-0838-05EA-3E1C-8C30F8F90865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5303838" y="6454775"/>
            <a:ext cx="179388" cy="133350"/>
          </a:xfrm>
          <a:prstGeom prst="rect">
            <a:avLst/>
          </a:prstGeom>
          <a:solidFill>
            <a:schemeClr val="accent5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F6C1C26D-E8CA-5AF1-8C07-4CFF2A2D1E0E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7900988" y="6450013"/>
            <a:ext cx="265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AA0063B-E8FB-4C36-8020-CF8588C85E01}" type="datetime'''''A''''''''''''''''''''''''''''s''''i''''''a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sia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0740734B-4436-B4C7-5E30-18A6D4E4C7B0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8497888" y="6450013"/>
            <a:ext cx="449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606862F-11CB-47D9-B036-C65464EBB408}" type="datetime'''''''''''''''''''E''''urop''''''''''''''''''e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Europe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CB90C217-2617-A1D1-8563-3437985D455F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534025" y="6450013"/>
            <a:ext cx="2035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9F7BCF5-34DB-489D-B19E-DDC35093CD6C}" type="datetime'''''A''''ntarctic''''''a and Ad''j''''''acent'' I''''slan''ds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ntarctica and Adjacent Islands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5A231CA8-8AED-95C9-7D99-064BDA18A59B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10121900" y="6450013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78C74B0-B9FC-428E-AE18-B18B05A4FCDD}" type="datetime'''''A''''me''''''''''''r''''''''''ic''''''''''''''''''a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merica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6A895DF-5436-5FDB-630C-5A01003FCCA4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9278938" y="6450013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BCA1B47-3138-464B-A01D-844F842A04B8}" type="datetime'''''''O''''''''''c''''''e''''a''n''''''i''''''''a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Oceania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7F35BA97-8165-FB2C-9BB8-198C21693245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4838700" y="6450013"/>
            <a:ext cx="363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4D2A2A0-3675-4B82-8B41-8E7C6F9A1BFD}" type="datetime'''''''''A''''''''''''''''''fr''''''ic''''a'''''''''''''''''">
              <a:rPr lang="en-GB" altLang="en-US" sz="10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frica</a:t>
            </a:fld>
            <a:endParaRPr lang="en-GB" sz="10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F573042-454E-F8CA-38DE-7FC41AEF7B26}"/>
              </a:ext>
            </a:extLst>
          </p:cNvPr>
          <p:cNvGrpSpPr/>
          <p:nvPr/>
        </p:nvGrpSpPr>
        <p:grpSpPr>
          <a:xfrm>
            <a:off x="550995" y="4107788"/>
            <a:ext cx="3643314" cy="2064412"/>
            <a:chOff x="550995" y="4107788"/>
            <a:chExt cx="3643314" cy="2064412"/>
          </a:xfrm>
        </p:grpSpPr>
        <p:sp>
          <p:nvSpPr>
            <p:cNvPr id="11" name="ee4pHeader1">
              <a:extLst>
                <a:ext uri="{FF2B5EF4-FFF2-40B4-BE49-F238E27FC236}">
                  <a16:creationId xmlns:a16="http://schemas.microsoft.com/office/drawing/2014/main" id="{0D621E1A-E389-5FD8-2B19-BC5B53085588}"/>
                </a:ext>
              </a:extLst>
            </p:cNvPr>
            <p:cNvSpPr/>
            <p:nvPr>
              <p:custDataLst>
                <p:tags r:id="rId100"/>
              </p:custDataLst>
            </p:nvPr>
          </p:nvSpPr>
          <p:spPr bwMode="auto">
            <a:xfrm>
              <a:off x="1139517" y="4107788"/>
              <a:ext cx="2466270" cy="3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en-US" sz="1400" b="1" spc="3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000 - 2009</a:t>
              </a:r>
            </a:p>
          </p:txBody>
        </p:sp>
        <p:sp>
          <p:nvSpPr>
            <p:cNvPr id="12" name="ee4pHeader1">
              <a:extLst>
                <a:ext uri="{FF2B5EF4-FFF2-40B4-BE49-F238E27FC236}">
                  <a16:creationId xmlns:a16="http://schemas.microsoft.com/office/drawing/2014/main" id="{C57BF379-B525-E505-9255-9591833361B3}"/>
                </a:ext>
              </a:extLst>
            </p:cNvPr>
            <p:cNvSpPr/>
            <p:nvPr>
              <p:custDataLst>
                <p:tags r:id="rId101"/>
              </p:custDataLst>
            </p:nvPr>
          </p:nvSpPr>
          <p:spPr bwMode="auto">
            <a:xfrm>
              <a:off x="550995" y="4410998"/>
              <a:ext cx="3643314" cy="176120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400" spc="3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35E67D5-DA1E-C305-610A-D00F487C6F9E}"/>
                </a:ext>
              </a:extLst>
            </p:cNvPr>
            <p:cNvSpPr txBox="1"/>
            <p:nvPr/>
          </p:nvSpPr>
          <p:spPr>
            <a:xfrm>
              <a:off x="550995" y="4571338"/>
              <a:ext cx="3643314" cy="10618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CA" sz="1200"/>
                <a:t>Steady decrease</a:t>
              </a:r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CA" sz="1200"/>
                <a:t>2001: 911 terrorist attacks</a:t>
              </a:r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CA" sz="1200"/>
                <a:t>2003: SARS epidemic</a:t>
              </a:r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CA" sz="1200"/>
                <a:t>2002-2008: </a:t>
              </a:r>
              <a:r>
                <a:rPr lang="en-US" sz="1200" b="0">
                  <a:solidFill>
                    <a:schemeClr val="tx1"/>
                  </a:solidFill>
                </a:rPr>
                <a:t>significant appreciation of the CAD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FD80B22-B922-0694-9105-4CFDE517A6EA}"/>
              </a:ext>
            </a:extLst>
          </p:cNvPr>
          <p:cNvGrpSpPr/>
          <p:nvPr/>
        </p:nvGrpSpPr>
        <p:grpSpPr>
          <a:xfrm>
            <a:off x="4328385" y="4106226"/>
            <a:ext cx="3643314" cy="2065974"/>
            <a:chOff x="4328385" y="4106226"/>
            <a:chExt cx="3643314" cy="2065974"/>
          </a:xfrm>
        </p:grpSpPr>
        <p:sp>
          <p:nvSpPr>
            <p:cNvPr id="13" name="ee4pHeader1">
              <a:extLst>
                <a:ext uri="{FF2B5EF4-FFF2-40B4-BE49-F238E27FC236}">
                  <a16:creationId xmlns:a16="http://schemas.microsoft.com/office/drawing/2014/main" id="{C277051E-ECD3-CFC0-1584-59AC52C06B11}"/>
                </a:ext>
              </a:extLst>
            </p:cNvPr>
            <p:cNvSpPr/>
            <p:nvPr>
              <p:custDataLst>
                <p:tags r:id="rId98"/>
              </p:custDataLst>
            </p:nvPr>
          </p:nvSpPr>
          <p:spPr bwMode="auto">
            <a:xfrm>
              <a:off x="4916907" y="4106226"/>
              <a:ext cx="2466270" cy="3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en-US" sz="1400" b="1" spc="3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009 - 2014</a:t>
              </a:r>
            </a:p>
          </p:txBody>
        </p:sp>
        <p:sp>
          <p:nvSpPr>
            <p:cNvPr id="15" name="ee4pHeader1">
              <a:extLst>
                <a:ext uri="{FF2B5EF4-FFF2-40B4-BE49-F238E27FC236}">
                  <a16:creationId xmlns:a16="http://schemas.microsoft.com/office/drawing/2014/main" id="{9FC9C2E9-1BF1-D248-6F58-E21BC965BF91}"/>
                </a:ext>
              </a:extLst>
            </p:cNvPr>
            <p:cNvSpPr/>
            <p:nvPr>
              <p:custDataLst>
                <p:tags r:id="rId99"/>
              </p:custDataLst>
            </p:nvPr>
          </p:nvSpPr>
          <p:spPr bwMode="auto">
            <a:xfrm>
              <a:off x="4328385" y="4409436"/>
              <a:ext cx="3643314" cy="176276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400" spc="3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998CB2C-E0E7-A348-8E89-12E5D9FB5351}"/>
                </a:ext>
              </a:extLst>
            </p:cNvPr>
            <p:cNvSpPr txBox="1"/>
            <p:nvPr/>
          </p:nvSpPr>
          <p:spPr>
            <a:xfrm>
              <a:off x="4328385" y="4570676"/>
              <a:ext cx="3458037" cy="5386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1200"/>
                <a:t>The trough in history </a:t>
              </a:r>
              <a:endParaRPr lang="en-US" altLang="zh-CN" sz="1200"/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altLang="zh-CN" sz="1200" b="0">
                  <a:solidFill>
                    <a:schemeClr val="tx1"/>
                  </a:solidFill>
                </a:rPr>
                <a:t>The economic</a:t>
              </a:r>
              <a:r>
                <a:rPr lang="zh-CN" altLang="en-US" sz="1200" b="0">
                  <a:solidFill>
                    <a:schemeClr val="tx1"/>
                  </a:solidFill>
                </a:rPr>
                <a:t> </a:t>
              </a:r>
              <a:r>
                <a:rPr lang="en-US" altLang="zh-CN" sz="1200" b="0">
                  <a:solidFill>
                    <a:schemeClr val="tx1"/>
                  </a:solidFill>
                </a:rPr>
                <a:t>crisis</a:t>
              </a:r>
              <a:r>
                <a:rPr lang="zh-CN" altLang="en-US" sz="1200" b="0">
                  <a:solidFill>
                    <a:schemeClr val="tx1"/>
                  </a:solidFill>
                </a:rPr>
                <a:t> </a:t>
              </a:r>
              <a:r>
                <a:rPr lang="en-US" altLang="zh-CN" sz="1200" b="0">
                  <a:solidFill>
                    <a:schemeClr val="tx1"/>
                  </a:solidFill>
                </a:rPr>
                <a:t>in</a:t>
              </a:r>
              <a:r>
                <a:rPr lang="zh-CN" altLang="en-US" sz="1200" b="0">
                  <a:solidFill>
                    <a:schemeClr val="tx1"/>
                  </a:solidFill>
                </a:rPr>
                <a:t> </a:t>
              </a:r>
              <a:r>
                <a:rPr lang="en-US" altLang="zh-CN" sz="1200" b="0">
                  <a:solidFill>
                    <a:schemeClr val="tx1"/>
                  </a:solidFill>
                </a:rPr>
                <a:t>2008</a:t>
              </a:r>
              <a:endParaRPr lang="en-US" sz="1200" b="0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06F51EF-EDBD-35C5-227E-1BFF1AB21C07}"/>
              </a:ext>
            </a:extLst>
          </p:cNvPr>
          <p:cNvGrpSpPr/>
          <p:nvPr/>
        </p:nvGrpSpPr>
        <p:grpSpPr>
          <a:xfrm>
            <a:off x="8105775" y="4104664"/>
            <a:ext cx="3685250" cy="2067536"/>
            <a:chOff x="8105775" y="4104664"/>
            <a:chExt cx="3685250" cy="2067536"/>
          </a:xfrm>
        </p:grpSpPr>
        <p:sp>
          <p:nvSpPr>
            <p:cNvPr id="21" name="ee4pHeader1">
              <a:extLst>
                <a:ext uri="{FF2B5EF4-FFF2-40B4-BE49-F238E27FC236}">
                  <a16:creationId xmlns:a16="http://schemas.microsoft.com/office/drawing/2014/main" id="{25C3684B-4269-3B5C-955A-696386EF596C}"/>
                </a:ext>
              </a:extLst>
            </p:cNvPr>
            <p:cNvSpPr/>
            <p:nvPr>
              <p:custDataLst>
                <p:tags r:id="rId96"/>
              </p:custDataLst>
            </p:nvPr>
          </p:nvSpPr>
          <p:spPr bwMode="auto">
            <a:xfrm>
              <a:off x="8694297" y="4104664"/>
              <a:ext cx="2466270" cy="3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en-US" sz="1400" b="1" spc="3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019 - 2020</a:t>
              </a:r>
            </a:p>
          </p:txBody>
        </p:sp>
        <p:sp>
          <p:nvSpPr>
            <p:cNvPr id="22" name="ee4pHeader1">
              <a:extLst>
                <a:ext uri="{FF2B5EF4-FFF2-40B4-BE49-F238E27FC236}">
                  <a16:creationId xmlns:a16="http://schemas.microsoft.com/office/drawing/2014/main" id="{75016288-0938-29AA-6E49-0D33E1F721AB}"/>
                </a:ext>
              </a:extLst>
            </p:cNvPr>
            <p:cNvSpPr/>
            <p:nvPr>
              <p:custDataLst>
                <p:tags r:id="rId97"/>
              </p:custDataLst>
            </p:nvPr>
          </p:nvSpPr>
          <p:spPr bwMode="auto">
            <a:xfrm>
              <a:off x="8105775" y="4407874"/>
              <a:ext cx="3643314" cy="176432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400" spc="3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CD67E9D-435D-FCF0-B736-CB183BD718BD}"/>
                </a:ext>
              </a:extLst>
            </p:cNvPr>
            <p:cNvSpPr txBox="1"/>
            <p:nvPr/>
          </p:nvSpPr>
          <p:spPr>
            <a:xfrm>
              <a:off x="8249574" y="4570676"/>
              <a:ext cx="3541451" cy="7078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1200"/>
                <a:t>Sharp drop</a:t>
              </a:r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1200"/>
                <a:t>COVID epidemic started from early 2020</a:t>
              </a:r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1200" b="0">
                  <a:solidFill>
                    <a:schemeClr val="tx1"/>
                  </a:solidFill>
                </a:rPr>
                <a:t>Less flights, stricter boarder regulations</a:t>
              </a:r>
              <a:r>
                <a:rPr lang="en-US" sz="1200"/>
                <a:t> </a:t>
              </a:r>
              <a:endParaRPr lang="en-US" sz="1200" b="0">
                <a:solidFill>
                  <a:schemeClr val="tx1"/>
                </a:solidFill>
              </a:endParaRPr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C3D8419-F92A-6D89-DA85-A47E6EF2F92C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 flipV="1">
            <a:off x="11336338" y="2263775"/>
            <a:ext cx="0" cy="184150"/>
          </a:xfrm>
          <a:prstGeom prst="line">
            <a:avLst/>
          </a:prstGeom>
          <a:ln w="1270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16085E7-F339-0735-FD66-6269840A56FD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11542713" y="2263775"/>
            <a:ext cx="0" cy="825500"/>
          </a:xfrm>
          <a:prstGeom prst="line">
            <a:avLst/>
          </a:prstGeom>
          <a:ln w="12700" cap="sq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D716D1FD-71E5-6123-730F-FD6E5C48772E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11050040" y="2155825"/>
            <a:ext cx="763588" cy="2159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10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-84.4%</a:t>
            </a:r>
          </a:p>
        </p:txBody>
      </p:sp>
    </p:spTree>
    <p:extLst>
      <p:ext uri="{BB962C8B-B14F-4D97-AF65-F5344CB8AC3E}">
        <p14:creationId xmlns:p14="http://schemas.microsoft.com/office/powerpoint/2010/main" val="3159712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34B41B2-5D57-7823-F22B-40C9F502BD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0673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834B41B2-5D57-7823-F22B-40C9F502BD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BDD7A3D-4F52-3DE2-F933-8449D83DCF0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ntinents &amp; Regions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9A56F2-33FC-B13B-F824-5320C14683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lIns="91440" tIns="45720" rIns="91440" bIns="45720" anchor="b"/>
          <a:lstStyle/>
          <a:p>
            <a:r>
              <a:rPr lang="en-DE" sz="2800">
                <a:latin typeface="Bahnschrift"/>
                <a:ea typeface="Verdana"/>
              </a:rPr>
              <a:t>Analysis by Continent</a:t>
            </a:r>
            <a:endParaRPr lang="en-DE" sz="2800">
              <a:latin typeface="Bahnschrift" panose="020B0502040204020203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E62B09-B628-9390-D8F1-925831825F2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>
                <a:latin typeface="Verdana"/>
                <a:ea typeface="Verdana"/>
              </a:rPr>
              <a:t>Total travelers since 2000</a:t>
            </a:r>
          </a:p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15DEF-BD86-6BAD-F618-0FCA1640781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678CB3-6BF2-2C9B-867D-B0E0FC69D6D7}"/>
              </a:ext>
            </a:extLst>
          </p:cNvPr>
          <p:cNvSpPr txBox="1"/>
          <p:nvPr/>
        </p:nvSpPr>
        <p:spPr>
          <a:xfrm>
            <a:off x="3690084" y="5353708"/>
            <a:ext cx="6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endParaRPr lang="en-DE" sz="1600" err="1"/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2FFBB17E-30C4-CB93-1A1F-3662999728F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890523"/>
              </p:ext>
            </p:extLst>
          </p:nvPr>
        </p:nvGraphicFramePr>
        <p:xfrm>
          <a:off x="360363" y="2413000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11ECC9E5-6DF7-E7A6-44D1-846DEEAF00A4}"/>
              </a:ext>
            </a:extLst>
          </p:cNvPr>
          <p:cNvGrpSpPr/>
          <p:nvPr/>
        </p:nvGrpSpPr>
        <p:grpSpPr>
          <a:xfrm>
            <a:off x="3792121" y="3399227"/>
            <a:ext cx="179804" cy="1252849"/>
            <a:chOff x="3382755" y="3339852"/>
            <a:chExt cx="179804" cy="1252849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6AE3E2F-04A8-FBD4-49A6-9E85BC4A4092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3382755" y="4186248"/>
              <a:ext cx="179388" cy="133350"/>
            </a:xfrm>
            <a:prstGeom prst="rect">
              <a:avLst/>
            </a:prstGeom>
            <a:solidFill>
              <a:srgbClr val="F9D612"/>
            </a:solidFill>
            <a:ln w="9525">
              <a:solidFill>
                <a:srgbClr val="FFFFFF"/>
              </a:solidFill>
            </a:ln>
            <a:effectLst/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DE" sz="16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0D535F8-1CF6-1D85-16E7-8E4787D4287E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3382963" y="3890263"/>
              <a:ext cx="179388" cy="133350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rgbClr val="FFFFFF"/>
              </a:solidFill>
            </a:ln>
            <a:effectLst/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DE" sz="160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953AF93-30CF-F8B2-9012-6801387C2179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3382963" y="3339852"/>
              <a:ext cx="179388" cy="133350"/>
            </a:xfrm>
            <a:prstGeom prst="rect">
              <a:avLst/>
            </a:prstGeom>
            <a:solidFill>
              <a:srgbClr val="008650"/>
            </a:solidFill>
            <a:ln w="9525">
              <a:solidFill>
                <a:srgbClr val="FFFFFF"/>
              </a:solidFill>
            </a:ln>
            <a:effectLst/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DE" sz="16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C95FB60-2EF5-E315-9D15-460009A108DC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3383171" y="3603610"/>
              <a:ext cx="179388" cy="133350"/>
            </a:xfrm>
            <a:prstGeom prst="rect">
              <a:avLst/>
            </a:prstGeom>
            <a:solidFill>
              <a:srgbClr val="015A94"/>
            </a:solidFill>
            <a:ln w="9525">
              <a:solidFill>
                <a:srgbClr val="FFFFFF"/>
              </a:solidFill>
            </a:ln>
            <a:effectLst/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DE" sz="16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ECC4799-D77E-26FB-0B38-F9CFAA26E813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>
              <a:off x="3382755" y="4459351"/>
              <a:ext cx="179388" cy="13335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</a:ln>
            <a:effectLst/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DE" sz="1600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D833BF-6EC0-776C-5E18-9C96D0167D02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1396AF4-3FDF-FDB0-5EC0-E0CC39AFE9DA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69180BC-3644-5C15-3220-B63028F819DB}"/>
              </a:ext>
            </a:extLst>
          </p:cNvPr>
          <p:cNvSpPr txBox="1"/>
          <p:nvPr/>
        </p:nvSpPr>
        <p:spPr>
          <a:xfrm>
            <a:off x="6589110" y="3429000"/>
            <a:ext cx="4923077" cy="16312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Aft>
                <a:spcPts val="600"/>
              </a:spcAft>
              <a:buSzPct val="100000"/>
              <a:buFont typeface="Arial"/>
              <a:buChar char="•"/>
            </a:pPr>
            <a:r>
              <a:rPr lang="en-US" sz="1600">
                <a:cs typeface="Arial" panose="020B0604020202020204"/>
              </a:rPr>
              <a:t>Total amount of visitors between 2000-2022 amounted to 658,980,324</a:t>
            </a:r>
            <a:endParaRPr lang="en-US"/>
          </a:p>
          <a:p>
            <a:pPr marL="285750" indent="-285750">
              <a:spcAft>
                <a:spcPts val="600"/>
              </a:spcAft>
              <a:buSzPct val="100000"/>
              <a:buFont typeface="Arial"/>
              <a:buChar char="•"/>
            </a:pPr>
            <a:r>
              <a:rPr lang="en-US" sz="1600">
                <a:cs typeface="Arial" panose="020B0604020202020204"/>
              </a:rPr>
              <a:t>Overseas visitors accounted for 15.6% of the total</a:t>
            </a:r>
          </a:p>
          <a:p>
            <a:pPr marL="285750" indent="-285750">
              <a:spcAft>
                <a:spcPts val="600"/>
              </a:spcAft>
              <a:buSzPct val="100000"/>
              <a:buFont typeface="Arial"/>
              <a:buChar char="•"/>
            </a:pPr>
            <a:r>
              <a:rPr lang="en-US" sz="1600">
                <a:cs typeface="Arial" panose="020B0604020202020204"/>
              </a:rPr>
              <a:t>We have included various quantifiable factors that could provide some explanation as to the distribution of visitors per continent</a:t>
            </a:r>
          </a:p>
        </p:txBody>
      </p:sp>
      <p:sp>
        <p:nvSpPr>
          <p:cNvPr id="49" name="ee4pHeader1">
            <a:extLst>
              <a:ext uri="{FF2B5EF4-FFF2-40B4-BE49-F238E27FC236}">
                <a16:creationId xmlns:a16="http://schemas.microsoft.com/office/drawing/2014/main" id="{D94A86A6-B7E6-3BC3-9111-52AC795F98C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42913" y="1972992"/>
            <a:ext cx="5146128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ARE OF VISITORS PER CONTINENT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DCC2F8B5-920E-F464-A85A-69BB4B6CF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83" name="Table 83">
            <a:extLst>
              <a:ext uri="{FF2B5EF4-FFF2-40B4-BE49-F238E27FC236}">
                <a16:creationId xmlns:a16="http://schemas.microsoft.com/office/drawing/2014/main" id="{EBB7D2B1-6671-0DA6-F56A-831B5935DD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6480602"/>
              </p:ext>
            </p:extLst>
          </p:nvPr>
        </p:nvGraphicFramePr>
        <p:xfrm>
          <a:off x="4080050" y="3339852"/>
          <a:ext cx="1811973" cy="13716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95680">
                  <a:extLst>
                    <a:ext uri="{9D8B030D-6E8A-4147-A177-3AD203B41FA5}">
                      <a16:colId xmlns:a16="http://schemas.microsoft.com/office/drawing/2014/main" val="3640782329"/>
                    </a:ext>
                  </a:extLst>
                </a:gridCol>
                <a:gridCol w="816293">
                  <a:extLst>
                    <a:ext uri="{9D8B030D-6E8A-4147-A177-3AD203B41FA5}">
                      <a16:colId xmlns:a16="http://schemas.microsoft.com/office/drawing/2014/main" val="275449841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Africa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0.3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871475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Asia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4.6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8445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Europ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7.8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6419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Oceania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0.9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66891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America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86.4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223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27282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34B41B2-5D57-7823-F22B-40C9F502BD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834B41B2-5D57-7823-F22B-40C9F502BD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60FF2E-A585-41B0-A0C1-F3D2F8C96D1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ntinents &amp; Regions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E0DDBC-49ED-E33C-9644-26A5D86F8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9A56F2-33FC-B13B-F824-5320C14683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lIns="91440" tIns="45720" rIns="91440" bIns="45720" anchor="b"/>
          <a:lstStyle/>
          <a:p>
            <a:r>
              <a:rPr lang="en-DE" sz="2800">
                <a:latin typeface="Bahnschrift"/>
                <a:ea typeface="Verdana"/>
              </a:rPr>
              <a:t>Analysis by Continent</a:t>
            </a:r>
            <a:endParaRPr lang="en-DE" sz="2800">
              <a:latin typeface="Bahnschrift" panose="020B0502040204020203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E62B09-B628-9390-D8F1-925831825F2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>
                <a:latin typeface="Verdana"/>
                <a:ea typeface="Verdana"/>
              </a:rPr>
              <a:t>Data from years 2000-2022. Source: Distance Calculator, 2022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15DEF-BD86-6BAD-F618-0FCA1640781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16</a:t>
            </a:fld>
            <a:endParaRPr lang="de-DE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D833BF-6EC0-776C-5E18-9C96D0167D02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1396AF4-3FDF-FDB0-5EC0-E0CC39AFE9DA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D46F2C1-7E38-AFD9-11D1-985945A26A55}"/>
              </a:ext>
            </a:extLst>
          </p:cNvPr>
          <p:cNvSpPr txBox="1"/>
          <p:nvPr/>
        </p:nvSpPr>
        <p:spPr>
          <a:xfrm>
            <a:off x="8839374" y="2828556"/>
            <a:ext cx="1699402" cy="172354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ea typeface="+mn-lt"/>
                <a:cs typeface="+mn-lt"/>
              </a:rPr>
              <a:t>Overall relationship can be observed between distance and visitor amount, with the American continent having a large increase due to the U.S.</a:t>
            </a:r>
            <a:endParaRPr lang="en-US" sz="1400">
              <a:cs typeface="Arial"/>
            </a:endParaRPr>
          </a:p>
        </p:txBody>
      </p:sp>
      <p:pic>
        <p:nvPicPr>
          <p:cNvPr id="3" name="Picture 8" descr="Chart, bar chart&#10;&#10;Description automatically generated">
            <a:extLst>
              <a:ext uri="{FF2B5EF4-FFF2-40B4-BE49-F238E27FC236}">
                <a16:creationId xmlns:a16="http://schemas.microsoft.com/office/drawing/2014/main" id="{E78D1940-ACA5-B09F-5619-8797478A3B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913" y="1728979"/>
            <a:ext cx="7300235" cy="4366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3324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34B41B2-5D57-7823-F22B-40C9F502BD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2497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834B41B2-5D57-7823-F22B-40C9F502BD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9" descr="Chart, pie chart&#10;&#10;Description automatically generated">
            <a:extLst>
              <a:ext uri="{FF2B5EF4-FFF2-40B4-BE49-F238E27FC236}">
                <a16:creationId xmlns:a16="http://schemas.microsoft.com/office/drawing/2014/main" id="{9668BD5F-DC63-9428-BCDC-D180123B88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913" y="1800321"/>
            <a:ext cx="10359695" cy="437188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BDD7A3D-4F52-3DE2-F933-8449D83DCF0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ntinents &amp; Regions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9A56F2-33FC-B13B-F824-5320C14683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lIns="91440" tIns="45720" rIns="91440" bIns="45720" anchor="b"/>
          <a:lstStyle/>
          <a:p>
            <a:r>
              <a:rPr lang="en-DE" sz="2800">
                <a:latin typeface="Bahnschrift"/>
                <a:ea typeface="Verdana"/>
              </a:rPr>
              <a:t>Analysis by Continent</a:t>
            </a:r>
            <a:endParaRPr lang="en-DE" sz="2800">
              <a:latin typeface="Bahnschrift" panose="020B0502040204020203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E62B09-B628-9390-D8F1-925831825F2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>
                <a:latin typeface="Verdana"/>
                <a:ea typeface="Verdana"/>
              </a:rPr>
              <a:t>Data from 2000 to 2022. Source: UN 2022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15DEF-BD86-6BAD-F618-0FCA1640781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17</a:t>
            </a:fld>
            <a:endParaRPr lang="de-DE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D833BF-6EC0-776C-5E18-9C96D0167D02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1396AF4-3FDF-FDB0-5EC0-E0CC39AFE9DA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CE9F8312-CA7B-DA68-95FE-848748A3D2DB}"/>
              </a:ext>
            </a:extLst>
          </p:cNvPr>
          <p:cNvSpPr txBox="1"/>
          <p:nvPr/>
        </p:nvSpPr>
        <p:spPr>
          <a:xfrm>
            <a:off x="9981127" y="1616381"/>
            <a:ext cx="1964094" cy="23698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1400">
                <a:cs typeface="Arial"/>
              </a:rPr>
              <a:t>While Europe and Oceania are somewhat proportional when it comes to their population and number of visitors, America and Asia are complete opposites, and Africa has a tiny proportion of population versus visitors</a:t>
            </a:r>
          </a:p>
        </p:txBody>
      </p:sp>
    </p:spTree>
    <p:extLst>
      <p:ext uri="{BB962C8B-B14F-4D97-AF65-F5344CB8AC3E}">
        <p14:creationId xmlns:p14="http://schemas.microsoft.com/office/powerpoint/2010/main" val="31723116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34B41B2-5D57-7823-F22B-40C9F502BD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834B41B2-5D57-7823-F22B-40C9F502BD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BDD7A3D-4F52-3DE2-F933-8449D83DCF0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ntinents &amp; Regions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9A56F2-33FC-B13B-F824-5320C14683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lIns="91440" tIns="45720" rIns="91440" bIns="45720" anchor="b"/>
          <a:lstStyle/>
          <a:p>
            <a:r>
              <a:rPr lang="en-DE" sz="2800">
                <a:latin typeface="Bahnschrift"/>
                <a:ea typeface="Verdana"/>
              </a:rPr>
              <a:t>Analysis by Continent</a:t>
            </a:r>
            <a:endParaRPr lang="en-DE" sz="2800">
              <a:latin typeface="Bahnschrift" panose="020B0502040204020203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E62B09-B628-9390-D8F1-925831825F2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>
                <a:latin typeface="Verdana"/>
                <a:ea typeface="Verdana"/>
              </a:rPr>
              <a:t>Data from 2000 to 2022. Source: UN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15DEF-BD86-6BAD-F618-0FCA1640781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18</a:t>
            </a:fld>
            <a:endParaRPr lang="de-DE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D833BF-6EC0-776C-5E18-9C96D0167D02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1396AF4-3FDF-FDB0-5EC0-E0CC39AFE9DA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3" name="Picture 8" descr="Chart, bar chart&#10;&#10;Description automatically generated">
            <a:extLst>
              <a:ext uri="{FF2B5EF4-FFF2-40B4-BE49-F238E27FC236}">
                <a16:creationId xmlns:a16="http://schemas.microsoft.com/office/drawing/2014/main" id="{9E2E92C8-B4E5-7ADD-BD5A-B6B84D3F6E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913" y="1800321"/>
            <a:ext cx="8792592" cy="437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2238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31BC650-3C84-A8BF-22D5-9BC8063E52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32922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5" imgW="7772400" imgH="10058400" progId="TCLayout.ActiveDocument.1">
                  <p:embed/>
                </p:oleObj>
              </mc:Choice>
              <mc:Fallback>
                <p:oleObj name="think-cell Slide" r:id="rId105" imgW="7772400" imgH="10058400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31BC650-3C84-A8BF-22D5-9BC8063E5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01BA18B-9FA0-D062-21C9-FBC484534BB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09C1E2-7367-D40E-29C2-54FEC9F45F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901634-7532-3902-6749-AB6CCA74B40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Correlating Influences 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B75CFF-8241-49EF-6927-1019D6AC996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Based on data from 2000 to 2021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6296648-C104-EBB8-4B29-4829A39AFA5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998" name="Chart 997">
            <a:extLst>
              <a:ext uri="{FF2B5EF4-FFF2-40B4-BE49-F238E27FC236}">
                <a16:creationId xmlns:a16="http://schemas.microsoft.com/office/drawing/2014/main" id="{005A4D09-490A-A6B8-8C50-415CDD55CCF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18756"/>
              </p:ext>
            </p:extLst>
          </p:nvPr>
        </p:nvGraphicFramePr>
        <p:xfrm>
          <a:off x="949325" y="2119313"/>
          <a:ext cx="2495550" cy="227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7"/>
          </a:graphicData>
        </a:graphic>
      </p:graphicFrame>
      <p:sp>
        <p:nvSpPr>
          <p:cNvPr id="815" name="Rectangle 814">
            <a:extLst>
              <a:ext uri="{FF2B5EF4-FFF2-40B4-BE49-F238E27FC236}">
                <a16:creationId xmlns:a16="http://schemas.microsoft.com/office/drawing/2014/main" id="{9DF742A1-3459-12CE-3F45-86BAE29F872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63588" y="3195639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A1600B-4E07-4CB2-9963-A1FF8E0D14B9}" type="datetime'''1''''''5''''''''''''''''''''''''''''''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54" name="Rectangle 453">
            <a:extLst>
              <a:ext uri="{FF2B5EF4-FFF2-40B4-BE49-F238E27FC236}">
                <a16:creationId xmlns:a16="http://schemas.microsoft.com/office/drawing/2014/main" id="{3ABC0024-C083-2ED1-83A5-A63BF4417B8C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996950" y="4413251"/>
            <a:ext cx="69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00DAB88-6556-4D4F-A883-88D4BE28CB6D}" type="datetime'''''''''''''''''''''''''''''''''''''''0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78480057-3273-2A41-B9B1-D2E35D63AD8F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806575" y="4413251"/>
            <a:ext cx="3143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sym typeface="Arial" panose="020B0604020202020204" pitchFamily="34" charset="0"/>
              </a:rPr>
              <a:t>2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1DC1D10B-51AF-5D0D-425B-CCE959E0637B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738438" y="4413251"/>
            <a:ext cx="3143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sym typeface="Arial" panose="020B0604020202020204" pitchFamily="34" charset="0"/>
              </a:rPr>
              <a:t>4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B0F08882-A5AE-9B59-E3CB-FB0419BF5275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205163" y="4413251"/>
            <a:ext cx="3143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sym typeface="Arial" panose="020B0604020202020204" pitchFamily="34" charset="0"/>
              </a:rPr>
              <a:t>5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E02997C6-131C-E4ED-8DBD-798E61891091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273300" y="4413251"/>
            <a:ext cx="3143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sym typeface="Arial" panose="020B0604020202020204" pitchFamily="34" charset="0"/>
              </a:rPr>
              <a:t>3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18" name="Rectangle 817">
            <a:extLst>
              <a:ext uri="{FF2B5EF4-FFF2-40B4-BE49-F238E27FC236}">
                <a16:creationId xmlns:a16="http://schemas.microsoft.com/office/drawing/2014/main" id="{2EC9920B-2FCF-B74B-6240-7F2FB3F59C6F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763588" y="2138364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5B8DBA-CADE-423D-A019-3200FC8C0F2D}" type="datetime'''''''''''3''''''''''''''''0''''''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17" name="Rectangle 816">
            <a:extLst>
              <a:ext uri="{FF2B5EF4-FFF2-40B4-BE49-F238E27FC236}">
                <a16:creationId xmlns:a16="http://schemas.microsoft.com/office/drawing/2014/main" id="{21B813B9-A70F-0CCD-09A9-7A93D5515F20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763588" y="2490789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43019AF-78A3-4257-A6D9-3E57977A2C0E}" type="datetime'''''''''''''''''''''''2''''''''''''''''5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8A1B8E35-8EA9-993B-FA5D-0E1B879CB025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833438" y="4251326"/>
            <a:ext cx="69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321880-79CD-4C66-ABFA-9572E16C27E6}" type="datetime'''''''''''''''''''''''''0'''''''''''''''''''''''''''''">
              <a:rPr lang="en-US" altLang="en-US" sz="1000" smtClean="0">
                <a:solidFill>
                  <a:schemeClr val="tx1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16" name="Rectangle 815">
            <a:extLst>
              <a:ext uri="{FF2B5EF4-FFF2-40B4-BE49-F238E27FC236}">
                <a16:creationId xmlns:a16="http://schemas.microsoft.com/office/drawing/2014/main" id="{23CF036E-452E-6C89-9D84-F81C3C949B4F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763588" y="2843214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CAA886-273A-495F-9517-3EF86B066182}" type="datetime'''''''''''''''''''''''2''''''''0''''''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14" name="Rectangle 813">
            <a:extLst>
              <a:ext uri="{FF2B5EF4-FFF2-40B4-BE49-F238E27FC236}">
                <a16:creationId xmlns:a16="http://schemas.microsoft.com/office/drawing/2014/main" id="{2B232039-2B6B-D36C-4ABE-178129F05307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763588" y="3546476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7B92B62-84A1-4EF9-9D77-77DB65262476}" type="datetime'''''''1''''''''''''''''''''''''''''''''''''''''''''0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55" name="Rectangle 454">
            <a:extLst>
              <a:ext uri="{FF2B5EF4-FFF2-40B4-BE49-F238E27FC236}">
                <a16:creationId xmlns:a16="http://schemas.microsoft.com/office/drawing/2014/main" id="{BDEF7E5E-AF2D-8440-3862-ABEF4445B469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1341438" y="4413251"/>
            <a:ext cx="3143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sym typeface="Arial" panose="020B0604020202020204" pitchFamily="34" charset="0"/>
              </a:rPr>
              <a:t>1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13" name="Rectangle 812">
            <a:extLst>
              <a:ext uri="{FF2B5EF4-FFF2-40B4-BE49-F238E27FC236}">
                <a16:creationId xmlns:a16="http://schemas.microsoft.com/office/drawing/2014/main" id="{580A7A29-8EB5-C753-1C54-8D478AC06BA2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833438" y="3898901"/>
            <a:ext cx="69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7EDB718-9BF4-4D6B-BFD7-F205942A20F4}" type="datetime'''''''''''''''''''''''''''''''''''''''''''''''''''''''''''5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7009260E-DA89-0D72-2021-657758A2AF78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H="1">
            <a:off x="996950" y="3771386"/>
            <a:ext cx="288926" cy="598457"/>
          </a:xfrm>
          <a:prstGeom prst="line">
            <a:avLst/>
          </a:prstGeom>
          <a:ln w="635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2" name="Straight Connector 821">
            <a:extLst>
              <a:ext uri="{FF2B5EF4-FFF2-40B4-BE49-F238E27FC236}">
                <a16:creationId xmlns:a16="http://schemas.microsoft.com/office/drawing/2014/main" id="{7605AC4E-BA30-89EF-E7CC-0F686F9AD831}"/>
              </a:ext>
            </a:extLst>
          </p:cNvPr>
          <p:cNvCxnSpPr>
            <a:cxnSpLocks/>
            <a:stCxn id="810" idx="1"/>
          </p:cNvCxnSpPr>
          <p:nvPr>
            <p:custDataLst>
              <p:tags r:id="rId17"/>
            </p:custDataLst>
          </p:nvPr>
        </p:nvCxnSpPr>
        <p:spPr bwMode="auto">
          <a:xfrm flipH="1">
            <a:off x="1493838" y="3741655"/>
            <a:ext cx="366712" cy="506495"/>
          </a:xfrm>
          <a:prstGeom prst="line">
            <a:avLst/>
          </a:prstGeom>
          <a:ln w="635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810" name="Rectangle 809">
            <a:extLst>
              <a:ext uri="{FF2B5EF4-FFF2-40B4-BE49-F238E27FC236}">
                <a16:creationId xmlns:a16="http://schemas.microsoft.com/office/drawing/2014/main" id="{35D18E38-4528-C822-4288-C8ABAD59E62F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860550" y="3684505"/>
            <a:ext cx="520700" cy="114299"/>
          </a:xfrm>
          <a:prstGeom prst="rect">
            <a:avLst/>
          </a:pr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</a:rPr>
              <a:t>Americas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11" name="Rectangle 810">
            <a:extLst>
              <a:ext uri="{FF2B5EF4-FFF2-40B4-BE49-F238E27FC236}">
                <a16:creationId xmlns:a16="http://schemas.microsoft.com/office/drawing/2014/main" id="{F81120B9-59CA-C82F-6845-94D8ADD4B168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1216025" y="2462213"/>
            <a:ext cx="295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5CB13C3-A8E4-4C67-BE87-F47BC82890DC}" type="datetime'''''''''''''''''''''''''''''''''''''U''''''S''''''''A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USA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6B2BC4-F43D-2820-FA93-E9067B085B6C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506141" y="4608330"/>
            <a:ext cx="1228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latin typeface="Arial"/>
                <a:cs typeface="Arial"/>
                <a:sym typeface="Arial" panose="020B0604020202020204" pitchFamily="34" charset="0"/>
              </a:rPr>
              <a:t>Average Population (Bn)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51676865-6A63-FDB2-01BE-A8039663284E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3038475" y="4149725"/>
            <a:ext cx="2809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C2A75F-5CC2-41DE-99A5-550FA0C27B94}" type="datetime'''''''''''''''''''''''''''''A''''''''''''''s''''''i''''''a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Asia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77BF9B6-8FDF-43CE-3D52-A43682AB7789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655637" y="4610554"/>
            <a:ext cx="4413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499000-6F79-47AF-836E-3FAA392ED5C7}" type="datetime'''''''''''E''''''''u''''''r''''o''''p''''''e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Europe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A5C2468F-4CD1-D0CE-8449-5B8321AAA353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2225675" y="3911510"/>
            <a:ext cx="358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DC649F2-4948-4857-A13F-D38B92847D1B}" type="datetime'''''''''Af''r''''''''''''''''''i''c''''''''''''''''a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Africa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66DC188-DA06-A1B8-4F5F-59B4DF04D553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1259021" y="3544376"/>
            <a:ext cx="504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A344AB-28D6-44FA-A5E3-412156E9D141}" type="datetime'''''''O''ce''''''''''a''''''n''''''i''''''''a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Oceania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2AC1B6D-D73A-07C3-8428-BF34F06908EA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09588" y="2400300"/>
            <a:ext cx="1524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verage Travelers (MM)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33" name="Chart 732">
            <a:extLst>
              <a:ext uri="{FF2B5EF4-FFF2-40B4-BE49-F238E27FC236}">
                <a16:creationId xmlns:a16="http://schemas.microsoft.com/office/drawing/2014/main" id="{DAFBDA4A-1465-2492-E2EB-797FE42BB33F}"/>
              </a:ext>
            </a:extLst>
          </p:cNvPr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247563349"/>
              </p:ext>
            </p:extLst>
          </p:nvPr>
        </p:nvGraphicFramePr>
        <p:xfrm>
          <a:off x="4779963" y="2119313"/>
          <a:ext cx="2495550" cy="227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8"/>
          </a:graphicData>
        </a:graphic>
      </p:graphicFrame>
      <p:sp>
        <p:nvSpPr>
          <p:cNvPr id="480" name="Rectangle 479">
            <a:extLst>
              <a:ext uri="{FF2B5EF4-FFF2-40B4-BE49-F238E27FC236}">
                <a16:creationId xmlns:a16="http://schemas.microsoft.com/office/drawing/2014/main" id="{F3B404AF-B747-35AF-1FFA-B7C7043E03BC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4664075" y="4251326"/>
            <a:ext cx="69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396D000-44D9-4181-8906-1DF5C2CDB2E9}" type="datetime'''''''''''''''''''''''''''''''''''''''''''''0'''''">
              <a:rPr lang="en-US" altLang="en-US" sz="1000" smtClean="0">
                <a:solidFill>
                  <a:schemeClr val="tx1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3" name="Rectangle 512">
            <a:extLst>
              <a:ext uri="{FF2B5EF4-FFF2-40B4-BE49-F238E27FC236}">
                <a16:creationId xmlns:a16="http://schemas.microsoft.com/office/drawing/2014/main" id="{7EA0ECA5-100E-2138-D25F-EF10B536A1CF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7123113" y="4413251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23E99A-AC75-4FD5-B516-54E9844FB215}" type="datetime'''''''''1''''''''''''''''''5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4" name="Rectangle 723">
            <a:extLst>
              <a:ext uri="{FF2B5EF4-FFF2-40B4-BE49-F238E27FC236}">
                <a16:creationId xmlns:a16="http://schemas.microsoft.com/office/drawing/2014/main" id="{FDA5D092-F918-7C84-99E3-2982BE9C4EB3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4594225" y="3546476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FB8D8E-E0B0-4D60-8D2C-3ACB3E71D192}" type="datetime'''''''''''''''''1''''''''''''0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725" name="Rectangle 724">
            <a:extLst>
              <a:ext uri="{FF2B5EF4-FFF2-40B4-BE49-F238E27FC236}">
                <a16:creationId xmlns:a16="http://schemas.microsoft.com/office/drawing/2014/main" id="{EDFFA10E-E79D-DEFF-DA92-8BAFB7F14475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4594225" y="3195639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DCB5D9D-0B5E-421B-A612-3C75E3159744}" type="datetime'''''''''''''''15''''''''''''''''''''''''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86D3C26D-3A28-B7FB-5123-131D53CCAFFC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5603875" y="4413251"/>
            <a:ext cx="69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DBF6FA-8C3A-4F23-B189-E838BB90F9EB}" type="datetime'''''''''''''''''''''''''''''''''''''''5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7" name="Rectangle 726">
            <a:extLst>
              <a:ext uri="{FF2B5EF4-FFF2-40B4-BE49-F238E27FC236}">
                <a16:creationId xmlns:a16="http://schemas.microsoft.com/office/drawing/2014/main" id="{717866F2-C1FB-C4CA-3E6E-5F15AF79759D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4594225" y="2490789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09A8382-3AFC-4D6D-9C35-E2456C2A1C7A}" type="datetime'''''''''''''''''''''''''''''''''''''2''''''''''''''''''5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728" name="Rectangle 727">
            <a:extLst>
              <a:ext uri="{FF2B5EF4-FFF2-40B4-BE49-F238E27FC236}">
                <a16:creationId xmlns:a16="http://schemas.microsoft.com/office/drawing/2014/main" id="{58539020-7A72-320F-C941-DA907FA1E810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4594225" y="2138364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3CA2B2A-A35F-4AC5-9C28-14F55DB4714C}" type="datetime'''''''''''''''''''''3''''''''''''''''''''0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0C241593-CDAF-AACD-6F14-B18B62BFB6AF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4827588" y="4413251"/>
            <a:ext cx="69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435C6E9-1180-451A-9ED3-86906CF8241B}" type="datetime'''''''''''''''''''''''0''''''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6" name="Rectangle 725">
            <a:extLst>
              <a:ext uri="{FF2B5EF4-FFF2-40B4-BE49-F238E27FC236}">
                <a16:creationId xmlns:a16="http://schemas.microsoft.com/office/drawing/2014/main" id="{B501AD2E-0BFD-613F-4DA9-FA28FEBFCC6B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4594225" y="2843214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0887595-08BF-4538-8820-3E9A2DF610C4}" type="datetime'''''''''''''''''2''''''''''''''''''0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723" name="Rectangle 722">
            <a:extLst>
              <a:ext uri="{FF2B5EF4-FFF2-40B4-BE49-F238E27FC236}">
                <a16:creationId xmlns:a16="http://schemas.microsoft.com/office/drawing/2014/main" id="{213530B8-7B69-F16C-2D06-BEE841BC80B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4664075" y="3898901"/>
            <a:ext cx="69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411B2C0-15BF-4CDE-B193-4DB80207C268}" type="datetime'''''''''''''''''''''''''''''''''''''''''''''''5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512" name="Rectangle 511">
            <a:extLst>
              <a:ext uri="{FF2B5EF4-FFF2-40B4-BE49-F238E27FC236}">
                <a16:creationId xmlns:a16="http://schemas.microsoft.com/office/drawing/2014/main" id="{66DDBDCD-D74D-F7E3-3908-3C7C64128EE1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6346825" y="4413251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0F7F819-893A-4E0E-9371-CDB1FDAC239A}" type="datetime'1''''''''''''''''''''''''''''''''0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31" name="Straight Connector 730">
            <a:extLst>
              <a:ext uri="{FF2B5EF4-FFF2-40B4-BE49-F238E27FC236}">
                <a16:creationId xmlns:a16="http://schemas.microsoft.com/office/drawing/2014/main" id="{D1FB16BB-DB94-F6A6-FBB7-9E2916D36F03}"/>
              </a:ext>
            </a:extLst>
          </p:cNvPr>
          <p:cNvCxnSpPr>
            <a:cxnSpLocks/>
            <a:stCxn id="197" idx="2"/>
          </p:cNvCxnSpPr>
          <p:nvPr>
            <p:custDataLst>
              <p:tags r:id="rId38"/>
            </p:custDataLst>
          </p:nvPr>
        </p:nvCxnSpPr>
        <p:spPr bwMode="auto">
          <a:xfrm>
            <a:off x="6870701" y="3788038"/>
            <a:ext cx="169862" cy="477575"/>
          </a:xfrm>
          <a:prstGeom prst="line">
            <a:avLst/>
          </a:prstGeom>
          <a:ln w="635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2" name="Straight Connector 731">
            <a:extLst>
              <a:ext uri="{FF2B5EF4-FFF2-40B4-BE49-F238E27FC236}">
                <a16:creationId xmlns:a16="http://schemas.microsoft.com/office/drawing/2014/main" id="{9D2A3E45-DD94-21D2-D901-F48D4D96987D}"/>
              </a:ext>
            </a:extLst>
          </p:cNvPr>
          <p:cNvCxnSpPr>
            <a:cxnSpLocks/>
            <a:stCxn id="720" idx="2"/>
          </p:cNvCxnSpPr>
          <p:nvPr>
            <p:custDataLst>
              <p:tags r:id="rId39"/>
            </p:custDataLst>
          </p:nvPr>
        </p:nvCxnSpPr>
        <p:spPr bwMode="auto">
          <a:xfrm>
            <a:off x="5231412" y="4209028"/>
            <a:ext cx="605826" cy="49387"/>
          </a:xfrm>
          <a:prstGeom prst="line">
            <a:avLst/>
          </a:prstGeom>
          <a:ln w="635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Rectangle 196">
            <a:extLst>
              <a:ext uri="{FF2B5EF4-FFF2-40B4-BE49-F238E27FC236}">
                <a16:creationId xmlns:a16="http://schemas.microsoft.com/office/drawing/2014/main" id="{0B9CF22E-D322-5FD9-2EC4-16CDBA3B4441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6618288" y="3651513"/>
            <a:ext cx="504825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C42D5D-B463-4EF1-91A5-45B96CA05AAE}" type="datetime'''''''''O''''''ce''''''''''''''''''''''''''a''ni''''''''a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Oceania</a:t>
            </a:fld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99" name="Rectangle 198">
            <a:extLst>
              <a:ext uri="{FF2B5EF4-FFF2-40B4-BE49-F238E27FC236}">
                <a16:creationId xmlns:a16="http://schemas.microsoft.com/office/drawing/2014/main" id="{C2647A23-3944-2E48-A0B7-80164F38B5CD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5182522" y="3634861"/>
            <a:ext cx="441325" cy="136525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120309-1615-422A-9193-C6AA94D4CD06}" type="datetime'E''''''''''''u''''''''''''''''r''''''''''''''op''''''e''''''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Europe</a:t>
            </a:fld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1" name="Rectangle 720">
            <a:extLst>
              <a:ext uri="{FF2B5EF4-FFF2-40B4-BE49-F238E27FC236}">
                <a16:creationId xmlns:a16="http://schemas.microsoft.com/office/drawing/2014/main" id="{268FC5F8-522A-14D4-ED2B-DE1ECB025F0E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4992688" y="2462213"/>
            <a:ext cx="295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10339D3-6D74-4747-986B-79E3FA40DFB3}" type="datetime'U''''''''''''''''''''''''''''''''''''''S''''''''''''A'''">
              <a:rPr lang="en-US" altLang="en-US" sz="1000" smtClean="0">
                <a:solidFill>
                  <a:schemeClr val="tx1"/>
                </a:solidFill>
                <a:effectLst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USA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0C5D58BB-A65C-1319-9FA9-A111269ECBF6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4322762" y="2394680"/>
            <a:ext cx="1524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verage Travelers (MM)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201" name="Rectangle 200">
            <a:extLst>
              <a:ext uri="{FF2B5EF4-FFF2-40B4-BE49-F238E27FC236}">
                <a16:creationId xmlns:a16="http://schemas.microsoft.com/office/drawing/2014/main" id="{D0812E38-082E-C56E-0570-11550BC44C96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6346825" y="3816875"/>
            <a:ext cx="358775" cy="136525"/>
          </a:xfrm>
          <a:prstGeom prst="rect">
            <a:avLst/>
          </a:pr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4B82A4-0D11-4A93-A805-7C5983343734}" type="datetime'''''''''''''''Afr''''''i''''''''''''c''''''''''''a''''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Africa</a:t>
            </a:fld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600F12AE-AC5E-25D9-7905-86A4BC4A0CBD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6027738" y="4168775"/>
            <a:ext cx="2809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890C2B-CEE6-4554-A049-E8EE3115AE71}" type="datetime'''''''''''''''''''''''''A''''s''''''''''''''''''i''''''a''''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Asia</a:t>
            </a:fld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720" name="Rectangle 719">
            <a:extLst>
              <a:ext uri="{FF2B5EF4-FFF2-40B4-BE49-F238E27FC236}">
                <a16:creationId xmlns:a16="http://schemas.microsoft.com/office/drawing/2014/main" id="{FB30818D-9DAF-73E4-7BBB-03732C1A36F9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4958758" y="4090421"/>
            <a:ext cx="545307" cy="118607"/>
          </a:xfrm>
          <a:prstGeom prst="rect">
            <a:avLst/>
          </a:pr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effectLst/>
              </a:rPr>
              <a:t>America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10E60917-FE40-B308-9CD1-EC77D986EC4F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5207000" y="4651375"/>
            <a:ext cx="1641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8CC9EE9-588A-4327-B8DD-8BD3F5F97D5F}" type="datetime'A''''V''''''''G'''' Di''sta''n''ce'''' t''''''''o Can''a''da'">
              <a:rPr lang="en-US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VG Distance to Canada</a:t>
            </a:fld>
            <a:r>
              <a:rPr lang="en-US" altLang="en-US" sz="1000">
                <a:solidFill>
                  <a:schemeClr val="tx1"/>
                </a:solidFill>
              </a:rPr>
              <a:t> in k</a:t>
            </a:r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465A01BA-7FE1-A6FB-38B1-C9700C9FEFBD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9250363" y="4314825"/>
            <a:ext cx="0" cy="42863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73ADF611-49FD-A675-053F-0C73DCC6C3D1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10290175" y="4314825"/>
            <a:ext cx="0" cy="42863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2" name="Straight Connector 841">
            <a:extLst>
              <a:ext uri="{FF2B5EF4-FFF2-40B4-BE49-F238E27FC236}">
                <a16:creationId xmlns:a16="http://schemas.microsoft.com/office/drawing/2014/main" id="{606129EF-236D-3B2E-A5AB-B1710B6B5A6C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10029825" y="4314825"/>
            <a:ext cx="0" cy="42863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5FDFF26E-A198-468B-2E3C-DF8C0259DDCA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H="1">
            <a:off x="8686800" y="2201863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8F2ACE9E-EF98-D58E-D0DB-534968BE0DB1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 flipH="1">
            <a:off x="8686800" y="3127375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2" name="Straight Connector 861">
            <a:extLst>
              <a:ext uri="{FF2B5EF4-FFF2-40B4-BE49-F238E27FC236}">
                <a16:creationId xmlns:a16="http://schemas.microsoft.com/office/drawing/2014/main" id="{91F7F145-EB97-E093-431E-3A1337DF1A61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H="1">
            <a:off x="8686800" y="2732088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0" name="Straight Connector 839">
            <a:extLst>
              <a:ext uri="{FF2B5EF4-FFF2-40B4-BE49-F238E27FC236}">
                <a16:creationId xmlns:a16="http://schemas.microsoft.com/office/drawing/2014/main" id="{C175410E-6866-56FD-1D8E-794F67D6D8A0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9510713" y="4314825"/>
            <a:ext cx="0" cy="42863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9" name="Straight Connector 858">
            <a:extLst>
              <a:ext uri="{FF2B5EF4-FFF2-40B4-BE49-F238E27FC236}">
                <a16:creationId xmlns:a16="http://schemas.microsoft.com/office/drawing/2014/main" id="{EBE3DC68-8A85-4920-136A-D5F04E95B220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H="1">
            <a:off x="8686800" y="3919538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3025A005-2B96-7DC0-AEB8-CB8E25B69B85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11060113" y="4314825"/>
            <a:ext cx="0" cy="42863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8" name="Straight Connector 837">
            <a:extLst>
              <a:ext uri="{FF2B5EF4-FFF2-40B4-BE49-F238E27FC236}">
                <a16:creationId xmlns:a16="http://schemas.microsoft.com/office/drawing/2014/main" id="{818812C7-381B-387D-387A-8DDE59E961EB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8990013" y="4314825"/>
            <a:ext cx="0" cy="42863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35269F4-C1F9-ED6A-C808-8E402CD941CA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H="1">
            <a:off x="8686800" y="4314825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4" name="Straight Connector 843">
            <a:extLst>
              <a:ext uri="{FF2B5EF4-FFF2-40B4-BE49-F238E27FC236}">
                <a16:creationId xmlns:a16="http://schemas.microsoft.com/office/drawing/2014/main" id="{779FC3D0-B489-60B3-1C4E-4E527824A986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10550525" y="4314825"/>
            <a:ext cx="0" cy="42863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0" name="Straight Connector 859">
            <a:extLst>
              <a:ext uri="{FF2B5EF4-FFF2-40B4-BE49-F238E27FC236}">
                <a16:creationId xmlns:a16="http://schemas.microsoft.com/office/drawing/2014/main" id="{B1E46648-89EF-4CAE-7F3C-66CCE3635475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H="1">
            <a:off x="8686800" y="3524250"/>
            <a:ext cx="42863" cy="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1" name="Straight Connector 840">
            <a:extLst>
              <a:ext uri="{FF2B5EF4-FFF2-40B4-BE49-F238E27FC236}">
                <a16:creationId xmlns:a16="http://schemas.microsoft.com/office/drawing/2014/main" id="{20C5D0C8-B265-90C6-9184-CED7F1DB723E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9771063" y="4314825"/>
            <a:ext cx="0" cy="42863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116E7CB5-196E-CF56-3334-2DBCDFDAC136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8729663" y="4314825"/>
            <a:ext cx="0" cy="42863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82" name="Chart 881">
            <a:extLst>
              <a:ext uri="{FF2B5EF4-FFF2-40B4-BE49-F238E27FC236}">
                <a16:creationId xmlns:a16="http://schemas.microsoft.com/office/drawing/2014/main" id="{E51AF77C-BCE1-03A6-A126-C13281024BB8}"/>
              </a:ext>
            </a:extLst>
          </p:cNvPr>
          <p:cNvGraphicFramePr/>
          <p:nvPr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63832914"/>
              </p:ext>
            </p:extLst>
          </p:nvPr>
        </p:nvGraphicFramePr>
        <p:xfrm>
          <a:off x="8647113" y="2119313"/>
          <a:ext cx="2495550" cy="227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9"/>
          </a:graphicData>
        </a:graphic>
      </p:graphicFrame>
      <p:sp>
        <p:nvSpPr>
          <p:cNvPr id="834" name="Rectangle 833">
            <a:extLst>
              <a:ext uri="{FF2B5EF4-FFF2-40B4-BE49-F238E27FC236}">
                <a16:creationId xmlns:a16="http://schemas.microsoft.com/office/drawing/2014/main" id="{669DC2CC-21F5-F70B-9E1C-01732C1F5760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10480675" y="4413251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7EF6E78-7978-402F-B4E9-60F5587221E2}" type="datetime'3''''''''''''''''''5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57" name="Rectangle 856">
            <a:extLst>
              <a:ext uri="{FF2B5EF4-FFF2-40B4-BE49-F238E27FC236}">
                <a16:creationId xmlns:a16="http://schemas.microsoft.com/office/drawing/2014/main" id="{9A1BD233-6E0B-8F88-97FE-BAA9ACEC1EB4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8356600" y="2138364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t>25.5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28" name="Rectangle 827">
            <a:extLst>
              <a:ext uri="{FF2B5EF4-FFF2-40B4-BE49-F238E27FC236}">
                <a16:creationId xmlns:a16="http://schemas.microsoft.com/office/drawing/2014/main" id="{C0E474A2-80F7-15B0-1643-AFDC80C6DC22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8955088" y="4413251"/>
            <a:ext cx="69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4B6924F-A468-4649-97B7-8F8CADB80733}" type="datetime'5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30" name="Rectangle 829">
            <a:extLst>
              <a:ext uri="{FF2B5EF4-FFF2-40B4-BE49-F238E27FC236}">
                <a16:creationId xmlns:a16="http://schemas.microsoft.com/office/drawing/2014/main" id="{83C0DEE8-BDA5-6479-6C47-00870997F00F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9440863" y="4413251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10B09FE-0911-4065-BD4C-EA5C9C1C3848}" type="datetime'''''''''''''''''''''''''''1''''''''''5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15864351-0DAA-E18A-D298-973068F6BE6B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8426450" y="425132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</a:rPr>
              <a:t>0</a:t>
            </a:r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3" name="Rectangle 852">
            <a:extLst>
              <a:ext uri="{FF2B5EF4-FFF2-40B4-BE49-F238E27FC236}">
                <a16:creationId xmlns:a16="http://schemas.microsoft.com/office/drawing/2014/main" id="{5D10E0BE-59B9-6416-0974-F82FD7B4AA53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8426450" y="3856039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t>0.5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56" name="Rectangle 855">
            <a:extLst>
              <a:ext uri="{FF2B5EF4-FFF2-40B4-BE49-F238E27FC236}">
                <a16:creationId xmlns:a16="http://schemas.microsoft.com/office/drawing/2014/main" id="{D1419DD8-CE5D-E097-53A6-98C7824F3AA3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8426450" y="2668589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t>2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55" name="Rectangle 854">
            <a:extLst>
              <a:ext uri="{FF2B5EF4-FFF2-40B4-BE49-F238E27FC236}">
                <a16:creationId xmlns:a16="http://schemas.microsoft.com/office/drawing/2014/main" id="{1E51611C-3455-16C1-39BE-A7C24EC67F60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8426450" y="306387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t>1.5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33" name="Rectangle 832">
            <a:extLst>
              <a:ext uri="{FF2B5EF4-FFF2-40B4-BE49-F238E27FC236}">
                <a16:creationId xmlns:a16="http://schemas.microsoft.com/office/drawing/2014/main" id="{A39D8909-D5C1-8930-882C-1D6A12683A3C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10220325" y="4413251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A325B5-8FDF-4D22-A115-E711AE4D063B}" type="datetime'''''''''''''''''3''''''''''''''''''''''''''''''0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522" name="Rectangle 521">
            <a:extLst>
              <a:ext uri="{FF2B5EF4-FFF2-40B4-BE49-F238E27FC236}">
                <a16:creationId xmlns:a16="http://schemas.microsoft.com/office/drawing/2014/main" id="{39D61B6A-D1B8-F137-5D59-FC6C6C2E193C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8694738" y="4413251"/>
            <a:ext cx="69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F5A7AD7-1C39-404B-8A6A-547420D7CBCE}" type="datetime'''''''''''''''''''''''''''''0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1" name="Rectangle 830">
            <a:extLst>
              <a:ext uri="{FF2B5EF4-FFF2-40B4-BE49-F238E27FC236}">
                <a16:creationId xmlns:a16="http://schemas.microsoft.com/office/drawing/2014/main" id="{6C341CC0-B83E-C13A-3459-D6F3D82A5E91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9701213" y="4413251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19B184-7601-49A8-AAF9-9C48F4789425}" type="datetime'2''''''''''''''''''''''''0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32" name="Rectangle 831">
            <a:extLst>
              <a:ext uri="{FF2B5EF4-FFF2-40B4-BE49-F238E27FC236}">
                <a16:creationId xmlns:a16="http://schemas.microsoft.com/office/drawing/2014/main" id="{B455F888-4049-F811-CCAD-8F99B10A5260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9959975" y="4413251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7FA8D41-BABF-4192-A6E0-AAB82AA7DCC3}" type="datetime'2''''''''''''''''''''''''''''''''''''5''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54" name="Rectangle 853">
            <a:extLst>
              <a:ext uri="{FF2B5EF4-FFF2-40B4-BE49-F238E27FC236}">
                <a16:creationId xmlns:a16="http://schemas.microsoft.com/office/drawing/2014/main" id="{61D00A93-932B-D633-083F-C00C836E683A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8426450" y="3460751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t>1</a:t>
            </a:r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29" name="Rectangle 828">
            <a:extLst>
              <a:ext uri="{FF2B5EF4-FFF2-40B4-BE49-F238E27FC236}">
                <a16:creationId xmlns:a16="http://schemas.microsoft.com/office/drawing/2014/main" id="{9F2956C0-FB62-81C0-59F0-B34F28D5AE2E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9180513" y="4413251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2DD742-DBBF-4DC8-8C2D-822FF43D9677}" type="datetime'''''''''''''''''''''''''''''''''''1''''0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35" name="Rectangle 834">
            <a:extLst>
              <a:ext uri="{FF2B5EF4-FFF2-40B4-BE49-F238E27FC236}">
                <a16:creationId xmlns:a16="http://schemas.microsoft.com/office/drawing/2014/main" id="{A0054590-E0FA-0C21-D8C3-A66264DFCCEB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10868025" y="4413251"/>
            <a:ext cx="384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8CE0B0A-AD63-4674-8C86-E3BE8DB4FC53}" type="datetime'''''''''''6''''''''''''''''''''9''''.2''''''''''90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9.290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cxnSp>
        <p:nvCxnSpPr>
          <p:cNvPr id="836" name="Straight Connector 835">
            <a:extLst>
              <a:ext uri="{FF2B5EF4-FFF2-40B4-BE49-F238E27FC236}">
                <a16:creationId xmlns:a16="http://schemas.microsoft.com/office/drawing/2014/main" id="{AAE44F7C-6C2B-56F2-A393-FFD74921A02D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 flipV="1">
            <a:off x="8799513" y="2333625"/>
            <a:ext cx="2130425" cy="1255713"/>
          </a:xfrm>
          <a:prstGeom prst="line">
            <a:avLst/>
          </a:prstGeom>
          <a:ln w="12700" cap="sq" cmpd="sng" algn="ctr">
            <a:solidFill>
              <a:srgbClr val="E6251D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852" name="Freeform 851">
            <a:extLst>
              <a:ext uri="{FF2B5EF4-FFF2-40B4-BE49-F238E27FC236}">
                <a16:creationId xmlns:a16="http://schemas.microsoft.com/office/drawing/2014/main" id="{5F770BE4-A983-C5DC-1937-16556107C04E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8656638" y="235108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851" name="Freeform 850">
            <a:extLst>
              <a:ext uri="{FF2B5EF4-FFF2-40B4-BE49-F238E27FC236}">
                <a16:creationId xmlns:a16="http://schemas.microsoft.com/office/drawing/2014/main" id="{6956C998-1C59-B11D-B824-F2C418F34883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8656638" y="24082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0" name="Freeform 849">
            <a:extLst>
              <a:ext uri="{FF2B5EF4-FFF2-40B4-BE49-F238E27FC236}">
                <a16:creationId xmlns:a16="http://schemas.microsoft.com/office/drawing/2014/main" id="{98824067-8457-9337-D962-68AABC934B59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8656638" y="23510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827" name="Freeform 826">
            <a:extLst>
              <a:ext uri="{FF2B5EF4-FFF2-40B4-BE49-F238E27FC236}">
                <a16:creationId xmlns:a16="http://schemas.microsoft.com/office/drawing/2014/main" id="{DB025A06-D873-BA1E-769D-76A6AAA59D0E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10817225" y="42418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825" name="Freeform 824">
            <a:extLst>
              <a:ext uri="{FF2B5EF4-FFF2-40B4-BE49-F238E27FC236}">
                <a16:creationId xmlns:a16="http://schemas.microsoft.com/office/drawing/2014/main" id="{DDED4133-49FA-E8D4-BD8A-F4F6E0E450F9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10817225" y="42418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6" name="Freeform 825">
            <a:extLst>
              <a:ext uri="{FF2B5EF4-FFF2-40B4-BE49-F238E27FC236}">
                <a16:creationId xmlns:a16="http://schemas.microsoft.com/office/drawing/2014/main" id="{D6FA0944-B3FB-0677-507B-4E5D08D4DDC7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10874375" y="42418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E4D4EFB6-E4B2-B13C-FFC3-957D8CCCCABF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10201275" y="4024313"/>
            <a:ext cx="504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9869AC5-90AD-49C4-9625-5CF88A254352}" type="datetime'''''O''''''''c''e''''a''''''''''''''n''''''''ia''''''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Oceania</a:t>
            </a:fld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69164B6F-18D6-6BB9-95EE-A092447EFAA6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9182100" y="4651375"/>
            <a:ext cx="1425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CF1ED6-D1A7-4274-A11E-68D8BDA2FB22}" type="datetime'A''VG'''' G''''''''D''''''''P'''' pe''r'' Cap''''''''i''''ta'">
              <a:rPr lang="en-US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VG GDP per Capita</a:t>
            </a:fld>
            <a:r>
              <a:rPr lang="en-US" altLang="en-US" sz="1000">
                <a:solidFill>
                  <a:schemeClr val="tx1"/>
                </a:solidFill>
              </a:rPr>
              <a:t> in k</a:t>
            </a:r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1786186A-D6AA-58E6-3A22-18B31A1D8542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8102600" y="2400299"/>
            <a:ext cx="1524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221949-6AD1-4E51-A04B-499D763BFC68}" type="datetime'''A''''V''''''''G T''r''a''velor'''' to C''an''a''''''''''da'">
              <a:rPr lang="en-US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VG Travelor to Canada</a:t>
            </a:fld>
            <a:r>
              <a:rPr lang="en-US" altLang="en-US" sz="1000">
                <a:solidFill>
                  <a:schemeClr val="tx1"/>
                </a:solidFill>
              </a:rPr>
              <a:t> in mil</a:t>
            </a:r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AFADD62C-B706-1BE1-224A-F8F9EBB092AB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8851900" y="4167188"/>
            <a:ext cx="358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DA4811C-0663-414D-A8D9-1A127C6104DC}" type="datetime'A''''''''''''''''fr''''''''''i''''ca''''''''''''''''''''''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Africa</a:t>
            </a:fld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759" name="Rectangle 758">
            <a:extLst>
              <a:ext uri="{FF2B5EF4-FFF2-40B4-BE49-F238E27FC236}">
                <a16:creationId xmlns:a16="http://schemas.microsoft.com/office/drawing/2014/main" id="{3329E0D7-1D77-CD3C-EBBC-F869B1EC10F9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10582275" y="2265363"/>
            <a:ext cx="295275" cy="136525"/>
          </a:xfrm>
          <a:prstGeom prst="rect">
            <a:avLst/>
          </a:pr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F071EC-DB5C-45FF-930C-06564082AF8D}" type="datetime'U''S''''A''''''''''''''''''''''''''''''''''''''''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USA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D88B42CE-D34D-0CC1-9CA5-5741ECA87825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9880600" y="2395538"/>
            <a:ext cx="4413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3B4E52F-8147-4755-8FB5-F5DC405AC141}" type="datetime'''''''''E''''u''''''''''''''''''''''r''''''''''''o''''p''''e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Europe</a:t>
            </a:fld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0A0778E1-7336-E6C1-37A4-77C72B504B55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9034463" y="3167063"/>
            <a:ext cx="280988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4EBCA93-FA97-4FA5-BFDB-4FC15C7A720B}" type="datetime'As''''''i''''''''''a''''''''''''''''''''''''''''''''''''''''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Asia</a:t>
            </a:fld>
            <a:endParaRPr lang="en-US" sz="100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8" name="Rectangle 757">
            <a:extLst>
              <a:ext uri="{FF2B5EF4-FFF2-40B4-BE49-F238E27FC236}">
                <a16:creationId xmlns:a16="http://schemas.microsoft.com/office/drawing/2014/main" id="{38869A09-D482-DC07-C6BB-F952131C5F98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9656763" y="3811588"/>
            <a:ext cx="1090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1BF083-F1FC-4561-9001-0C568D609744}" type="datetime'''''Am''''''eric''''''a'' ''e''xc''l''''''''''''.'' ''''USA'">
              <a:rPr lang="en-US" altLang="en-US" sz="10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America excl. USA</a:t>
            </a:fld>
            <a:endParaRPr lang="en-US" sz="100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CD61A87E-A3DF-1472-BE32-3048D0AB2CD2}"/>
              </a:ext>
            </a:extLst>
          </p:cNvPr>
          <p:cNvSpPr txBox="1"/>
          <p:nvPr/>
        </p:nvSpPr>
        <p:spPr>
          <a:xfrm>
            <a:off x="533401" y="4943839"/>
            <a:ext cx="3462337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200"/>
              <a:t>Medium </a:t>
            </a:r>
            <a:r>
              <a:rPr lang="en-US" sz="1200" b="1"/>
              <a:t>negative</a:t>
            </a:r>
            <a:r>
              <a:rPr lang="en-US" sz="1200"/>
              <a:t> Correlation</a:t>
            </a:r>
          </a:p>
          <a:p>
            <a:pPr>
              <a:spcAft>
                <a:spcPts val="600"/>
              </a:spcAft>
              <a:buSzPct val="100000"/>
            </a:pPr>
            <a:r>
              <a:rPr lang="en-US" sz="1200">
                <a:cs typeface="Arial"/>
              </a:rPr>
              <a:t>While Europe and Oceania are somewhat proportional when it comes to their population and number of visitors, America and Asia are complete opposites, and Africa has a tiny proportion of population versus visitors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7F769EEE-5490-ECEB-F96D-48B6BA0790AE}"/>
              </a:ext>
            </a:extLst>
          </p:cNvPr>
          <p:cNvSpPr txBox="1"/>
          <p:nvPr/>
        </p:nvSpPr>
        <p:spPr>
          <a:xfrm>
            <a:off x="4363638" y="4943839"/>
            <a:ext cx="3462337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200"/>
              <a:t>Strong </a:t>
            </a:r>
            <a:r>
              <a:rPr lang="en-US" sz="1200" b="1"/>
              <a:t>negative</a:t>
            </a:r>
            <a:r>
              <a:rPr lang="en-US" sz="1200"/>
              <a:t> Correlation</a:t>
            </a:r>
          </a:p>
          <a:p>
            <a:pPr>
              <a:spcAft>
                <a:spcPts val="600"/>
              </a:spcAft>
              <a:buSzPct val="100000"/>
            </a:pPr>
            <a:r>
              <a:rPr lang="en-US" sz="1200">
                <a:ea typeface="+mn-lt"/>
                <a:cs typeface="+mn-lt"/>
              </a:rPr>
              <a:t>Overall relationship can be observed between distance and visitors amount, with the American continent having a large increase due to the U.S.</a:t>
            </a:r>
            <a:endParaRPr lang="en-US" sz="1200">
              <a:cs typeface="Arial"/>
            </a:endParaRP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7ECF5716-10CB-9DF5-75C1-AAB7B3F7D438}"/>
              </a:ext>
            </a:extLst>
          </p:cNvPr>
          <p:cNvSpPr txBox="1"/>
          <p:nvPr/>
        </p:nvSpPr>
        <p:spPr>
          <a:xfrm>
            <a:off x="8196263" y="4943839"/>
            <a:ext cx="3462337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200"/>
              <a:t>Strong </a:t>
            </a:r>
            <a:r>
              <a:rPr lang="en-US" sz="1200" b="1"/>
              <a:t>positive</a:t>
            </a:r>
            <a:r>
              <a:rPr lang="en-US" sz="1200"/>
              <a:t> Correlation</a:t>
            </a:r>
          </a:p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200"/>
              <a:t>The average of the continents can’t be compared to one country. The Influence of The USA on the correlation is therefore very strong.</a:t>
            </a:r>
          </a:p>
        </p:txBody>
      </p: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52808CB8-BF46-9C07-4DA4-A498B7F9DBB8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20F74678-9F81-B791-DD0C-C8D40CCA9E32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355" name="ee4pHeader1">
            <a:extLst>
              <a:ext uri="{FF2B5EF4-FFF2-40B4-BE49-F238E27FC236}">
                <a16:creationId xmlns:a16="http://schemas.microsoft.com/office/drawing/2014/main" id="{81EB648B-DE43-C0BD-8EE3-8CEFA8C208B7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1031435" y="1800321"/>
            <a:ext cx="246627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G Population</a:t>
            </a:r>
          </a:p>
        </p:txBody>
      </p:sp>
      <p:sp>
        <p:nvSpPr>
          <p:cNvPr id="356" name="ee4pHeader1">
            <a:extLst>
              <a:ext uri="{FF2B5EF4-FFF2-40B4-BE49-F238E27FC236}">
                <a16:creationId xmlns:a16="http://schemas.microsoft.com/office/drawing/2014/main" id="{E085A9F8-E066-9125-30F4-897C8187518B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442913" y="4900431"/>
            <a:ext cx="3643314" cy="1271756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400" spc="3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9" name="ee4pHeader1">
            <a:extLst>
              <a:ext uri="{FF2B5EF4-FFF2-40B4-BE49-F238E27FC236}">
                <a16:creationId xmlns:a16="http://schemas.microsoft.com/office/drawing/2014/main" id="{60A7F39B-8945-6F8C-4B04-7E7CA51742FA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4862866" y="1800321"/>
            <a:ext cx="246627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G Distance</a:t>
            </a:r>
          </a:p>
        </p:txBody>
      </p:sp>
      <p:sp>
        <p:nvSpPr>
          <p:cNvPr id="360" name="ee4pHeader1">
            <a:extLst>
              <a:ext uri="{FF2B5EF4-FFF2-40B4-BE49-F238E27FC236}">
                <a16:creationId xmlns:a16="http://schemas.microsoft.com/office/drawing/2014/main" id="{9FD53A50-51CE-32B8-7975-A361798A7EBF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4273150" y="4900431"/>
            <a:ext cx="3643314" cy="1271756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400" spc="3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4" name="ee4pHeader1">
            <a:extLst>
              <a:ext uri="{FF2B5EF4-FFF2-40B4-BE49-F238E27FC236}">
                <a16:creationId xmlns:a16="http://schemas.microsoft.com/office/drawing/2014/main" id="{04E034F4-C8E8-3CF4-F856-720D14BEB145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8400035" y="1800321"/>
            <a:ext cx="3054792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G GDP per Capita</a:t>
            </a:r>
          </a:p>
        </p:txBody>
      </p:sp>
      <p:sp>
        <p:nvSpPr>
          <p:cNvPr id="365" name="ee4pHeader1">
            <a:extLst>
              <a:ext uri="{FF2B5EF4-FFF2-40B4-BE49-F238E27FC236}">
                <a16:creationId xmlns:a16="http://schemas.microsoft.com/office/drawing/2014/main" id="{872C9940-5838-8009-F4EC-64E4A5A1BA5E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8105774" y="4900431"/>
            <a:ext cx="3643314" cy="1271756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400" spc="3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00938FD-31F4-0A53-B265-F906D1569945}"/>
              </a:ext>
            </a:extLst>
          </p:cNvPr>
          <p:cNvCxnSpPr>
            <a:cxnSpLocks/>
            <a:stCxn id="199" idx="2"/>
          </p:cNvCxnSpPr>
          <p:nvPr>
            <p:custDataLst>
              <p:tags r:id="rId100"/>
            </p:custDataLst>
          </p:nvPr>
        </p:nvCxnSpPr>
        <p:spPr bwMode="auto">
          <a:xfrm>
            <a:off x="5403185" y="3771386"/>
            <a:ext cx="479700" cy="364029"/>
          </a:xfrm>
          <a:prstGeom prst="line">
            <a:avLst/>
          </a:prstGeom>
          <a:ln w="635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5EE5B9F-F679-2F44-B168-A4149808F8D5}"/>
              </a:ext>
            </a:extLst>
          </p:cNvPr>
          <p:cNvCxnSpPr>
            <a:cxnSpLocks/>
            <a:stCxn id="111" idx="1"/>
          </p:cNvCxnSpPr>
          <p:nvPr>
            <p:custDataLst>
              <p:tags r:id="rId101"/>
            </p:custDataLst>
          </p:nvPr>
        </p:nvCxnSpPr>
        <p:spPr bwMode="auto">
          <a:xfrm flipH="1">
            <a:off x="1537494" y="3979773"/>
            <a:ext cx="688181" cy="306477"/>
          </a:xfrm>
          <a:prstGeom prst="line">
            <a:avLst/>
          </a:prstGeom>
          <a:ln w="635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ED90000-F4BF-22C4-F103-070B7A10B5E8}"/>
              </a:ext>
            </a:extLst>
          </p:cNvPr>
          <p:cNvCxnSpPr>
            <a:cxnSpLocks/>
            <a:endCxn id="113" idx="0"/>
          </p:cNvCxnSpPr>
          <p:nvPr>
            <p:custDataLst>
              <p:tags r:id="rId102"/>
            </p:custDataLst>
          </p:nvPr>
        </p:nvCxnSpPr>
        <p:spPr bwMode="auto">
          <a:xfrm flipH="1">
            <a:off x="876300" y="4248150"/>
            <a:ext cx="422276" cy="362404"/>
          </a:xfrm>
          <a:prstGeom prst="line">
            <a:avLst/>
          </a:prstGeom>
          <a:ln w="635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D76E73C-5FF2-EABD-D1B7-5C42CD899D86}"/>
              </a:ext>
            </a:extLst>
          </p:cNvPr>
          <p:cNvCxnSpPr>
            <a:cxnSpLocks/>
            <a:stCxn id="201" idx="2"/>
          </p:cNvCxnSpPr>
          <p:nvPr>
            <p:custDataLst>
              <p:tags r:id="rId103"/>
            </p:custDataLst>
          </p:nvPr>
        </p:nvCxnSpPr>
        <p:spPr bwMode="auto">
          <a:xfrm>
            <a:off x="6526213" y="3953400"/>
            <a:ext cx="354545" cy="356001"/>
          </a:xfrm>
          <a:prstGeom prst="line">
            <a:avLst/>
          </a:prstGeom>
          <a:ln w="6350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6554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418;p39">
            <a:extLst>
              <a:ext uri="{FF2B5EF4-FFF2-40B4-BE49-F238E27FC236}">
                <a16:creationId xmlns:a16="http://schemas.microsoft.com/office/drawing/2014/main" id="{20C30B95-34B0-F86F-7CE9-DD1C10E6D5A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895400" y="428626"/>
            <a:ext cx="4401200" cy="6214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defTabSz="1219170">
              <a:buClr>
                <a:srgbClr val="005E7D"/>
              </a:buClr>
              <a:defRPr/>
            </a:pPr>
            <a:r>
              <a:rPr lang="en-US" sz="3200" kern="0">
                <a:solidFill>
                  <a:schemeClr val="tx1"/>
                </a:solidFill>
                <a:latin typeface="Bahnschrift" panose="020B05020402040202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</a:t>
            </a:r>
          </a:p>
        </p:txBody>
      </p:sp>
      <p:cxnSp>
        <p:nvCxnSpPr>
          <p:cNvPr id="17" name="Straight Connector 27">
            <a:extLst>
              <a:ext uri="{FF2B5EF4-FFF2-40B4-BE49-F238E27FC236}">
                <a16:creationId xmlns:a16="http://schemas.microsoft.com/office/drawing/2014/main" id="{9D828886-3488-A4A4-BF6A-8148DD877484}"/>
              </a:ext>
            </a:extLst>
          </p:cNvPr>
          <p:cNvCxnSpPr/>
          <p:nvPr/>
        </p:nvCxnSpPr>
        <p:spPr>
          <a:xfrm>
            <a:off x="3895400" y="1093076"/>
            <a:ext cx="4401200" cy="0"/>
          </a:xfrm>
          <a:prstGeom prst="line">
            <a:avLst/>
          </a:prstGeom>
          <a:ln w="444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60703C4-03CB-EE89-0AA5-2E2E4E9BDE1B}"/>
              </a:ext>
            </a:extLst>
          </p:cNvPr>
          <p:cNvGrpSpPr/>
          <p:nvPr/>
        </p:nvGrpSpPr>
        <p:grpSpPr>
          <a:xfrm>
            <a:off x="1251257" y="2557471"/>
            <a:ext cx="1804116" cy="2414383"/>
            <a:chOff x="442913" y="2104717"/>
            <a:chExt cx="1804116" cy="2414383"/>
          </a:xfrm>
        </p:grpSpPr>
        <p:sp>
          <p:nvSpPr>
            <p:cNvPr id="5" name="Google Shape;751;p47">
              <a:extLst>
                <a:ext uri="{FF2B5EF4-FFF2-40B4-BE49-F238E27FC236}">
                  <a16:creationId xmlns:a16="http://schemas.microsoft.com/office/drawing/2014/main" id="{6B4121D2-EF3E-8EC1-EB6D-E018C09281B7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442913" y="3903547"/>
              <a:ext cx="1790725" cy="615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3020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L="914400" marR="0" lvl="1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L="1371600" marR="0" lvl="2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L="2286000" marR="0" lvl="4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L="2743200" marR="0" lvl="5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L="3200400" marR="0" lvl="6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L="3657600" marR="0" lvl="7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L="4114800" marR="0" lvl="8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marL="0" indent="0" defTabSz="914423">
                <a:buClr>
                  <a:srgbClr val="30394B"/>
                </a:buClr>
                <a:defRPr/>
              </a:pPr>
              <a:r>
                <a:rPr lang="en-US" sz="2000" kern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rlin</a:t>
              </a:r>
            </a:p>
            <a:p>
              <a:pPr marL="0" indent="0" defTabSz="914423">
                <a:buClr>
                  <a:srgbClr val="30394B"/>
                </a:buClr>
                <a:defRPr/>
              </a:pPr>
              <a:r>
                <a:rPr lang="en-US" sz="2000" kern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utter</a:t>
              </a:r>
            </a:p>
          </p:txBody>
        </p:sp>
        <p:pic>
          <p:nvPicPr>
            <p:cNvPr id="11" name="Picture 32">
              <a:extLst>
                <a:ext uri="{FF2B5EF4-FFF2-40B4-BE49-F238E27FC236}">
                  <a16:creationId xmlns:a16="http://schemas.microsoft.com/office/drawing/2014/main" id="{8EDC5155-7D7C-C97B-F075-6EC2F33F226B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 rotWithShape="1">
            <a:blip r:embed="rId9"/>
            <a:srcRect t="358" b="33186"/>
            <a:stretch/>
          </p:blipFill>
          <p:spPr>
            <a:xfrm>
              <a:off x="442913" y="2104717"/>
              <a:ext cx="1804116" cy="1798830"/>
            </a:xfrm>
            <a:prstGeom prst="rect">
              <a:avLst/>
            </a:prstGeom>
          </p:spPr>
        </p:pic>
      </p:grpSp>
      <p:grpSp>
        <p:nvGrpSpPr>
          <p:cNvPr id="8" name="Gruppieren 17">
            <a:extLst>
              <a:ext uri="{FF2B5EF4-FFF2-40B4-BE49-F238E27FC236}">
                <a16:creationId xmlns:a16="http://schemas.microsoft.com/office/drawing/2014/main" id="{2D1069C8-A28B-FA47-5086-9062E6BE910B}"/>
              </a:ext>
            </a:extLst>
          </p:cNvPr>
          <p:cNvGrpSpPr/>
          <p:nvPr/>
        </p:nvGrpSpPr>
        <p:grpSpPr>
          <a:xfrm>
            <a:off x="6509841" y="2557471"/>
            <a:ext cx="1804116" cy="2414383"/>
            <a:chOff x="442913" y="2104717"/>
            <a:chExt cx="1804116" cy="2414383"/>
          </a:xfrm>
        </p:grpSpPr>
        <p:sp>
          <p:nvSpPr>
            <p:cNvPr id="9" name="Google Shape;751;p47">
              <a:extLst>
                <a:ext uri="{FF2B5EF4-FFF2-40B4-BE49-F238E27FC236}">
                  <a16:creationId xmlns:a16="http://schemas.microsoft.com/office/drawing/2014/main" id="{57D99DBF-7509-23AC-4322-EDB991ECB64C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42913" y="3903547"/>
              <a:ext cx="1790725" cy="615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3020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L="914400" marR="0" lvl="1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L="1371600" marR="0" lvl="2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L="2286000" marR="0" lvl="4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L="2743200" marR="0" lvl="5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L="3200400" marR="0" lvl="6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L="3657600" marR="0" lvl="7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L="4114800" marR="0" lvl="8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marL="0" indent="0" defTabSz="914423">
                <a:buClr>
                  <a:srgbClr val="30394B"/>
                </a:buClr>
                <a:defRPr/>
              </a:pPr>
              <a:r>
                <a:rPr lang="en-US" sz="2000" kern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Vladislav </a:t>
              </a:r>
              <a:r>
                <a:rPr lang="en-US" sz="2000" kern="0" err="1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evalov</a:t>
              </a:r>
              <a:endParaRPr lang="en-US" sz="2000" ker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10" name="Picture 32">
              <a:extLst>
                <a:ext uri="{FF2B5EF4-FFF2-40B4-BE49-F238E27FC236}">
                  <a16:creationId xmlns:a16="http://schemas.microsoft.com/office/drawing/2014/main" id="{70724DDC-A086-DD59-0982-FED69771C18C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 rotWithShape="1">
            <a:blip r:embed="rId10"/>
            <a:srcRect t="146" b="146"/>
            <a:stretch/>
          </p:blipFill>
          <p:spPr>
            <a:xfrm>
              <a:off x="442913" y="2104717"/>
              <a:ext cx="1804116" cy="179883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3564152-4154-9877-C8B2-6545679C1D81}"/>
              </a:ext>
            </a:extLst>
          </p:cNvPr>
          <p:cNvGrpSpPr/>
          <p:nvPr/>
        </p:nvGrpSpPr>
        <p:grpSpPr>
          <a:xfrm>
            <a:off x="3873852" y="2559131"/>
            <a:ext cx="1790726" cy="2412723"/>
            <a:chOff x="3538846" y="2559131"/>
            <a:chExt cx="1790726" cy="2412723"/>
          </a:xfrm>
        </p:grpSpPr>
        <p:sp>
          <p:nvSpPr>
            <p:cNvPr id="4" name="Google Shape;751;p47">
              <a:extLst>
                <a:ext uri="{FF2B5EF4-FFF2-40B4-BE49-F238E27FC236}">
                  <a16:creationId xmlns:a16="http://schemas.microsoft.com/office/drawing/2014/main" id="{C87A6629-CFC8-2709-93C8-792505BDBD30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538847" y="4356301"/>
              <a:ext cx="1790725" cy="615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3020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L="914400" marR="0" lvl="1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L="1371600" marR="0" lvl="2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L="2286000" marR="0" lvl="4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L="2743200" marR="0" lvl="5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L="3200400" marR="0" lvl="6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L="3657600" marR="0" lvl="7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L="4114800" marR="0" lvl="8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marL="0" indent="0" defTabSz="914423">
                <a:buClr>
                  <a:srgbClr val="30394B"/>
                </a:buClr>
                <a:defRPr/>
              </a:pPr>
              <a:r>
                <a:rPr lang="en-GB" sz="2000" i="0" err="1">
                  <a:solidFill>
                    <a:srgbClr val="252423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Yidi</a:t>
              </a:r>
              <a:endParaRPr lang="en-GB" sz="2000" i="0">
                <a:solidFill>
                  <a:srgbClr val="252423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indent="0" defTabSz="914423">
                <a:buClr>
                  <a:srgbClr val="30394B"/>
                </a:buClr>
                <a:defRPr/>
              </a:pPr>
              <a:r>
                <a:rPr lang="en-GB" sz="2000" i="0" err="1">
                  <a:solidFill>
                    <a:srgbClr val="252423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eng</a:t>
              </a:r>
              <a:endParaRPr lang="en-US" sz="2000" ker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6" name="Picture 5" descr="A person with long hair&#10;&#10;Description automatically generated with low confidence">
              <a:extLst>
                <a:ext uri="{FF2B5EF4-FFF2-40B4-BE49-F238E27FC236}">
                  <a16:creationId xmlns:a16="http://schemas.microsoft.com/office/drawing/2014/main" id="{EC69A034-94C2-AFC5-A58A-FBB0E86276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538846" y="2559131"/>
              <a:ext cx="1777333" cy="1799293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1EEA8F32-5551-8E57-0546-A586C3F865C9}"/>
              </a:ext>
            </a:extLst>
          </p:cNvPr>
          <p:cNvGrpSpPr/>
          <p:nvPr/>
        </p:nvGrpSpPr>
        <p:grpSpPr>
          <a:xfrm>
            <a:off x="9119046" y="2557471"/>
            <a:ext cx="1821697" cy="2414383"/>
            <a:chOff x="9134532" y="2557471"/>
            <a:chExt cx="1821697" cy="2414383"/>
          </a:xfrm>
        </p:grpSpPr>
        <p:sp>
          <p:nvSpPr>
            <p:cNvPr id="14" name="Google Shape;751;p47">
              <a:extLst>
                <a:ext uri="{FF2B5EF4-FFF2-40B4-BE49-F238E27FC236}">
                  <a16:creationId xmlns:a16="http://schemas.microsoft.com/office/drawing/2014/main" id="{0314A110-BFD1-A9F9-DE53-1448F1AA8ADB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9134532" y="4356301"/>
              <a:ext cx="1790725" cy="615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3020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L="914400" marR="0" lvl="1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L="1371600" marR="0" lvl="2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L="2286000" marR="0" lvl="4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L="2743200" marR="0" lvl="5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L="3200400" marR="0" lvl="6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L="3657600" marR="0" lvl="7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L="4114800" marR="0" lvl="8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marL="0" indent="0" defTabSz="914423">
                <a:buClr>
                  <a:srgbClr val="30394B"/>
                </a:buClr>
                <a:defRPr/>
              </a:pPr>
              <a:r>
                <a:rPr lang="en-US" sz="2000" kern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ntony Britto</a:t>
              </a:r>
            </a:p>
          </p:txBody>
        </p:sp>
        <p:pic>
          <p:nvPicPr>
            <p:cNvPr id="3" name="Picture 2" descr="A person wearing glasses and a suit&#10;&#10;Description automatically generated with medium confidence">
              <a:extLst>
                <a:ext uri="{FF2B5EF4-FFF2-40B4-BE49-F238E27FC236}">
                  <a16:creationId xmlns:a16="http://schemas.microsoft.com/office/drawing/2014/main" id="{8E01C712-10FA-12D3-1386-A5CABC8E99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10759" t="3670" r="17825"/>
            <a:stretch/>
          </p:blipFill>
          <p:spPr>
            <a:xfrm>
              <a:off x="9147923" y="2557471"/>
              <a:ext cx="1808306" cy="17988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33383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FAACF3-A7AA-62A2-1CE5-63DAC6D9B7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122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FAACF3-A7AA-62A2-1CE5-63DAC6D9B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7FFD0D-A31C-623E-E3DA-11A223839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4350" y="739775"/>
            <a:ext cx="6154738" cy="5378449"/>
          </a:xfrm>
        </p:spPr>
        <p:txBody>
          <a:bodyPr vert="horz">
            <a:norm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>
                <a:solidFill>
                  <a:schemeClr val="tx2"/>
                </a:solidFill>
              </a:rPr>
              <a:t>Dataset &amp; Data Clean-Up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Countries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Continents &amp; Regions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accent1"/>
                </a:solidFill>
              </a:rPr>
              <a:t>Weather Influences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E6DC30FF-A504-7A9F-B27A-406C4C588826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t="8414" b="8414"/>
          <a:stretch/>
        </p:blipFill>
        <p:spPr bwMode="auto">
          <a:xfrm>
            <a:off x="479424" y="739775"/>
            <a:ext cx="4314825" cy="537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0668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9CC33F8C-5980-263F-F47A-C983FFDA1F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89529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7772400" imgH="10058400" progId="TCLayout.ActiveDocument.1">
                  <p:embed/>
                </p:oleObj>
              </mc:Choice>
              <mc:Fallback>
                <p:oleObj name="think-cell Slide" r:id="rId34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9CC33F8C-5980-263F-F47A-C983FFDA1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B7C1CD-6C92-0B76-E38C-81AB3917951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Weather Influence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3028AC-2888-4952-D3B7-5B5FE90184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55ECD7-773D-8FE5-FB53-DE817F37511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Seasonal Differenc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2B169E-5FBF-2B86-33D6-3CD4FD95DA4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Based on data from 2000 to 2021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D7BF8C-8B1E-F5E9-5BD4-0ADE2638257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DA6A4092-6E5F-5C2E-9478-28B28A64FD7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8916389"/>
              </p:ext>
            </p:extLst>
          </p:nvPr>
        </p:nvGraphicFramePr>
        <p:xfrm>
          <a:off x="398463" y="2252663"/>
          <a:ext cx="2711450" cy="2138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 useBgFill="1">
        <p:nvSpPr>
          <p:cNvPr id="18" name="Freeform 17">
            <a:extLst>
              <a:ext uri="{FF2B5EF4-FFF2-40B4-BE49-F238E27FC236}">
                <a16:creationId xmlns:a16="http://schemas.microsoft.com/office/drawing/2014/main" id="{A60F2ECC-84C6-1ACA-4B5F-8E9ECB1DBFF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546350" y="2541588"/>
            <a:ext cx="450851" cy="177801"/>
          </a:xfrm>
          <a:custGeom>
            <a:avLst/>
            <a:gdLst/>
            <a:ahLst/>
            <a:cxnLst/>
            <a:rect l="0" t="0" r="0" b="0"/>
            <a:pathLst>
              <a:path w="450851" h="177801">
                <a:moveTo>
                  <a:pt x="0" y="120650"/>
                </a:moveTo>
                <a:lnTo>
                  <a:pt x="450850" y="0"/>
                </a:lnTo>
                <a:lnTo>
                  <a:pt x="450850" y="57150"/>
                </a:lnTo>
                <a:lnTo>
                  <a:pt x="0" y="177800"/>
                </a:lnTo>
                <a:close/>
              </a:path>
            </a:pathLst>
          </a:cu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 useBgFill="1">
        <p:nvSpPr>
          <p:cNvPr id="14" name="Freeform 13">
            <a:extLst>
              <a:ext uri="{FF2B5EF4-FFF2-40B4-BE49-F238E27FC236}">
                <a16:creationId xmlns:a16="http://schemas.microsoft.com/office/drawing/2014/main" id="{7058903F-F623-755C-42AC-67913F59E28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546350" y="2360613"/>
            <a:ext cx="268289" cy="130176"/>
          </a:xfrm>
          <a:custGeom>
            <a:avLst/>
            <a:gdLst/>
            <a:ahLst/>
            <a:cxnLst/>
            <a:rect l="0" t="0" r="0" b="0"/>
            <a:pathLst>
              <a:path w="268289" h="130176">
                <a:moveTo>
                  <a:pt x="0" y="73025"/>
                </a:moveTo>
                <a:lnTo>
                  <a:pt x="268288" y="0"/>
                </a:lnTo>
                <a:lnTo>
                  <a:pt x="268288" y="57150"/>
                </a:lnTo>
                <a:lnTo>
                  <a:pt x="0" y="130175"/>
                </a:lnTo>
                <a:close/>
              </a:path>
            </a:pathLst>
          </a:cu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DD5B0954-402E-E4A2-56AB-F12FA5B6B99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546350" y="2360613"/>
            <a:ext cx="268289" cy="73026"/>
          </a:xfrm>
          <a:custGeom>
            <a:avLst/>
            <a:gdLst/>
            <a:ahLst/>
            <a:cxnLst/>
            <a:rect l="0" t="0" r="0" b="0"/>
            <a:pathLst>
              <a:path w="268289" h="73026">
                <a:moveTo>
                  <a:pt x="0" y="73025"/>
                </a:moveTo>
                <a:lnTo>
                  <a:pt x="268288" y="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EDB8D601-D846-F4DE-CA98-B1EB8D11DAA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546350" y="2541588"/>
            <a:ext cx="450851" cy="120651"/>
          </a:xfrm>
          <a:custGeom>
            <a:avLst/>
            <a:gdLst/>
            <a:ahLst/>
            <a:cxnLst/>
            <a:rect l="0" t="0" r="0" b="0"/>
            <a:pathLst>
              <a:path w="450851" h="120651">
                <a:moveTo>
                  <a:pt x="0" y="120650"/>
                </a:moveTo>
                <a:lnTo>
                  <a:pt x="450850" y="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8FDB72F6-9371-4703-9304-2F9EBB65A1A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546350" y="2598738"/>
            <a:ext cx="450851" cy="120651"/>
          </a:xfrm>
          <a:custGeom>
            <a:avLst/>
            <a:gdLst/>
            <a:ahLst/>
            <a:cxnLst/>
            <a:rect l="0" t="0" r="0" b="0"/>
            <a:pathLst>
              <a:path w="450851" h="120651">
                <a:moveTo>
                  <a:pt x="0" y="120650"/>
                </a:moveTo>
                <a:lnTo>
                  <a:pt x="450850" y="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D3E0C233-3A7B-A33B-3EAF-255A275C90B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546350" y="2417763"/>
            <a:ext cx="268289" cy="73026"/>
          </a:xfrm>
          <a:custGeom>
            <a:avLst/>
            <a:gdLst/>
            <a:ahLst/>
            <a:cxnLst/>
            <a:rect l="0" t="0" r="0" b="0"/>
            <a:pathLst>
              <a:path w="268289" h="73026">
                <a:moveTo>
                  <a:pt x="0" y="73025"/>
                </a:moveTo>
                <a:lnTo>
                  <a:pt x="268288" y="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74B22C8-0249-DC49-5CE2-E3E8B801A4A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533650" y="4351338"/>
            <a:ext cx="477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6DF8BB7-7FF2-4CE6-B870-771F47510A4C}" type="datetime'A''''''''''''m''''''''''''e''''''r''''''i''''c''''''''a'">
              <a:rPr lang="en-US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merica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33" name="Rectangle 432">
            <a:extLst>
              <a:ext uri="{FF2B5EF4-FFF2-40B4-BE49-F238E27FC236}">
                <a16:creationId xmlns:a16="http://schemas.microsoft.com/office/drawing/2014/main" id="{3F35D72F-90C1-C7CF-A29F-1AA92AFBCCF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794000" y="3044825"/>
            <a:ext cx="136525" cy="7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15A94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17463" rIns="0" bIns="17463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88F218-D58E-4ABE-AAF3-E36EA0B7F7B2}" type="datetime'''''2''0''''''''''''''''''9''''.''7''''56''''''.1''''3''''4'''">
              <a:rPr lang="en-US" altLang="en-US" sz="10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9.756.134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D085851-9E4D-ADA8-45F3-D74E2D6F577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116013" y="4351338"/>
            <a:ext cx="258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4E53D23-9C6E-42D5-B5A7-9C9B10C5B063}" type="datetime'As''''''''i''''''''a'''">
              <a:rPr lang="en-US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sia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D52116D-F8E8-B820-7FAB-35E615D014D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020888" y="4351338"/>
            <a:ext cx="482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4AB6BAF-42C4-441E-9DD1-0580A5535B24}" type="datetime'O''''''c''e''''''''a''''ni''''a'">
              <a:rPr lang="en-US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ceania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FD067D3-A750-77B8-E612-87B63E69EBE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66738" y="4351338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E8B1E3-2D6B-4173-A636-C60029818E95}" type="datetime'Af''''''''''''''''''ri''c''''''a'''''''''''''''''''''''''''">
              <a:rPr lang="en-US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frica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D1287A7-ACFB-F613-DB64-731C9737E9D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543050" y="4351338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2C1A6B-0B1A-42D3-92E0-A00F7291D72D}" type="datetime'''''''''''E''''''''''''''u''''ro''''''pe'''''">
              <a:rPr lang="en-US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Europe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A89C6BF4-66E4-7A0A-B69D-6F6C196AB130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2611438" y="2954338"/>
            <a:ext cx="136525" cy="7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251D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wrap="none" lIns="0" tIns="17463" rIns="0" bIns="17463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06FDFF-99D6-46EB-8A92-1A13850A1F32}" type="datetime'''359''''.''''68''''''''''''''''''''''3''''''.''''''6''''3''5'">
              <a:rPr lang="en-US" altLang="en-US" sz="10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9.683.635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415" name="Rectangle 414">
            <a:extLst>
              <a:ext uri="{FF2B5EF4-FFF2-40B4-BE49-F238E27FC236}">
                <a16:creationId xmlns:a16="http://schemas.microsoft.com/office/drawing/2014/main" id="{80FF9857-CB1A-4BC2-3239-7340A79DB19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419724" y="6480175"/>
            <a:ext cx="179388" cy="133350"/>
          </a:xfrm>
          <a:prstGeom prst="rect">
            <a:avLst/>
          </a:prstGeom>
          <a:solidFill>
            <a:srgbClr val="015A94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791F22C-EB10-09CC-C776-99DA5F160F5E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608513" y="6480175"/>
            <a:ext cx="179388" cy="133350"/>
          </a:xfrm>
          <a:prstGeom prst="rect">
            <a:avLst/>
          </a:prstGeom>
          <a:solidFill>
            <a:srgbClr val="E6251D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05" name="Rectangle 404">
            <a:extLst>
              <a:ext uri="{FF2B5EF4-FFF2-40B4-BE49-F238E27FC236}">
                <a16:creationId xmlns:a16="http://schemas.microsoft.com/office/drawing/2014/main" id="{825C02F6-46EC-8510-0941-A719D620EB0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649913" y="6475413"/>
            <a:ext cx="366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F1B9678-9278-4D3C-878A-023977286674}" type="datetime'''''''''W''''''''''''''''''i''''n''''''''ter'''''''''''">
              <a:rPr lang="en-US" altLang="en-US" sz="1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Winter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F17A382-42B3-F074-79F6-83CFBCF2D78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838700" y="6475413"/>
            <a:ext cx="479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92F5D3F-1DC4-49C5-AF61-3D94BF1CFF75}" type="datetime'''''''''''Su''''''''''''''m''''''''''''m''''''e''r'''''''''">
              <a:rPr lang="en-US" altLang="en-US" sz="1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Summer</a:t>
            </a:fld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95A18F68-93D1-3EE5-657A-AE837A7CD84F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916814082"/>
              </p:ext>
            </p:extLst>
          </p:nvPr>
        </p:nvGraphicFramePr>
        <p:xfrm>
          <a:off x="2632075" y="2836863"/>
          <a:ext cx="2689225" cy="1239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256" name="ee4pHeader1">
            <a:extLst>
              <a:ext uri="{FF2B5EF4-FFF2-40B4-BE49-F238E27FC236}">
                <a16:creationId xmlns:a16="http://schemas.microsoft.com/office/drawing/2014/main" id="{C14A7CD2-9058-71BC-2420-CD0928C1BE62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42913" y="1800321"/>
            <a:ext cx="6533356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R CONTINENSTS</a:t>
            </a:r>
          </a:p>
        </p:txBody>
      </p:sp>
      <p:sp>
        <p:nvSpPr>
          <p:cNvPr id="257" name="ee4pHeader1">
            <a:extLst>
              <a:ext uri="{FF2B5EF4-FFF2-40B4-BE49-F238E27FC236}">
                <a16:creationId xmlns:a16="http://schemas.microsoft.com/office/drawing/2014/main" id="{616D8668-3ADA-6A3D-90C5-13E72802FB9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7292976" y="1800320"/>
            <a:ext cx="4456112" cy="474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THERN REGIONS IN CONTINENTS</a:t>
            </a:r>
          </a:p>
        </p:txBody>
      </p: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E3D86F7D-0D7F-4B2A-D707-A4436451F7EA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D35C2706-DD9F-9677-4876-2F8B902F973A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61" name="ee4pHeader1">
            <a:extLst>
              <a:ext uri="{FF2B5EF4-FFF2-40B4-BE49-F238E27FC236}">
                <a16:creationId xmlns:a16="http://schemas.microsoft.com/office/drawing/2014/main" id="{62B3E1C6-AA06-88DB-704E-6CA1979CC14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292976" y="3833773"/>
            <a:ext cx="4456112" cy="474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UTHERN REGIONS IN CONTINENTS</a:t>
            </a:r>
          </a:p>
        </p:txBody>
      </p:sp>
      <p:sp>
        <p:nvSpPr>
          <p:cNvPr id="263" name="ee4pHeader1">
            <a:extLst>
              <a:ext uri="{FF2B5EF4-FFF2-40B4-BE49-F238E27FC236}">
                <a16:creationId xmlns:a16="http://schemas.microsoft.com/office/drawing/2014/main" id="{2AF83D96-CDD8-745E-6035-83C9BF2A49A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131050" y="2274878"/>
            <a:ext cx="4618037" cy="1430479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400" spc="3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4" name="ee4pHeader1">
            <a:extLst>
              <a:ext uri="{FF2B5EF4-FFF2-40B4-BE49-F238E27FC236}">
                <a16:creationId xmlns:a16="http://schemas.microsoft.com/office/drawing/2014/main" id="{AA4073CC-CA39-F868-0453-B532326F86BD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7131050" y="4308330"/>
            <a:ext cx="4618038" cy="1430479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400" spc="3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59" name="Chart 458">
            <a:extLst>
              <a:ext uri="{FF2B5EF4-FFF2-40B4-BE49-F238E27FC236}">
                <a16:creationId xmlns:a16="http://schemas.microsoft.com/office/drawing/2014/main" id="{54853098-7D57-AD19-C18D-3E63B1C1EBE8}"/>
              </a:ext>
            </a:extLst>
          </p:cNvPr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774491907"/>
              </p:ext>
            </p:extLst>
          </p:nvPr>
        </p:nvGraphicFramePr>
        <p:xfrm>
          <a:off x="6448425" y="2297091"/>
          <a:ext cx="2689225" cy="1430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303" name="ee4pHeader1">
            <a:extLst>
              <a:ext uri="{FF2B5EF4-FFF2-40B4-BE49-F238E27FC236}">
                <a16:creationId xmlns:a16="http://schemas.microsoft.com/office/drawing/2014/main" id="{1FAEFA8C-869E-A801-112A-E8DBFDED55F6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42913" y="2274877"/>
            <a:ext cx="6533356" cy="3463932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400" spc="3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63" name="Chart 462">
            <a:extLst>
              <a:ext uri="{FF2B5EF4-FFF2-40B4-BE49-F238E27FC236}">
                <a16:creationId xmlns:a16="http://schemas.microsoft.com/office/drawing/2014/main" id="{00895A3C-F4B5-C7B8-571C-698B74F183F8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028884531"/>
              </p:ext>
            </p:extLst>
          </p:nvPr>
        </p:nvGraphicFramePr>
        <p:xfrm>
          <a:off x="6448425" y="4402138"/>
          <a:ext cx="2689225" cy="1265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grpSp>
        <p:nvGrpSpPr>
          <p:cNvPr id="333" name="Group 332">
            <a:extLst>
              <a:ext uri="{FF2B5EF4-FFF2-40B4-BE49-F238E27FC236}">
                <a16:creationId xmlns:a16="http://schemas.microsoft.com/office/drawing/2014/main" id="{E621027B-FD1C-10E4-7953-AA5ED981BA01}"/>
              </a:ext>
            </a:extLst>
          </p:cNvPr>
          <p:cNvGrpSpPr/>
          <p:nvPr/>
        </p:nvGrpSpPr>
        <p:grpSpPr>
          <a:xfrm>
            <a:off x="442912" y="5791523"/>
            <a:ext cx="11306174" cy="380678"/>
            <a:chOff x="442912" y="5791523"/>
            <a:chExt cx="11306174" cy="380678"/>
          </a:xfrm>
        </p:grpSpPr>
        <p:sp>
          <p:nvSpPr>
            <p:cNvPr id="321" name="Rectangle 320">
              <a:extLst>
                <a:ext uri="{FF2B5EF4-FFF2-40B4-BE49-F238E27FC236}">
                  <a16:creationId xmlns:a16="http://schemas.microsoft.com/office/drawing/2014/main" id="{2FC59868-8C73-A54F-90F2-567172F3AF77}"/>
                </a:ext>
              </a:extLst>
            </p:cNvPr>
            <p:cNvSpPr/>
            <p:nvPr/>
          </p:nvSpPr>
          <p:spPr>
            <a:xfrm>
              <a:off x="560909" y="5791523"/>
              <a:ext cx="11188177" cy="38067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179070" lvl="1">
                <a:spcAft>
                  <a:spcPts val="600"/>
                </a:spcAft>
              </a:pPr>
              <a:r>
                <a:rPr lang="en-US" altLang="en-US" sz="1200">
                  <a:solidFill>
                    <a:schemeClr val="tx1"/>
                  </a:solidFill>
                  <a:latin typeface="Arial"/>
                  <a:ea typeface="Verdana"/>
                  <a:cs typeface="Arial"/>
                </a:rPr>
                <a:t>It seems that the northern regions not only travel more often to Canada but also more in the winter times than southern regions.</a:t>
              </a:r>
              <a:endParaRPr lang="en-US">
                <a:solidFill>
                  <a:schemeClr val="tx1"/>
                </a:solidFill>
                <a:latin typeface="Arial"/>
                <a:ea typeface="Verdana"/>
                <a:cs typeface="Arial"/>
              </a:endParaRPr>
            </a:p>
          </p:txBody>
        </p:sp>
        <p:sp>
          <p:nvSpPr>
            <p:cNvPr id="322" name="Arrow: Chevron 31">
              <a:extLst>
                <a:ext uri="{FF2B5EF4-FFF2-40B4-BE49-F238E27FC236}">
                  <a16:creationId xmlns:a16="http://schemas.microsoft.com/office/drawing/2014/main" id="{A2F18D3D-B04B-1FB5-EB66-471CF83A5272}"/>
                </a:ext>
              </a:extLst>
            </p:cNvPr>
            <p:cNvSpPr/>
            <p:nvPr/>
          </p:nvSpPr>
          <p:spPr>
            <a:xfrm>
              <a:off x="442912" y="5791523"/>
              <a:ext cx="235993" cy="3806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35" name="ee4pContent1">
            <a:extLst>
              <a:ext uri="{FF2B5EF4-FFF2-40B4-BE49-F238E27FC236}">
                <a16:creationId xmlns:a16="http://schemas.microsoft.com/office/drawing/2014/main" id="{950C7BE0-8B68-2FA6-1497-49433545EAD7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542125" y="4686044"/>
            <a:ext cx="2897989" cy="1052765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wrap="square" lIns="90000" tIns="90000" rIns="90000" bIns="90000" rtlCol="0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en-US" sz="1200" b="1">
                <a:ea typeface="Verdana" panose="020B0604030504040204" pitchFamily="34" charset="0"/>
              </a:rPr>
              <a:t>Insights</a:t>
            </a:r>
          </a:p>
          <a:p>
            <a:pPr marL="0" lvl="1" indent="0">
              <a:spcAft>
                <a:spcPts val="600"/>
              </a:spcAft>
              <a:buNone/>
            </a:pPr>
            <a:r>
              <a:rPr lang="en-US" sz="1200">
                <a:ea typeface="Verdana" panose="020B0604030504040204" pitchFamily="34" charset="0"/>
              </a:rPr>
              <a:t>Across all continents, there are significantly more travelers coming in during summer than winter</a:t>
            </a:r>
          </a:p>
        </p:txBody>
      </p: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E304F3FC-85CF-412A-7E44-C28755569AF9}"/>
              </a:ext>
            </a:extLst>
          </p:cNvPr>
          <p:cNvGrpSpPr/>
          <p:nvPr/>
        </p:nvGrpSpPr>
        <p:grpSpPr>
          <a:xfrm>
            <a:off x="4887134" y="2997930"/>
            <a:ext cx="1924637" cy="862139"/>
            <a:chOff x="4560485" y="4616807"/>
            <a:chExt cx="1924637" cy="862139"/>
          </a:xfrm>
        </p:grpSpPr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7FEB125F-4FDD-9C3B-4680-789F6D6D869A}"/>
                </a:ext>
              </a:extLst>
            </p:cNvPr>
            <p:cNvSpPr txBox="1"/>
            <p:nvPr/>
          </p:nvSpPr>
          <p:spPr>
            <a:xfrm>
              <a:off x="4560485" y="5109614"/>
              <a:ext cx="192463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200"/>
                <a:t>% of total is difference btw. Summer &amp; Winter</a:t>
              </a: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FFD4C065-8DB8-3CB4-F58A-05E3FBC63F3A}"/>
                </a:ext>
              </a:extLst>
            </p:cNvPr>
            <p:cNvSpPr txBox="1"/>
            <p:nvPr/>
          </p:nvSpPr>
          <p:spPr>
            <a:xfrm>
              <a:off x="5162929" y="4616807"/>
              <a:ext cx="719749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2800" b="1"/>
                <a:t>27%</a:t>
              </a:r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94E6BECB-E179-AEFA-0F76-F38BE1AF42E2}"/>
              </a:ext>
            </a:extLst>
          </p:cNvPr>
          <p:cNvGrpSpPr/>
          <p:nvPr/>
        </p:nvGrpSpPr>
        <p:grpSpPr>
          <a:xfrm>
            <a:off x="8850324" y="4592500"/>
            <a:ext cx="1924637" cy="862139"/>
            <a:chOff x="4560485" y="4616807"/>
            <a:chExt cx="1924637" cy="862139"/>
          </a:xfrm>
        </p:grpSpPr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DD09DA47-0118-86C5-9768-9CDA76A7A241}"/>
                </a:ext>
              </a:extLst>
            </p:cNvPr>
            <p:cNvSpPr txBox="1"/>
            <p:nvPr/>
          </p:nvSpPr>
          <p:spPr>
            <a:xfrm>
              <a:off x="4560485" y="5109614"/>
              <a:ext cx="192463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200"/>
                <a:t>% of total is difference btw. Summer &amp; Winter</a:t>
              </a:r>
            </a:p>
          </p:txBody>
        </p:sp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FC762392-0386-7793-04A3-6C87EECD6169}"/>
                </a:ext>
              </a:extLst>
            </p:cNvPr>
            <p:cNvSpPr txBox="1"/>
            <p:nvPr/>
          </p:nvSpPr>
          <p:spPr>
            <a:xfrm>
              <a:off x="5162929" y="4616807"/>
              <a:ext cx="719749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2800" b="1"/>
                <a:t>33%</a:t>
              </a: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AC3BAE80-0A2B-E2F6-AC22-38CB7C50FAF8}"/>
              </a:ext>
            </a:extLst>
          </p:cNvPr>
          <p:cNvGrpSpPr/>
          <p:nvPr/>
        </p:nvGrpSpPr>
        <p:grpSpPr>
          <a:xfrm>
            <a:off x="8850324" y="2559048"/>
            <a:ext cx="1924637" cy="862139"/>
            <a:chOff x="4560485" y="4616807"/>
            <a:chExt cx="1924637" cy="862139"/>
          </a:xfrm>
        </p:grpSpPr>
        <p:sp>
          <p:nvSpPr>
            <p:cNvPr id="344" name="TextBox 343">
              <a:extLst>
                <a:ext uri="{FF2B5EF4-FFF2-40B4-BE49-F238E27FC236}">
                  <a16:creationId xmlns:a16="http://schemas.microsoft.com/office/drawing/2014/main" id="{903219E3-D554-3E09-B2C1-F760D58BC0E0}"/>
                </a:ext>
              </a:extLst>
            </p:cNvPr>
            <p:cNvSpPr txBox="1"/>
            <p:nvPr/>
          </p:nvSpPr>
          <p:spPr>
            <a:xfrm>
              <a:off x="4560485" y="5109614"/>
              <a:ext cx="192463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200"/>
                <a:t>% of total is difference btw. Summer &amp; Winter</a:t>
              </a:r>
            </a:p>
          </p:txBody>
        </p:sp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id="{8CC7FAE0-2EC6-D4D2-6B9D-519F31DADEDE}"/>
                </a:ext>
              </a:extLst>
            </p:cNvPr>
            <p:cNvSpPr txBox="1"/>
            <p:nvPr/>
          </p:nvSpPr>
          <p:spPr>
            <a:xfrm>
              <a:off x="5162929" y="4616807"/>
              <a:ext cx="719749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2800" b="1"/>
                <a:t>27%</a:t>
              </a:r>
            </a:p>
          </p:txBody>
        </p:sp>
      </p:grpSp>
      <p:sp>
        <p:nvSpPr>
          <p:cNvPr id="372" name="ee4pContent1">
            <a:extLst>
              <a:ext uri="{FF2B5EF4-FFF2-40B4-BE49-F238E27FC236}">
                <a16:creationId xmlns:a16="http://schemas.microsoft.com/office/drawing/2014/main" id="{B631EF8B-1EC1-7C83-9D8B-0B48F183611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3565525" y="4686044"/>
            <a:ext cx="3410744" cy="1052765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wrap="square" lIns="90000" tIns="90000" rIns="90000" bIns="90000" rtlCol="0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en-US" sz="1200" b="1">
                <a:ea typeface="Verdana" panose="020B0604030504040204" pitchFamily="34" charset="0"/>
              </a:rPr>
              <a:t>Insights</a:t>
            </a:r>
          </a:p>
          <a:p>
            <a:pPr marL="0" lvl="1" indent="0">
              <a:spcAft>
                <a:spcPts val="600"/>
              </a:spcAft>
              <a:buNone/>
            </a:pPr>
            <a:r>
              <a:rPr lang="en-US" sz="1200">
                <a:ea typeface="Verdana" panose="020B0604030504040204" pitchFamily="34" charset="0"/>
              </a:rPr>
              <a:t>~2/3 of tourists come in summer &amp; 1/3 in winter resulting in the assumption that Canada is a country to visit as Winter &amp; Summer destination</a:t>
            </a:r>
          </a:p>
        </p:txBody>
      </p:sp>
      <p:pic>
        <p:nvPicPr>
          <p:cNvPr id="376" name="Graphic 375" descr="Caret Left with solid fill">
            <a:extLst>
              <a:ext uri="{FF2B5EF4-FFF2-40B4-BE49-F238E27FC236}">
                <a16:creationId xmlns:a16="http://schemas.microsoft.com/office/drawing/2014/main" id="{425C2652-0E81-01F4-6159-8260736B2151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 rotWithShape="1"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rcRect l="29156" r="30384"/>
          <a:stretch/>
        </p:blipFill>
        <p:spPr>
          <a:xfrm rot="16200000">
            <a:off x="1835754" y="3856590"/>
            <a:ext cx="198438" cy="1682086"/>
          </a:xfrm>
          <a:prstGeom prst="rect">
            <a:avLst/>
          </a:prstGeom>
        </p:spPr>
      </p:pic>
      <p:pic>
        <p:nvPicPr>
          <p:cNvPr id="377" name="Graphic 376" descr="Caret Left with solid fill">
            <a:extLst>
              <a:ext uri="{FF2B5EF4-FFF2-40B4-BE49-F238E27FC236}">
                <a16:creationId xmlns:a16="http://schemas.microsoft.com/office/drawing/2014/main" id="{580F4D75-8769-ECED-8D6D-B52AC7E4153F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 rotWithShape="1"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rcRect l="29156" r="30384"/>
          <a:stretch/>
        </p:blipFill>
        <p:spPr>
          <a:xfrm rot="16200000">
            <a:off x="5155738" y="3856590"/>
            <a:ext cx="198438" cy="1682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7490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418;p39">
            <a:extLst>
              <a:ext uri="{FF2B5EF4-FFF2-40B4-BE49-F238E27FC236}">
                <a16:creationId xmlns:a16="http://schemas.microsoft.com/office/drawing/2014/main" id="{20C30B95-34B0-F86F-7CE9-DD1C10E6D5A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794429" y="428626"/>
            <a:ext cx="4603141" cy="6214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defTabSz="1219170">
              <a:buClr>
                <a:srgbClr val="005E7D"/>
              </a:buClr>
              <a:defRPr/>
            </a:pPr>
            <a:r>
              <a:rPr lang="en-US" sz="3700" kern="0">
                <a:solidFill>
                  <a:schemeClr val="tx1"/>
                </a:solidFill>
                <a:latin typeface="Bahnschrift"/>
                <a:ea typeface="Verdana"/>
                <a:cs typeface="Verdana" panose="020B0604030504040204" pitchFamily="34" charset="0"/>
              </a:rPr>
              <a:t>KEY TAKEAWAYS</a:t>
            </a:r>
            <a:endParaRPr lang="en-US" sz="3730" kern="0">
              <a:solidFill>
                <a:schemeClr val="tx1"/>
              </a:solidFill>
              <a:latin typeface="Bahnschrift" panose="020B0502040204020203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7" name="Straight Connector 27">
            <a:extLst>
              <a:ext uri="{FF2B5EF4-FFF2-40B4-BE49-F238E27FC236}">
                <a16:creationId xmlns:a16="http://schemas.microsoft.com/office/drawing/2014/main" id="{9D828886-3488-A4A4-BF6A-8148DD877484}"/>
              </a:ext>
            </a:extLst>
          </p:cNvPr>
          <p:cNvCxnSpPr/>
          <p:nvPr/>
        </p:nvCxnSpPr>
        <p:spPr>
          <a:xfrm>
            <a:off x="3895400" y="1093076"/>
            <a:ext cx="4401200" cy="0"/>
          </a:xfrm>
          <a:prstGeom prst="line">
            <a:avLst/>
          </a:prstGeom>
          <a:ln w="444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952DDC5B-4F6F-4D3A-F00C-D2607491A359}"/>
              </a:ext>
            </a:extLst>
          </p:cNvPr>
          <p:cNvGrpSpPr/>
          <p:nvPr/>
        </p:nvGrpSpPr>
        <p:grpSpPr>
          <a:xfrm>
            <a:off x="1416154" y="2138776"/>
            <a:ext cx="8525792" cy="507831"/>
            <a:chOff x="1416154" y="2138776"/>
            <a:chExt cx="8525792" cy="50783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2CF7BCA-962B-B3D3-EED0-A23B029586BA}"/>
                </a:ext>
              </a:extLst>
            </p:cNvPr>
            <p:cNvSpPr txBox="1"/>
            <p:nvPr/>
          </p:nvSpPr>
          <p:spPr>
            <a:xfrm>
              <a:off x="1416154" y="2269581"/>
              <a:ext cx="180972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600" b="1" spc="300"/>
                <a:t>RECOVERY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F83EB97-D8D3-F7ED-FBAE-96663701DABA}"/>
                </a:ext>
              </a:extLst>
            </p:cNvPr>
            <p:cNvSpPr txBox="1"/>
            <p:nvPr/>
          </p:nvSpPr>
          <p:spPr>
            <a:xfrm>
              <a:off x="3794429" y="2138776"/>
              <a:ext cx="6147517" cy="5078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400"/>
                <a:t>Covid 19 is not a barrier of travel anymore</a:t>
              </a:r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400"/>
                <a:t>As observed the number of travelers will increase again in the coming month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23C1367-ECCE-FFDA-B3A2-0EAC6E1C77E5}"/>
              </a:ext>
            </a:extLst>
          </p:cNvPr>
          <p:cNvGrpSpPr/>
          <p:nvPr/>
        </p:nvGrpSpPr>
        <p:grpSpPr>
          <a:xfrm>
            <a:off x="1416154" y="3248032"/>
            <a:ext cx="9192095" cy="1015663"/>
            <a:chOff x="1416154" y="3248032"/>
            <a:chExt cx="9192095" cy="101566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E021D68-C580-C913-86CC-D84A5E78B27A}"/>
                </a:ext>
              </a:extLst>
            </p:cNvPr>
            <p:cNvSpPr txBox="1"/>
            <p:nvPr/>
          </p:nvSpPr>
          <p:spPr>
            <a:xfrm>
              <a:off x="1416154" y="3509642"/>
              <a:ext cx="180972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600" b="1" spc="300"/>
                <a:t>INFLUENCING FACTOR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1D512A6-6AEB-DCBA-3D40-C1474CF7FAEC}"/>
                </a:ext>
              </a:extLst>
            </p:cNvPr>
            <p:cNvSpPr txBox="1"/>
            <p:nvPr/>
          </p:nvSpPr>
          <p:spPr>
            <a:xfrm>
              <a:off x="3794429" y="3248032"/>
              <a:ext cx="6813820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400"/>
                <a:t>The main factor is distance and culture – likely these will stay stable also in future</a:t>
              </a:r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400"/>
                <a:t>Secondary factors are GDP and Population</a:t>
              </a:r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400"/>
                <a:t>Minor factors which can’t be quantified are visa regulations and </a:t>
              </a:r>
              <a:r>
                <a:rPr lang="en-US" sz="1400">
                  <a:cs typeface="Arial"/>
                </a:rPr>
                <a:t>Canada's border and airport quantity per continent</a:t>
              </a:r>
              <a:endParaRPr lang="en-US" sz="140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6717AEA-328F-32DC-FE71-52493DD1B081}"/>
              </a:ext>
            </a:extLst>
          </p:cNvPr>
          <p:cNvGrpSpPr/>
          <p:nvPr/>
        </p:nvGrpSpPr>
        <p:grpSpPr>
          <a:xfrm>
            <a:off x="1416154" y="4995924"/>
            <a:ext cx="9360956" cy="492443"/>
            <a:chOff x="1416154" y="4995924"/>
            <a:chExt cx="9360956" cy="49244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AFEDC70-A1A6-FF2D-D109-08B0E04B53E6}"/>
                </a:ext>
              </a:extLst>
            </p:cNvPr>
            <p:cNvSpPr txBox="1"/>
            <p:nvPr/>
          </p:nvSpPr>
          <p:spPr>
            <a:xfrm>
              <a:off x="1416154" y="4995924"/>
              <a:ext cx="180972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600" b="1" spc="300"/>
                <a:t>TIME OF TRAVEL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5B90725-CE2F-2CFB-C91E-263D57778E25}"/>
                </a:ext>
              </a:extLst>
            </p:cNvPr>
            <p:cNvSpPr txBox="1"/>
            <p:nvPr/>
          </p:nvSpPr>
          <p:spPr>
            <a:xfrm>
              <a:off x="3794429" y="5134424"/>
              <a:ext cx="698268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400"/>
                <a:t>Canada is mainly a destination for summer travel with a decent amount of winter touris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987895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ECBA8DF-ABBC-697F-0D5B-3C909AF07EDD}"/>
              </a:ext>
            </a:extLst>
          </p:cNvPr>
          <p:cNvSpPr>
            <a:spLocks noGrp="1"/>
          </p:cNvSpPr>
          <p:nvPr/>
        </p:nvSpPr>
        <p:spPr>
          <a:xfrm>
            <a:off x="442912" y="3093811"/>
            <a:ext cx="10086975" cy="1907237"/>
          </a:xfrm>
          <a:prstGeom prst="rect">
            <a:avLst/>
          </a:prstGeom>
          <a:solidFill>
            <a:schemeClr val="bg1"/>
          </a:solidFill>
        </p:spPr>
        <p:txBody>
          <a:bodyPr lIns="72000" tIns="36000" anchor="ctr" anchorCtr="0"/>
          <a:lstStyle>
            <a:lvl1pPr marL="0" indent="0" algn="l" defTabSz="3429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None/>
              <a:tabLst>
                <a:tab pos="135731" algn="l"/>
              </a:tabLst>
              <a:defRPr lang="de-DE" sz="750" b="1" kern="1200" cap="all" spc="225" baseline="0" dirty="0" smtClean="0">
                <a:solidFill>
                  <a:srgbClr val="E82128"/>
                </a:solidFill>
                <a:latin typeface="Bahnschrift" charset="0"/>
                <a:ea typeface="Bahnschrift" charset="0"/>
                <a:cs typeface="Bahnschrift" charset="0"/>
              </a:defRPr>
            </a:lvl1pPr>
            <a:lvl2pPr marL="271463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7194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5781" indent="-128588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1513" indent="-135731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600">
                <a:solidFill>
                  <a:schemeClr val="accent1"/>
                </a:solidFill>
              </a:rPr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2263465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F30C875-C180-ED8A-7CD6-3A0FE54AB63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183F6D-5032-5DFB-4FD6-71D1BDF81F6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1808163"/>
            <a:ext cx="11306175" cy="4445245"/>
          </a:xfrm>
        </p:spPr>
        <p:txBody>
          <a:bodyPr lIns="91440" tIns="45720" rIns="91440" bIns="45720" anchor="t"/>
          <a:lstStyle/>
          <a:p>
            <a:r>
              <a:rPr lang="en-US" b="1">
                <a:latin typeface="Verdana"/>
                <a:ea typeface="Verdana"/>
              </a:rPr>
              <a:t>Our World in Data </a:t>
            </a:r>
            <a:r>
              <a:rPr lang="en-US">
                <a:latin typeface="Verdana"/>
                <a:ea typeface="Verdana"/>
              </a:rPr>
              <a:t>(2022). Population by Country. Retrieved November 23, 2022, from https://</a:t>
            </a:r>
            <a:r>
              <a:rPr lang="en-US" err="1">
                <a:latin typeface="Verdana"/>
                <a:ea typeface="Verdana"/>
              </a:rPr>
              <a:t>ourworldindata.org</a:t>
            </a:r>
            <a:r>
              <a:rPr lang="en-US">
                <a:latin typeface="Verdana"/>
                <a:ea typeface="Verdana"/>
              </a:rPr>
              <a:t>/</a:t>
            </a:r>
            <a:r>
              <a:rPr lang="en-US" err="1">
                <a:latin typeface="Verdana"/>
                <a:ea typeface="Verdana"/>
              </a:rPr>
              <a:t>grapher</a:t>
            </a:r>
            <a:r>
              <a:rPr lang="en-US">
                <a:latin typeface="Verdana"/>
                <a:ea typeface="Verdana"/>
              </a:rPr>
              <a:t>/population-by-	</a:t>
            </a:r>
            <a:r>
              <a:rPr lang="en-US" err="1">
                <a:latin typeface="Verdana"/>
                <a:ea typeface="Verdana"/>
              </a:rPr>
              <a:t>country?tab</a:t>
            </a:r>
            <a:r>
              <a:rPr lang="en-US">
                <a:latin typeface="Verdana"/>
                <a:ea typeface="Verdana"/>
              </a:rPr>
              <a:t>=table</a:t>
            </a:r>
          </a:p>
          <a:p>
            <a:r>
              <a:rPr lang="en-US" b="1">
                <a:latin typeface="Verdana"/>
                <a:ea typeface="Verdana"/>
              </a:rPr>
              <a:t>United Nations</a:t>
            </a:r>
            <a:r>
              <a:rPr lang="en-US">
                <a:latin typeface="Verdana"/>
                <a:ea typeface="Verdana"/>
              </a:rPr>
              <a:t>. (2021). </a:t>
            </a:r>
            <a:r>
              <a:rPr lang="en-US" i="1">
                <a:latin typeface="Verdana"/>
                <a:ea typeface="Verdana"/>
              </a:rPr>
              <a:t>List of continents by GDP per capita</a:t>
            </a:r>
            <a:r>
              <a:rPr lang="en-US">
                <a:latin typeface="Verdana"/>
                <a:ea typeface="Verdana"/>
              </a:rPr>
              <a:t>. Continents by </a:t>
            </a:r>
            <a:r>
              <a:rPr lang="en-US" err="1">
                <a:latin typeface="Verdana"/>
                <a:ea typeface="Verdana"/>
              </a:rPr>
              <a:t>gdp</a:t>
            </a:r>
            <a:r>
              <a:rPr lang="en-US">
                <a:latin typeface="Verdana"/>
                <a:ea typeface="Verdana"/>
              </a:rPr>
              <a:t> per capita 2021 - </a:t>
            </a:r>
            <a:r>
              <a:rPr lang="en-US" err="1">
                <a:latin typeface="Verdana"/>
                <a:ea typeface="Verdana"/>
              </a:rPr>
              <a:t>StatisticsTimes.com</a:t>
            </a:r>
            <a:r>
              <a:rPr lang="en-US">
                <a:latin typeface="Verdana"/>
                <a:ea typeface="Verdana"/>
              </a:rPr>
              <a:t>. Retrieved November 	22, 2022, from https://statisticstimes.com/economy/continents-by-gdp-per-capita.php </a:t>
            </a:r>
          </a:p>
          <a:p>
            <a:r>
              <a:rPr lang="en-US" b="1">
                <a:latin typeface="Verdana"/>
                <a:ea typeface="Verdana"/>
              </a:rPr>
              <a:t>Feed, G</a:t>
            </a:r>
            <a:r>
              <a:rPr lang="en-US">
                <a:latin typeface="Verdana"/>
                <a:ea typeface="Verdana"/>
              </a:rPr>
              <a:t>. (2022). </a:t>
            </a:r>
            <a:r>
              <a:rPr lang="en-US" i="1">
                <a:latin typeface="Verdana"/>
                <a:ea typeface="Verdana"/>
              </a:rPr>
              <a:t>Distance Calculator</a:t>
            </a:r>
            <a:r>
              <a:rPr lang="en-US">
                <a:latin typeface="Verdana"/>
                <a:ea typeface="Verdana"/>
              </a:rPr>
              <a:t>. Distance between countries, closest distance between borders, airplane flight time, Distance Chart. 	Retrieved November 21, 2022, from https://distancecalculator.globefeed.com/Distance_Between_Countries.asp </a:t>
            </a:r>
            <a:endParaRPr lang="en-US"/>
          </a:p>
          <a:p>
            <a:r>
              <a:rPr lang="en-US" b="1">
                <a:latin typeface="Verdana"/>
                <a:ea typeface="Verdana"/>
              </a:rPr>
              <a:t>UN</a:t>
            </a:r>
            <a:r>
              <a:rPr lang="en-US">
                <a:latin typeface="Verdana"/>
                <a:ea typeface="Verdana"/>
              </a:rPr>
              <a:t>. (2022). </a:t>
            </a:r>
            <a:r>
              <a:rPr lang="en-US" i="1">
                <a:latin typeface="Verdana"/>
                <a:ea typeface="Verdana"/>
              </a:rPr>
              <a:t>World population prospects - population division</a:t>
            </a:r>
            <a:r>
              <a:rPr lang="en-US">
                <a:latin typeface="Verdana"/>
                <a:ea typeface="Verdana"/>
              </a:rPr>
              <a:t>. United Nations. Retrieved November 21, 2022, from 	https://population.un.org/wpp/</a:t>
            </a:r>
          </a:p>
          <a:p>
            <a:r>
              <a:rPr lang="en-GB" b="1" i="0" u="none" strike="noStrike" err="1">
                <a:solidFill>
                  <a:srgbClr val="000000"/>
                </a:solidFill>
                <a:effectLst/>
              </a:rPr>
              <a:t>Pecar</a:t>
            </a:r>
            <a:r>
              <a:rPr lang="en-GB" b="1" i="0" u="none" strike="noStrike">
                <a:solidFill>
                  <a:srgbClr val="000000"/>
                </a:solidFill>
                <a:effectLst/>
              </a:rPr>
              <a:t>, R. </a:t>
            </a:r>
            <a:r>
              <a:rPr lang="en-GB" b="0" i="0" u="none" strike="noStrike">
                <a:solidFill>
                  <a:srgbClr val="000000"/>
                </a:solidFill>
                <a:effectLst/>
              </a:rPr>
              <a:t>(2022). </a:t>
            </a:r>
            <a:r>
              <a:rPr lang="en-GB" b="0" i="1" u="none" strike="noStrike">
                <a:solidFill>
                  <a:srgbClr val="000000"/>
                </a:solidFill>
                <a:effectLst/>
              </a:rPr>
              <a:t>Visitors to Canada by Country of Residence</a:t>
            </a:r>
            <a:r>
              <a:rPr lang="en-GB" b="0" i="0" u="none" strike="noStrike">
                <a:solidFill>
                  <a:srgbClr val="000000"/>
                </a:solidFill>
                <a:effectLst/>
              </a:rPr>
              <a:t>. Kaggle. Retrieved November 23, 2022, from 	https://</a:t>
            </a:r>
            <a:r>
              <a:rPr lang="en-GB" b="0" i="0" u="none" strike="noStrike" err="1">
                <a:solidFill>
                  <a:srgbClr val="000000"/>
                </a:solidFill>
                <a:effectLst/>
              </a:rPr>
              <a:t>www.kaggle.com</a:t>
            </a:r>
            <a:r>
              <a:rPr lang="en-GB" b="0" i="0" u="none" strike="noStrike">
                <a:solidFill>
                  <a:srgbClr val="000000"/>
                </a:solidFill>
                <a:effectLst/>
              </a:rPr>
              <a:t>/datasets/</a:t>
            </a:r>
            <a:r>
              <a:rPr lang="en-GB" b="0" i="0" u="none" strike="noStrike" err="1">
                <a:solidFill>
                  <a:srgbClr val="000000"/>
                </a:solidFill>
                <a:effectLst/>
              </a:rPr>
              <a:t>russellpecar</a:t>
            </a:r>
            <a:r>
              <a:rPr lang="en-GB" b="0" i="0" u="none" strike="noStrike">
                <a:solidFill>
                  <a:srgbClr val="000000"/>
                </a:solidFill>
                <a:effectLst/>
              </a:rPr>
              <a:t>/visitors-to-</a:t>
            </a:r>
            <a:r>
              <a:rPr lang="en-GB" b="0" i="0" u="none" strike="noStrike" err="1">
                <a:solidFill>
                  <a:srgbClr val="000000"/>
                </a:solidFill>
                <a:effectLst/>
              </a:rPr>
              <a:t>canada</a:t>
            </a:r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CCD780-36FD-D665-64D4-9C0C3D0E76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0790C3-CEB5-F140-A5D0-3DC0DD0E870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B0F6FA5-0671-97AB-F9E3-57FFA955F80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24</a:t>
            </a:fld>
            <a:endParaRPr lang="de-DE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9AFA0E7-5A6E-BAC7-4C68-4CD7AFE21961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CB1B778-E111-7210-3179-EA7DA2487771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120905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418;p39">
            <a:extLst>
              <a:ext uri="{FF2B5EF4-FFF2-40B4-BE49-F238E27FC236}">
                <a16:creationId xmlns:a16="http://schemas.microsoft.com/office/drawing/2014/main" id="{20C30B95-34B0-F86F-7CE9-DD1C10E6D5A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794429" y="428626"/>
            <a:ext cx="4603141" cy="6214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defTabSz="1219170">
              <a:buClr>
                <a:srgbClr val="005E7D"/>
              </a:buClr>
              <a:defRPr/>
            </a:pPr>
            <a:r>
              <a:rPr lang="en-US" sz="3730" kern="0">
                <a:solidFill>
                  <a:schemeClr val="tx1"/>
                </a:solidFill>
                <a:latin typeface="Bahnschrift" panose="020B05020402040202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</a:p>
        </p:txBody>
      </p:sp>
      <p:cxnSp>
        <p:nvCxnSpPr>
          <p:cNvPr id="17" name="Straight Connector 27">
            <a:extLst>
              <a:ext uri="{FF2B5EF4-FFF2-40B4-BE49-F238E27FC236}">
                <a16:creationId xmlns:a16="http://schemas.microsoft.com/office/drawing/2014/main" id="{9D828886-3488-A4A4-BF6A-8148DD877484}"/>
              </a:ext>
            </a:extLst>
          </p:cNvPr>
          <p:cNvCxnSpPr/>
          <p:nvPr/>
        </p:nvCxnSpPr>
        <p:spPr>
          <a:xfrm>
            <a:off x="3895400" y="1093076"/>
            <a:ext cx="4401200" cy="0"/>
          </a:xfrm>
          <a:prstGeom prst="line">
            <a:avLst/>
          </a:prstGeom>
          <a:ln w="444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483A260-60DC-69A1-C3D4-632562702E8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165495" y="3977251"/>
            <a:ext cx="6639747" cy="615513"/>
            <a:chOff x="2529390" y="3634007"/>
            <a:chExt cx="6639747" cy="615513"/>
          </a:xfrm>
        </p:grpSpPr>
        <p:sp>
          <p:nvSpPr>
            <p:cNvPr id="18" name="Google Shape;419;p39">
              <a:extLst>
                <a:ext uri="{FF2B5EF4-FFF2-40B4-BE49-F238E27FC236}">
                  <a16:creationId xmlns:a16="http://schemas.microsoft.com/office/drawing/2014/main" id="{751116A0-6B75-E33F-9642-22EF4F1D7C83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2529390" y="3734764"/>
              <a:ext cx="1366010" cy="414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600"/>
                <a:buFont typeface="Permanent Marker"/>
                <a:buNone/>
                <a:defRPr sz="3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defTabSz="1219170">
                <a:buClr>
                  <a:srgbClr val="005E7D"/>
                </a:buClr>
                <a:defRPr/>
              </a:pPr>
              <a:r>
                <a:rPr lang="en" sz="4000" kern="0">
                  <a:latin typeface="Bahnschrift" panose="020B0502040204020203" pitchFamily="34" charset="0"/>
                </a:rPr>
                <a:t>3</a:t>
              </a:r>
              <a:r>
                <a:rPr lang="en" sz="4000" kern="0">
                  <a:solidFill>
                    <a:schemeClr val="tx1"/>
                  </a:solidFill>
                  <a:latin typeface="Bahnschrift" panose="020B0502040204020203" pitchFamily="34" charset="0"/>
                </a:rPr>
                <a:t>.</a:t>
              </a:r>
            </a:p>
          </p:txBody>
        </p:sp>
        <p:sp>
          <p:nvSpPr>
            <p:cNvPr id="19" name="Google Shape;420;p39">
              <a:extLst>
                <a:ext uri="{FF2B5EF4-FFF2-40B4-BE49-F238E27FC236}">
                  <a16:creationId xmlns:a16="http://schemas.microsoft.com/office/drawing/2014/main" id="{8D6CECDC-3E50-D688-BEC6-54083F4D5DE1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3895400" y="3634007"/>
              <a:ext cx="5273737" cy="6155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3020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L="914400" marR="0" lvl="1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L="1371600" marR="0" lvl="2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L="2286000" marR="0" lvl="4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L="2743200" marR="0" lvl="5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L="3200400" marR="0" lvl="6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L="3657600" marR="0" lvl="7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L="4114800" marR="0" lvl="8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marL="0" indent="0" algn="l" defTabSz="1219170">
                <a:buClr>
                  <a:srgbClr val="30394B"/>
                </a:buClr>
                <a:defRPr/>
              </a:pPr>
              <a:r>
                <a:rPr lang="en-US" sz="2400" kern="0">
                  <a:solidFill>
                    <a:schemeClr val="tx1"/>
                  </a:solidFill>
                  <a:latin typeface="Bahnschrift" panose="020B0502040204020203" pitchFamily="34" charset="0"/>
                </a:rPr>
                <a:t>Continents &amp; Regions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0F1A54F-6A0A-158B-4AFF-86CA6062BEE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165496" y="4853242"/>
            <a:ext cx="6639745" cy="615513"/>
            <a:chOff x="2529390" y="4479667"/>
            <a:chExt cx="6639745" cy="615513"/>
          </a:xfrm>
        </p:grpSpPr>
        <p:sp>
          <p:nvSpPr>
            <p:cNvPr id="12" name="Google Shape;419;p39">
              <a:extLst>
                <a:ext uri="{FF2B5EF4-FFF2-40B4-BE49-F238E27FC236}">
                  <a16:creationId xmlns:a16="http://schemas.microsoft.com/office/drawing/2014/main" id="{D38BE584-BAE9-EB80-CB70-A1006906A48C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2529390" y="4580423"/>
              <a:ext cx="1366010" cy="414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600"/>
                <a:buFont typeface="Permanent Marker"/>
                <a:buNone/>
                <a:defRPr sz="3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defTabSz="1219170">
                <a:buClr>
                  <a:srgbClr val="005E7D"/>
                </a:buClr>
                <a:defRPr/>
              </a:pPr>
              <a:r>
                <a:rPr lang="en" sz="4000" kern="0">
                  <a:latin typeface="Bahnschrift" panose="020B0502040204020203" pitchFamily="34" charset="0"/>
                </a:rPr>
                <a:t>4</a:t>
              </a:r>
              <a:r>
                <a:rPr lang="en" sz="4000" kern="0">
                  <a:solidFill>
                    <a:schemeClr val="tx1"/>
                  </a:solidFill>
                  <a:latin typeface="Bahnschrift" panose="020B0502040204020203" pitchFamily="34" charset="0"/>
                </a:rPr>
                <a:t>.</a:t>
              </a:r>
            </a:p>
          </p:txBody>
        </p:sp>
        <p:sp>
          <p:nvSpPr>
            <p:cNvPr id="13" name="Google Shape;420;p39">
              <a:extLst>
                <a:ext uri="{FF2B5EF4-FFF2-40B4-BE49-F238E27FC236}">
                  <a16:creationId xmlns:a16="http://schemas.microsoft.com/office/drawing/2014/main" id="{874A3E32-F54E-3F38-48C3-1C29A1AE6A24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3895400" y="4479667"/>
              <a:ext cx="5273735" cy="6155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3020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L="914400" marR="0" lvl="1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L="1371600" marR="0" lvl="2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L="2286000" marR="0" lvl="4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L="2743200" marR="0" lvl="5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L="3200400" marR="0" lvl="6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L="3657600" marR="0" lvl="7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L="4114800" marR="0" lvl="8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marL="0" indent="0" algn="l" defTabSz="1219170">
                <a:buClr>
                  <a:srgbClr val="30394B"/>
                </a:buClr>
                <a:defRPr/>
              </a:pPr>
              <a:r>
                <a:rPr lang="en-US" sz="2400" kern="0">
                  <a:solidFill>
                    <a:schemeClr val="tx1"/>
                  </a:solidFill>
                  <a:latin typeface="Bahnschrift" panose="020B0502040204020203" pitchFamily="34" charset="0"/>
                </a:rPr>
                <a:t>Weather Influences</a:t>
              </a:r>
            </a:p>
          </p:txBody>
        </p:sp>
      </p:grpSp>
      <p:grpSp>
        <p:nvGrpSpPr>
          <p:cNvPr id="5" name="Group 37">
            <a:extLst>
              <a:ext uri="{FF2B5EF4-FFF2-40B4-BE49-F238E27FC236}">
                <a16:creationId xmlns:a16="http://schemas.microsoft.com/office/drawing/2014/main" id="{14299BB8-2204-6BD8-C36D-DD3A120D9E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165497" y="3101261"/>
            <a:ext cx="6639743" cy="615513"/>
            <a:chOff x="2529390" y="2903432"/>
            <a:chExt cx="6639743" cy="615513"/>
          </a:xfrm>
        </p:grpSpPr>
        <p:sp>
          <p:nvSpPr>
            <p:cNvPr id="20" name="Google Shape;419;p39">
              <a:extLst>
                <a:ext uri="{FF2B5EF4-FFF2-40B4-BE49-F238E27FC236}">
                  <a16:creationId xmlns:a16="http://schemas.microsoft.com/office/drawing/2014/main" id="{E1E4945B-8C9E-138C-18CA-7A4071E63871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2529390" y="3004189"/>
              <a:ext cx="1366010" cy="414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600"/>
                <a:buFont typeface="Permanent Marker"/>
                <a:buNone/>
                <a:defRPr sz="3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defTabSz="1219170">
                <a:buClr>
                  <a:srgbClr val="005E7D"/>
                </a:buClr>
                <a:defRPr/>
              </a:pPr>
              <a:r>
                <a:rPr lang="en" sz="4000" kern="0">
                  <a:latin typeface="Bahnschrift" panose="020B0502040204020203" pitchFamily="34" charset="0"/>
                </a:rPr>
                <a:t>2</a:t>
              </a:r>
              <a:r>
                <a:rPr lang="en" sz="4000" kern="0">
                  <a:solidFill>
                    <a:schemeClr val="tx1"/>
                  </a:solidFill>
                  <a:latin typeface="Bahnschrift" panose="020B0502040204020203" pitchFamily="34" charset="0"/>
                </a:rPr>
                <a:t>.</a:t>
              </a:r>
            </a:p>
          </p:txBody>
        </p:sp>
        <p:sp>
          <p:nvSpPr>
            <p:cNvPr id="21" name="Google Shape;420;p39">
              <a:extLst>
                <a:ext uri="{FF2B5EF4-FFF2-40B4-BE49-F238E27FC236}">
                  <a16:creationId xmlns:a16="http://schemas.microsoft.com/office/drawing/2014/main" id="{045719A8-231D-A9A4-2514-3433393ABA7E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3895399" y="2903432"/>
              <a:ext cx="5273734" cy="6155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3020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L="914400" marR="0" lvl="1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L="1371600" marR="0" lvl="2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L="2286000" marR="0" lvl="4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L="2743200" marR="0" lvl="5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L="3200400" marR="0" lvl="6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L="3657600" marR="0" lvl="7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L="4114800" marR="0" lvl="8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marL="0" indent="0" algn="l" defTabSz="1219170">
                <a:buClr>
                  <a:srgbClr val="30394B"/>
                </a:buClr>
                <a:defRPr/>
              </a:pPr>
              <a:r>
                <a:rPr lang="en-US" sz="2400" kern="0">
                  <a:solidFill>
                    <a:schemeClr val="tx1"/>
                  </a:solidFill>
                  <a:latin typeface="Bahnschrift" panose="020B0502040204020203" pitchFamily="34" charset="0"/>
                </a:rPr>
                <a:t>Countries</a:t>
              </a:r>
            </a:p>
          </p:txBody>
        </p:sp>
      </p:grpSp>
      <p:grpSp>
        <p:nvGrpSpPr>
          <p:cNvPr id="9" name="Group 34">
            <a:extLst>
              <a:ext uri="{FF2B5EF4-FFF2-40B4-BE49-F238E27FC236}">
                <a16:creationId xmlns:a16="http://schemas.microsoft.com/office/drawing/2014/main" id="{1DC49DF9-04D1-9EA0-7F5B-5EF73E67080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165497" y="2225271"/>
            <a:ext cx="6639743" cy="615513"/>
            <a:chOff x="2529390" y="2057772"/>
            <a:chExt cx="6639743" cy="615513"/>
          </a:xfrm>
        </p:grpSpPr>
        <p:sp>
          <p:nvSpPr>
            <p:cNvPr id="10" name="Google Shape;419;p39">
              <a:extLst>
                <a:ext uri="{FF2B5EF4-FFF2-40B4-BE49-F238E27FC236}">
                  <a16:creationId xmlns:a16="http://schemas.microsoft.com/office/drawing/2014/main" id="{A2E795FA-C568-0E01-3DC7-90199084C6E7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529390" y="2158529"/>
              <a:ext cx="1366010" cy="414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600"/>
                <a:buFont typeface="Permanent Marker"/>
                <a:buNone/>
                <a:defRPr sz="3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0"/>
                <a:buFont typeface="Montserrat"/>
                <a:buNone/>
                <a:defRPr sz="120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defTabSz="1219170">
                <a:buClr>
                  <a:srgbClr val="005E7D"/>
                </a:buClr>
                <a:defRPr/>
              </a:pPr>
              <a:r>
                <a:rPr lang="en" sz="4000" kern="0">
                  <a:latin typeface="Bahnschrift" panose="020B0502040204020203" pitchFamily="34" charset="0"/>
                </a:rPr>
                <a:t>1</a:t>
              </a:r>
              <a:r>
                <a:rPr lang="en" sz="4000" kern="0">
                  <a:solidFill>
                    <a:schemeClr val="tx1"/>
                  </a:solidFill>
                  <a:latin typeface="Bahnschrift" panose="020B0502040204020203" pitchFamily="34" charset="0"/>
                </a:rPr>
                <a:t>.</a:t>
              </a:r>
            </a:p>
          </p:txBody>
        </p:sp>
        <p:sp>
          <p:nvSpPr>
            <p:cNvPr id="11" name="Google Shape;420;p39">
              <a:extLst>
                <a:ext uri="{FF2B5EF4-FFF2-40B4-BE49-F238E27FC236}">
                  <a16:creationId xmlns:a16="http://schemas.microsoft.com/office/drawing/2014/main" id="{9132C13C-B5ED-8D2F-7A06-377CD84639F7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3895399" y="2057772"/>
              <a:ext cx="5273734" cy="6155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3020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1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1pPr>
              <a:lvl2pPr marL="914400" marR="0" lvl="1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2pPr>
              <a:lvl3pPr marL="1371600" marR="0" lvl="2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4pPr>
              <a:lvl5pPr marL="2286000" marR="0" lvl="4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5pPr>
              <a:lvl6pPr marL="2743200" marR="0" lvl="5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6pPr>
              <a:lvl7pPr marL="3200400" marR="0" lvl="6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7pPr>
              <a:lvl8pPr marL="3657600" marR="0" lvl="7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8pPr>
              <a:lvl9pPr marL="4114800" marR="0" lvl="8" indent="-3302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600"/>
                <a:buFont typeface="Montserrat"/>
                <a:buNone/>
                <a:defRPr sz="1800" b="0" i="0" u="none" strike="noStrike" cap="none">
                  <a:solidFill>
                    <a:schemeClr val="accent1"/>
                  </a:solidFill>
                  <a:latin typeface="Montserrat"/>
                  <a:ea typeface="Montserrat"/>
                  <a:cs typeface="Montserrat"/>
                  <a:sym typeface="Montserrat"/>
                </a:defRPr>
              </a:lvl9pPr>
            </a:lstStyle>
            <a:p>
              <a:pPr marL="0" indent="0" algn="l" defTabSz="1219170">
                <a:buClr>
                  <a:srgbClr val="30394B"/>
                </a:buClr>
                <a:defRPr/>
              </a:pPr>
              <a:r>
                <a:rPr lang="en-US" sz="2400" kern="0">
                  <a:solidFill>
                    <a:schemeClr val="tx1"/>
                  </a:solidFill>
                  <a:latin typeface="Bahnschrift" panose="020B0502040204020203" pitchFamily="34" charset="0"/>
                </a:rPr>
                <a:t>Dataset &amp; Data Clean-U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438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18;p39">
            <a:extLst>
              <a:ext uri="{FF2B5EF4-FFF2-40B4-BE49-F238E27FC236}">
                <a16:creationId xmlns:a16="http://schemas.microsoft.com/office/drawing/2014/main" id="{8AFC1F79-9771-2FFF-FA5A-185942D6EB5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325791" y="428626"/>
            <a:ext cx="5540418" cy="6214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defTabSz="1219170">
              <a:buClr>
                <a:srgbClr val="005E7D"/>
              </a:buClr>
              <a:defRPr/>
            </a:pPr>
            <a:r>
              <a:rPr lang="en-US" sz="3730" kern="0">
                <a:solidFill>
                  <a:schemeClr val="tx1"/>
                </a:solidFill>
                <a:latin typeface="Bahnschrift" panose="020B05020402040202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BLEM STATEMENT</a:t>
            </a:r>
          </a:p>
        </p:txBody>
      </p:sp>
      <p:cxnSp>
        <p:nvCxnSpPr>
          <p:cNvPr id="3" name="Straight Connector 27">
            <a:extLst>
              <a:ext uri="{FF2B5EF4-FFF2-40B4-BE49-F238E27FC236}">
                <a16:creationId xmlns:a16="http://schemas.microsoft.com/office/drawing/2014/main" id="{3C0D793A-C560-4EE1-8333-05F167A8CD6A}"/>
              </a:ext>
            </a:extLst>
          </p:cNvPr>
          <p:cNvCxnSpPr/>
          <p:nvPr/>
        </p:nvCxnSpPr>
        <p:spPr>
          <a:xfrm>
            <a:off x="3895400" y="1093076"/>
            <a:ext cx="4401200" cy="0"/>
          </a:xfrm>
          <a:prstGeom prst="line">
            <a:avLst/>
          </a:prstGeom>
          <a:ln w="444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1A26A88D-4952-026B-DDF5-1C98372020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5597531"/>
              </p:ext>
            </p:extLst>
          </p:nvPr>
        </p:nvGraphicFramePr>
        <p:xfrm>
          <a:off x="4345723" y="1913538"/>
          <a:ext cx="6834209" cy="3484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E30D62BF-3E99-7577-9E75-D221749B51B0}"/>
              </a:ext>
            </a:extLst>
          </p:cNvPr>
          <p:cNvSpPr txBox="1"/>
          <p:nvPr/>
        </p:nvSpPr>
        <p:spPr>
          <a:xfrm>
            <a:off x="4585877" y="2406099"/>
            <a:ext cx="47677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IN" sz="2400" b="1">
                <a:solidFill>
                  <a:schemeClr val="accent1"/>
                </a:solidFill>
              </a:rPr>
              <a:t>1</a:t>
            </a:r>
            <a:endParaRPr lang="en-CA" sz="2400" b="1" err="1">
              <a:solidFill>
                <a:schemeClr val="accent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C6598F-22AE-971C-4A03-B2005F143D78}"/>
              </a:ext>
            </a:extLst>
          </p:cNvPr>
          <p:cNvSpPr txBox="1"/>
          <p:nvPr/>
        </p:nvSpPr>
        <p:spPr>
          <a:xfrm>
            <a:off x="4824266" y="3454217"/>
            <a:ext cx="47677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IN" sz="2400" b="1">
                <a:solidFill>
                  <a:schemeClr val="accent1"/>
                </a:solidFill>
              </a:rPr>
              <a:t>2</a:t>
            </a:r>
            <a:endParaRPr lang="en-CA" sz="2400" b="1" err="1">
              <a:solidFill>
                <a:schemeClr val="accent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801881B-EFEE-02CE-51E8-805009AD27FD}"/>
              </a:ext>
            </a:extLst>
          </p:cNvPr>
          <p:cNvSpPr txBox="1"/>
          <p:nvPr/>
        </p:nvSpPr>
        <p:spPr>
          <a:xfrm>
            <a:off x="4585877" y="4502335"/>
            <a:ext cx="47677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IN" sz="2400" b="1">
                <a:solidFill>
                  <a:schemeClr val="accent1"/>
                </a:solidFill>
              </a:rPr>
              <a:t>3</a:t>
            </a:r>
            <a:endParaRPr lang="en-CA" sz="2400" b="1" err="1">
              <a:solidFill>
                <a:schemeClr val="accent1"/>
              </a:solidFill>
            </a:endParaRPr>
          </a:p>
        </p:txBody>
      </p:sp>
      <p:pic>
        <p:nvPicPr>
          <p:cNvPr id="1028" name="Picture 4" descr="663 Problem Statement Icon Images, Stock Photos &amp; Vectors | Shutterstock">
            <a:extLst>
              <a:ext uri="{FF2B5EF4-FFF2-40B4-BE49-F238E27FC236}">
                <a16:creationId xmlns:a16="http://schemas.microsoft.com/office/drawing/2014/main" id="{270975FF-9CCC-1414-26A4-4B1196516D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474"/>
          <a:stretch/>
        </p:blipFill>
        <p:spPr bwMode="auto">
          <a:xfrm>
            <a:off x="914400" y="1984768"/>
            <a:ext cx="3431323" cy="330823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9331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FAACF3-A7AA-62A2-1CE5-63DAC6D9B7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32456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FAACF3-A7AA-62A2-1CE5-63DAC6D9B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7FFD0D-A31C-623E-E3DA-11A223839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4350" y="739775"/>
            <a:ext cx="6154738" cy="5378449"/>
          </a:xfrm>
        </p:spPr>
        <p:txBody>
          <a:bodyPr vert="horz">
            <a:norm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>
                <a:solidFill>
                  <a:schemeClr val="accent1"/>
                </a:solidFill>
              </a:rPr>
              <a:t>Dataset &amp; Data Clean-Up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Countries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Continents &amp; Regions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Weather Influences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E6DC30FF-A504-7A9F-B27A-406C4C588826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t="8414" b="8414"/>
          <a:stretch/>
        </p:blipFill>
        <p:spPr bwMode="auto">
          <a:xfrm>
            <a:off x="479424" y="739775"/>
            <a:ext cx="4314825" cy="537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28832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38B8041-9BC1-0531-4A15-21EACF4ACFF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Dataset &amp; Data Clean-Up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2606A6-63E0-F910-B871-3C8528E2D2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8E9395-8E1A-06CA-7EC9-1C279B215E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Database Insigh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EE0521-E9F6-D4FA-A1DD-2DCE354EC49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C6DD9-0F1F-EC0E-088A-7D7D3B3FC95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7" name="ee4pHeader1">
            <a:extLst>
              <a:ext uri="{FF2B5EF4-FFF2-40B4-BE49-F238E27FC236}">
                <a16:creationId xmlns:a16="http://schemas.microsoft.com/office/drawing/2014/main" id="{B6E5A783-97F0-875F-0EB1-9E85310B8F6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5002217" y="2179683"/>
            <a:ext cx="5316166" cy="100139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ee4pHeader1">
            <a:extLst>
              <a:ext uri="{FF2B5EF4-FFF2-40B4-BE49-F238E27FC236}">
                <a16:creationId xmlns:a16="http://schemas.microsoft.com/office/drawing/2014/main" id="{EBD77E36-5F5D-EA29-18C3-AC249FAA241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002217" y="1808163"/>
            <a:ext cx="5316166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ITERIA</a:t>
            </a:r>
          </a:p>
        </p:txBody>
      </p:sp>
      <p:sp>
        <p:nvSpPr>
          <p:cNvPr id="10" name="ee4pHeader1">
            <a:extLst>
              <a:ext uri="{FF2B5EF4-FFF2-40B4-BE49-F238E27FC236}">
                <a16:creationId xmlns:a16="http://schemas.microsoft.com/office/drawing/2014/main" id="{1FDB66EB-2417-310D-9036-219588A8F4F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873616" y="2179682"/>
            <a:ext cx="3014989" cy="339597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1F24A1-D188-BD76-5734-B4ED25F292F2}"/>
              </a:ext>
            </a:extLst>
          </p:cNvPr>
          <p:cNvGrpSpPr/>
          <p:nvPr/>
        </p:nvGrpSpPr>
        <p:grpSpPr>
          <a:xfrm>
            <a:off x="2555564" y="3294254"/>
            <a:ext cx="1651093" cy="952750"/>
            <a:chOff x="1801673" y="2541859"/>
            <a:chExt cx="1651093" cy="95275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73E2987-442E-032D-763D-1D4091AEF046}"/>
                </a:ext>
              </a:extLst>
            </p:cNvPr>
            <p:cNvSpPr txBox="1"/>
            <p:nvPr/>
          </p:nvSpPr>
          <p:spPr>
            <a:xfrm>
              <a:off x="2333870" y="2541859"/>
              <a:ext cx="658835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DE" sz="2400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94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97D1ABF-7A6F-947A-E501-290EAACD5167}"/>
                </a:ext>
              </a:extLst>
            </p:cNvPr>
            <p:cNvSpPr txBox="1"/>
            <p:nvPr/>
          </p:nvSpPr>
          <p:spPr>
            <a:xfrm>
              <a:off x="1801673" y="3125277"/>
              <a:ext cx="165109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dividual Datapoints</a:t>
              </a:r>
              <a:br>
                <a:rPr lang="en-GB"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GB"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 datase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04FF087-3529-19D9-84B9-525A41C1ACB4}"/>
              </a:ext>
            </a:extLst>
          </p:cNvPr>
          <p:cNvGrpSpPr/>
          <p:nvPr/>
        </p:nvGrpSpPr>
        <p:grpSpPr>
          <a:xfrm>
            <a:off x="2063105" y="4672295"/>
            <a:ext cx="2636009" cy="768084"/>
            <a:chOff x="1078922" y="4625716"/>
            <a:chExt cx="2636009" cy="76808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DA63BCE-86E8-AA57-8145-D014F58FF8F8}"/>
                </a:ext>
              </a:extLst>
            </p:cNvPr>
            <p:cNvSpPr txBox="1"/>
            <p:nvPr/>
          </p:nvSpPr>
          <p:spPr>
            <a:xfrm>
              <a:off x="1078922" y="4625716"/>
              <a:ext cx="263600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buSzPct val="100000"/>
              </a:pPr>
              <a:r>
                <a:rPr lang="en-DE" sz="2400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1/72 – 05/2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6F49BC5-FF7F-0275-1796-DC289166B080}"/>
                </a:ext>
              </a:extLst>
            </p:cNvPr>
            <p:cNvSpPr txBox="1"/>
            <p:nvPr/>
          </p:nvSpPr>
          <p:spPr>
            <a:xfrm>
              <a:off x="1227536" y="5209134"/>
              <a:ext cx="23387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ime of data collection</a:t>
              </a:r>
            </a:p>
          </p:txBody>
        </p:sp>
      </p:grpSp>
      <p:sp>
        <p:nvSpPr>
          <p:cNvPr id="13" name="ee4pHeader1">
            <a:extLst>
              <a:ext uri="{FF2B5EF4-FFF2-40B4-BE49-F238E27FC236}">
                <a16:creationId xmlns:a16="http://schemas.microsoft.com/office/drawing/2014/main" id="{283ED9CD-6E33-5FE9-C2C3-53190F20AE8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73616" y="1808163"/>
            <a:ext cx="3014989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IGH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620DED3-2898-A238-1594-7E4F6DAE766C}"/>
              </a:ext>
            </a:extLst>
          </p:cNvPr>
          <p:cNvGrpSpPr/>
          <p:nvPr/>
        </p:nvGrpSpPr>
        <p:grpSpPr>
          <a:xfrm>
            <a:off x="2634111" y="2301533"/>
            <a:ext cx="1493999" cy="768084"/>
            <a:chOff x="1801673" y="2541859"/>
            <a:chExt cx="1493999" cy="76808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5AF3259-D352-F846-6B77-6A51AC41BBE5}"/>
                </a:ext>
              </a:extLst>
            </p:cNvPr>
            <p:cNvSpPr txBox="1"/>
            <p:nvPr/>
          </p:nvSpPr>
          <p:spPr>
            <a:xfrm>
              <a:off x="2329061" y="2541859"/>
              <a:ext cx="43922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DE" sz="2400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4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60DA505-3E3C-4672-A1F3-682575BC8E7D}"/>
                </a:ext>
              </a:extLst>
            </p:cNvPr>
            <p:cNvSpPr txBox="1"/>
            <p:nvPr/>
          </p:nvSpPr>
          <p:spPr>
            <a:xfrm>
              <a:off x="1801673" y="3125277"/>
              <a:ext cx="149399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dividual Datasets</a:t>
              </a:r>
            </a:p>
          </p:txBody>
        </p:sp>
      </p:grpSp>
      <p:sp>
        <p:nvSpPr>
          <p:cNvPr id="21" name="ee4pHeader1">
            <a:extLst>
              <a:ext uri="{FF2B5EF4-FFF2-40B4-BE49-F238E27FC236}">
                <a16:creationId xmlns:a16="http://schemas.microsoft.com/office/drawing/2014/main" id="{142373CC-5765-0CB2-91E7-94BE6CBC738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002217" y="4312192"/>
            <a:ext cx="5316166" cy="126346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ee4pHeader1">
            <a:extLst>
              <a:ext uri="{FF2B5EF4-FFF2-40B4-BE49-F238E27FC236}">
                <a16:creationId xmlns:a16="http://schemas.microsoft.com/office/drawing/2014/main" id="{73AB9D61-5511-1025-9408-42ADF6E2EC0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002217" y="3937404"/>
            <a:ext cx="5316166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URCE &amp; USAGE</a:t>
            </a:r>
          </a:p>
        </p:txBody>
      </p:sp>
      <p:sp>
        <p:nvSpPr>
          <p:cNvPr id="23" name="ee4pContent1">
            <a:extLst>
              <a:ext uri="{FF2B5EF4-FFF2-40B4-BE49-F238E27FC236}">
                <a16:creationId xmlns:a16="http://schemas.microsoft.com/office/drawing/2014/main" id="{3B118E20-BF88-70C7-DC3C-89694F93007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002217" y="4325211"/>
            <a:ext cx="5316166" cy="1237431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lIns="90000" tIns="90000" rIns="90000" bIns="90000" rtlCol="0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en-US" sz="1200">
                <a:ea typeface="Verdana" panose="020B0604030504040204" pitchFamily="34" charset="0"/>
              </a:rPr>
              <a:t>Data was collected by the </a:t>
            </a:r>
            <a:r>
              <a:rPr lang="en-US" sz="1200" b="1">
                <a:ea typeface="Verdana" panose="020B0604030504040204" pitchFamily="34" charset="0"/>
              </a:rPr>
              <a:t>Canada Border Services </a:t>
            </a:r>
            <a:r>
              <a:rPr lang="en-US" sz="1200">
                <a:ea typeface="Verdana" panose="020B0604030504040204" pitchFamily="34" charset="0"/>
              </a:rPr>
              <a:t>Agency (CBSA) and supplied to </a:t>
            </a:r>
            <a:r>
              <a:rPr lang="en-US" sz="1200" b="1">
                <a:ea typeface="Verdana" panose="020B0604030504040204" pitchFamily="34" charset="0"/>
              </a:rPr>
              <a:t>Statistics</a:t>
            </a:r>
            <a:r>
              <a:rPr lang="en-US" sz="1200">
                <a:ea typeface="Verdana" panose="020B0604030504040204" pitchFamily="34" charset="0"/>
              </a:rPr>
              <a:t> </a:t>
            </a:r>
            <a:r>
              <a:rPr lang="en-US" sz="1200" b="1">
                <a:ea typeface="Verdana" panose="020B0604030504040204" pitchFamily="34" charset="0"/>
              </a:rPr>
              <a:t>Canada</a:t>
            </a:r>
            <a:r>
              <a:rPr lang="en-US" sz="1200">
                <a:ea typeface="Verdana" panose="020B0604030504040204" pitchFamily="34" charset="0"/>
              </a:rPr>
              <a:t> to perform analyses on tourism.</a:t>
            </a:r>
          </a:p>
          <a:p>
            <a:pPr marL="0" lvl="1" indent="0">
              <a:spcAft>
                <a:spcPts val="600"/>
              </a:spcAft>
              <a:buNone/>
            </a:pPr>
            <a:r>
              <a:rPr lang="en-US" sz="1200">
                <a:ea typeface="Verdana" panose="020B0604030504040204" pitchFamily="34" charset="0"/>
              </a:rPr>
              <a:t>Since the start of data collection, various government and private organizations used the data to perform analysis to produce data on </a:t>
            </a:r>
            <a:r>
              <a:rPr lang="en-US" sz="1200" b="1">
                <a:ea typeface="Verdana" panose="020B0604030504040204" pitchFamily="34" charset="0"/>
              </a:rPr>
              <a:t>commerce</a:t>
            </a:r>
            <a:r>
              <a:rPr lang="en-US" sz="1200">
                <a:ea typeface="Verdana" panose="020B0604030504040204" pitchFamily="34" charset="0"/>
              </a:rPr>
              <a:t> and </a:t>
            </a:r>
            <a:r>
              <a:rPr lang="en-US" sz="1200" b="1">
                <a:ea typeface="Verdana" panose="020B0604030504040204" pitchFamily="34" charset="0"/>
              </a:rPr>
              <a:t>tourism</a:t>
            </a:r>
            <a:r>
              <a:rPr lang="en-US" sz="1200">
                <a:ea typeface="Verdana" panose="020B0604030504040204" pitchFamily="34" charset="0"/>
              </a:rPr>
              <a:t> between Canada and other countries</a:t>
            </a:r>
          </a:p>
        </p:txBody>
      </p:sp>
      <p:graphicFrame>
        <p:nvGraphicFramePr>
          <p:cNvPr id="24" name="Table 8">
            <a:extLst>
              <a:ext uri="{FF2B5EF4-FFF2-40B4-BE49-F238E27FC236}">
                <a16:creationId xmlns:a16="http://schemas.microsoft.com/office/drawing/2014/main" id="{6061688B-6E37-FA67-5B72-B6C721EA71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7957684"/>
              </p:ext>
            </p:extLst>
          </p:nvPr>
        </p:nvGraphicFramePr>
        <p:xfrm>
          <a:off x="5059023" y="2290905"/>
          <a:ext cx="5202554" cy="77895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885127">
                  <a:extLst>
                    <a:ext uri="{9D8B030D-6E8A-4147-A177-3AD203B41FA5}">
                      <a16:colId xmlns:a16="http://schemas.microsoft.com/office/drawing/2014/main" val="1288273714"/>
                    </a:ext>
                  </a:extLst>
                </a:gridCol>
                <a:gridCol w="3317427">
                  <a:extLst>
                    <a:ext uri="{9D8B030D-6E8A-4147-A177-3AD203B41FA5}">
                      <a16:colId xmlns:a16="http://schemas.microsoft.com/office/drawing/2014/main" val="3741137180"/>
                    </a:ext>
                  </a:extLst>
                </a:gridCol>
              </a:tblGrid>
              <a:tr h="321755">
                <a:tc>
                  <a:txBody>
                    <a:bodyPr/>
                    <a:lstStyle/>
                    <a:p>
                      <a:r>
                        <a:rPr lang="en-US" sz="1200" noProof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untry of residence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isitors by country/ continent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8237658"/>
                  </a:ext>
                </a:extLst>
              </a:tr>
              <a:tr h="321755">
                <a:tc>
                  <a:txBody>
                    <a:bodyPr/>
                    <a:lstStyle/>
                    <a:p>
                      <a:r>
                        <a:rPr lang="en-US" sz="1200" noProof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# of Visitors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nthly breakdown of total no. of visitors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86604"/>
                  </a:ext>
                </a:extLst>
              </a:tr>
            </a:tbl>
          </a:graphicData>
        </a:graphic>
      </p:graphicFrame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D6350E61-A3F7-9DE2-F886-C4EFA7EAB9FD}"/>
              </a:ext>
            </a:extLst>
          </p:cNvPr>
          <p:cNvSpPr txBox="1">
            <a:spLocks/>
          </p:cNvSpPr>
          <p:nvPr/>
        </p:nvSpPr>
        <p:spPr>
          <a:xfrm>
            <a:off x="4557712" y="6425246"/>
            <a:ext cx="4114800" cy="2273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urce: </a:t>
            </a:r>
            <a:r>
              <a:rPr lang="de-DE" err="1"/>
              <a:t>Pecar</a:t>
            </a:r>
            <a:r>
              <a:rPr lang="de-DE"/>
              <a:t>, 2022</a:t>
            </a:r>
          </a:p>
        </p:txBody>
      </p:sp>
    </p:spTree>
    <p:extLst>
      <p:ext uri="{BB962C8B-B14F-4D97-AF65-F5344CB8AC3E}">
        <p14:creationId xmlns:p14="http://schemas.microsoft.com/office/powerpoint/2010/main" val="478543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1F419EC-D04F-3882-FC69-328271C595D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Dataset &amp; Data Clean-Up</a:t>
            </a:r>
            <a:endParaRPr lang="en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004F1F-D459-BEA8-3755-73A896019A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AEE8545-38C3-143A-F749-6BD8A30176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DE" sz="2800">
                <a:latin typeface="Bahnschrift" panose="020B0502040204020203" pitchFamily="34" charset="0"/>
              </a:rPr>
              <a:t>Data Cleanup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9BCF5E4-7239-9644-9DDC-8F697D16D5E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D2267D-BF98-B2C0-6F81-3EF2602AEC3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E38844-62E5-CF8F-F67F-CF9B7C5747B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61385" y="2060434"/>
            <a:ext cx="4087703" cy="376265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8" name="Picture 4" descr="Plot the new SVG R logo with ggplot2 | R-bloggers">
            <a:extLst>
              <a:ext uri="{FF2B5EF4-FFF2-40B4-BE49-F238E27FC236}">
                <a16:creationId xmlns:a16="http://schemas.microsoft.com/office/drawing/2014/main" id="{7614A83A-0CBA-A7F6-9AB7-CB032CD78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" y="3607827"/>
            <a:ext cx="962554" cy="75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sv Svg Png Icon Free Download (#487856) - OnlineWebFonts.COM">
            <a:extLst>
              <a:ext uri="{FF2B5EF4-FFF2-40B4-BE49-F238E27FC236}">
                <a16:creationId xmlns:a16="http://schemas.microsoft.com/office/drawing/2014/main" id="{D6914673-009D-DE07-7EA7-89EF6A3FF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55" y="1860067"/>
            <a:ext cx="722428" cy="722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Csv Svg Png Icon Free Download (#487856) - OnlineWebFonts.COM">
            <a:extLst>
              <a:ext uri="{FF2B5EF4-FFF2-40B4-BE49-F238E27FC236}">
                <a16:creationId xmlns:a16="http://schemas.microsoft.com/office/drawing/2014/main" id="{EDFA9FDC-68AA-FE07-FC98-2E61DCF005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55" y="5355588"/>
            <a:ext cx="722428" cy="722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4292759-D037-373F-9F69-511C28E3556D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4DC1BED-E5BD-05BC-81E5-5E4B00FD2CF8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7" name="Graphic 16" descr="Caret Left with solid fill">
            <a:extLst>
              <a:ext uri="{FF2B5EF4-FFF2-40B4-BE49-F238E27FC236}">
                <a16:creationId xmlns:a16="http://schemas.microsoft.com/office/drawing/2014/main" id="{C2FD7DD7-A163-FEA4-9E8E-1E7E7C62A32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29156" r="30384"/>
          <a:stretch/>
        </p:blipFill>
        <p:spPr>
          <a:xfrm rot="16200000">
            <a:off x="867412" y="2631104"/>
            <a:ext cx="113554" cy="962554"/>
          </a:xfrm>
          <a:prstGeom prst="rect">
            <a:avLst/>
          </a:prstGeom>
        </p:spPr>
      </p:pic>
      <p:pic>
        <p:nvPicPr>
          <p:cNvPr id="18" name="Graphic 17" descr="Caret Left with solid fill">
            <a:extLst>
              <a:ext uri="{FF2B5EF4-FFF2-40B4-BE49-F238E27FC236}">
                <a16:creationId xmlns:a16="http://schemas.microsoft.com/office/drawing/2014/main" id="{2F8D5281-0CE6-D49B-83F9-E2FF97F1E8E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29156" r="30384"/>
          <a:stretch/>
        </p:blipFill>
        <p:spPr>
          <a:xfrm rot="16200000">
            <a:off x="867412" y="4378864"/>
            <a:ext cx="113554" cy="962554"/>
          </a:xfrm>
          <a:prstGeom prst="rect">
            <a:avLst/>
          </a:prstGeom>
        </p:spPr>
      </p:pic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A3130CD-7948-A446-2E8F-4566A1B521D8}"/>
              </a:ext>
            </a:extLst>
          </p:cNvPr>
          <p:cNvCxnSpPr/>
          <p:nvPr/>
        </p:nvCxnSpPr>
        <p:spPr>
          <a:xfrm>
            <a:off x="-970156" y="4579567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D061334-F302-8C0B-5B30-985DA493D7A7}"/>
              </a:ext>
            </a:extLst>
          </p:cNvPr>
          <p:cNvCxnSpPr/>
          <p:nvPr/>
        </p:nvCxnSpPr>
        <p:spPr>
          <a:xfrm>
            <a:off x="-970156" y="2862484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1B98FC07-6FEA-607F-7B48-2D8B3A6C7786}"/>
              </a:ext>
            </a:extLst>
          </p:cNvPr>
          <p:cNvGrpSpPr/>
          <p:nvPr/>
        </p:nvGrpSpPr>
        <p:grpSpPr>
          <a:xfrm>
            <a:off x="1508166" y="2664603"/>
            <a:ext cx="5950142" cy="1717083"/>
            <a:chOff x="1508166" y="2862484"/>
            <a:chExt cx="5950142" cy="1717083"/>
          </a:xfrm>
        </p:grpSpPr>
        <p:sp>
          <p:nvSpPr>
            <p:cNvPr id="36" name="ee4pHeader1">
              <a:extLst>
                <a:ext uri="{FF2B5EF4-FFF2-40B4-BE49-F238E27FC236}">
                  <a16:creationId xmlns:a16="http://schemas.microsoft.com/office/drawing/2014/main" id="{831202D0-AF1E-1A5F-FBC2-B1A37CD70EF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1508166" y="2862484"/>
              <a:ext cx="5950142" cy="171708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ee4pContent1">
              <a:extLst>
                <a:ext uri="{FF2B5EF4-FFF2-40B4-BE49-F238E27FC236}">
                  <a16:creationId xmlns:a16="http://schemas.microsoft.com/office/drawing/2014/main" id="{5375BD5A-D6A1-2BC6-BEAB-C87F9FA48CC4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1552416" y="2887928"/>
              <a:ext cx="3684603" cy="1648070"/>
            </a:xfrm>
            <a:prstGeom prst="rect">
              <a:avLst/>
            </a:prstGeom>
            <a:noFill/>
            <a:ln w="9525" cmpd="sng">
              <a:noFill/>
              <a:prstDash val="solid"/>
            </a:ln>
          </p:spPr>
          <p:txBody>
            <a:bodyPr vert="horz" lIns="90000" tIns="90000" rIns="90000" bIns="90000" rtlCol="0">
              <a:noAutofit/>
            </a:bodyPr>
            <a:lstStyle>
              <a:lvl1pPr marL="0" indent="0" algn="l" defTabSz="914400" rtl="0" eaLnBrk="1" latinLnBrk="0" hangingPunct="1">
                <a:spcBef>
                  <a:spcPct val="30000"/>
                </a:spcBef>
                <a:buClr>
                  <a:srgbClr val="C02A26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203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406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609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128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10160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219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1422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1625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lvl="1" indent="0">
                <a:spcAft>
                  <a:spcPts val="600"/>
                </a:spcAft>
                <a:buNone/>
              </a:pPr>
              <a:r>
                <a:rPr lang="en-US" sz="1200" b="1">
                  <a:ea typeface="Verdana" panose="020B0604030504040204" pitchFamily="34" charset="0"/>
                </a:rPr>
                <a:t>Rename &amp; Aggregate</a:t>
              </a:r>
            </a:p>
            <a:p>
              <a:pPr marL="0" lvl="1" indent="0">
                <a:spcAft>
                  <a:spcPts val="600"/>
                </a:spcAft>
                <a:buNone/>
              </a:pPr>
              <a:r>
                <a:rPr lang="en-US" sz="1200">
                  <a:ea typeface="Verdana" panose="020B0604030504040204" pitchFamily="34" charset="0"/>
                </a:rPr>
                <a:t>Rename countries and aggregate them in corresponding categories</a:t>
              </a:r>
            </a:p>
            <a:p>
              <a:pPr marL="0" lvl="1" indent="0">
                <a:spcAft>
                  <a:spcPts val="600"/>
                </a:spcAft>
                <a:buNone/>
              </a:pPr>
              <a:r>
                <a:rPr lang="en-US" sz="1200" b="1">
                  <a:ea typeface="Verdana" panose="020B0604030504040204" pitchFamily="34" charset="0"/>
                </a:rPr>
                <a:t>Order &amp; Separate</a:t>
              </a:r>
            </a:p>
            <a:p>
              <a:pPr marL="0" lvl="1" indent="0">
                <a:spcAft>
                  <a:spcPts val="600"/>
                </a:spcAft>
                <a:buNone/>
              </a:pPr>
              <a:r>
                <a:rPr lang="en-US" sz="1200">
                  <a:ea typeface="Verdana" panose="020B0604030504040204" pitchFamily="34" charset="0"/>
                </a:rPr>
                <a:t>Separate the dataset into subsets with 3 hierarchy levels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6340454D-B0FD-F82D-7141-24E7773E443B}"/>
                </a:ext>
              </a:extLst>
            </p:cNvPr>
            <p:cNvGrpSpPr/>
            <p:nvPr/>
          </p:nvGrpSpPr>
          <p:grpSpPr>
            <a:xfrm>
              <a:off x="5481969" y="2939884"/>
              <a:ext cx="1824350" cy="469161"/>
              <a:chOff x="5333686" y="3008967"/>
              <a:chExt cx="1824350" cy="469161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0DB56A82-47DC-413D-7EB7-FBA3E0740DBC}"/>
                  </a:ext>
                </a:extLst>
              </p:cNvPr>
              <p:cNvSpPr/>
              <p:nvPr/>
            </p:nvSpPr>
            <p:spPr>
              <a:xfrm>
                <a:off x="5333686" y="3008967"/>
                <a:ext cx="1824350" cy="2068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Continents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5F934A3-256E-8E21-1A3E-138213931176}"/>
                  </a:ext>
                </a:extLst>
              </p:cNvPr>
              <p:cNvSpPr txBox="1"/>
              <p:nvPr/>
            </p:nvSpPr>
            <p:spPr>
              <a:xfrm>
                <a:off x="5339719" y="3293462"/>
                <a:ext cx="65723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1 Dataset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AE47ADB8-6E17-BF19-A358-BCE11F610D5B}"/>
                  </a:ext>
                </a:extLst>
              </p:cNvPr>
              <p:cNvSpPr txBox="1"/>
              <p:nvPr/>
            </p:nvSpPr>
            <p:spPr>
              <a:xfrm>
                <a:off x="6297222" y="3293462"/>
                <a:ext cx="860813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6 Continents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82BD1F5-AA6D-2193-48EA-E1643C12A01F}"/>
                </a:ext>
              </a:extLst>
            </p:cNvPr>
            <p:cNvGrpSpPr/>
            <p:nvPr/>
          </p:nvGrpSpPr>
          <p:grpSpPr>
            <a:xfrm>
              <a:off x="5481969" y="3486445"/>
              <a:ext cx="1824350" cy="469161"/>
              <a:chOff x="5333686" y="3008967"/>
              <a:chExt cx="1824350" cy="46916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601DB842-392D-D613-D9A6-3A561FCE9B91}"/>
                  </a:ext>
                </a:extLst>
              </p:cNvPr>
              <p:cNvSpPr/>
              <p:nvPr/>
            </p:nvSpPr>
            <p:spPr>
              <a:xfrm>
                <a:off x="5333686" y="3008967"/>
                <a:ext cx="1824350" cy="2068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Continents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89F2305F-5423-AFAC-EC22-5AC1F8B315FE}"/>
                  </a:ext>
                </a:extLst>
              </p:cNvPr>
              <p:cNvSpPr txBox="1"/>
              <p:nvPr/>
            </p:nvSpPr>
            <p:spPr>
              <a:xfrm>
                <a:off x="5339719" y="3293462"/>
                <a:ext cx="734175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6 Datasets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50D2D354-E7AE-938B-F374-7C7F66E065EC}"/>
                  </a:ext>
                </a:extLst>
              </p:cNvPr>
              <p:cNvSpPr txBox="1"/>
              <p:nvPr/>
            </p:nvSpPr>
            <p:spPr>
              <a:xfrm>
                <a:off x="6332489" y="3293462"/>
                <a:ext cx="82554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5-6 Regions</a:t>
                </a:r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BBECCDE6-DB0A-FAAE-5109-1450E58D1A22}"/>
                </a:ext>
              </a:extLst>
            </p:cNvPr>
            <p:cNvGrpSpPr/>
            <p:nvPr/>
          </p:nvGrpSpPr>
          <p:grpSpPr>
            <a:xfrm>
              <a:off x="5478318" y="4033006"/>
              <a:ext cx="1824350" cy="469161"/>
              <a:chOff x="5333686" y="3008967"/>
              <a:chExt cx="1824350" cy="469161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0FC55C16-3EE6-DBD6-5D56-2C0DE0718EB6}"/>
                  </a:ext>
                </a:extLst>
              </p:cNvPr>
              <p:cNvSpPr/>
              <p:nvPr/>
            </p:nvSpPr>
            <p:spPr>
              <a:xfrm>
                <a:off x="5333686" y="3008967"/>
                <a:ext cx="1824350" cy="2068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Continents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4E6F59DE-D63E-6B36-0E10-CADFD2A0C6EB}"/>
                  </a:ext>
                </a:extLst>
              </p:cNvPr>
              <p:cNvSpPr txBox="1"/>
              <p:nvPr/>
            </p:nvSpPr>
            <p:spPr>
              <a:xfrm>
                <a:off x="5339719" y="3293462"/>
                <a:ext cx="65723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1 Dataset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3AD7CE1-505C-1DC7-0042-6EEC73170839}"/>
                  </a:ext>
                </a:extLst>
              </p:cNvPr>
              <p:cNvSpPr txBox="1"/>
              <p:nvPr/>
            </p:nvSpPr>
            <p:spPr>
              <a:xfrm>
                <a:off x="6204249" y="3293462"/>
                <a:ext cx="95378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257 Countries</a:t>
                </a:r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A4B4607-E73F-8D40-CE11-5CA03B7BA799}"/>
              </a:ext>
            </a:extLst>
          </p:cNvPr>
          <p:cNvGrpSpPr/>
          <p:nvPr/>
        </p:nvGrpSpPr>
        <p:grpSpPr>
          <a:xfrm>
            <a:off x="1509969" y="4431561"/>
            <a:ext cx="5960213" cy="876358"/>
            <a:chOff x="1509969" y="4431561"/>
            <a:chExt cx="5960213" cy="876358"/>
          </a:xfrm>
        </p:grpSpPr>
        <p:sp>
          <p:nvSpPr>
            <p:cNvPr id="33" name="ee4pHeader1">
              <a:extLst>
                <a:ext uri="{FF2B5EF4-FFF2-40B4-BE49-F238E27FC236}">
                  <a16:creationId xmlns:a16="http://schemas.microsoft.com/office/drawing/2014/main" id="{EEA5B208-C1A1-397E-1440-9735E79EE69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1509969" y="4431561"/>
              <a:ext cx="5960213" cy="87635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ee4pContent1">
              <a:extLst>
                <a:ext uri="{FF2B5EF4-FFF2-40B4-BE49-F238E27FC236}">
                  <a16:creationId xmlns:a16="http://schemas.microsoft.com/office/drawing/2014/main" id="{AF2D454B-6FB7-B1D6-67DB-5D1510BC82B8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552416" y="4441482"/>
              <a:ext cx="3684603" cy="856517"/>
            </a:xfrm>
            <a:prstGeom prst="rect">
              <a:avLst/>
            </a:prstGeom>
            <a:noFill/>
            <a:ln w="9525" cmpd="sng">
              <a:noFill/>
              <a:prstDash val="solid"/>
            </a:ln>
          </p:spPr>
          <p:txBody>
            <a:bodyPr vert="horz" lIns="90000" tIns="90000" rIns="90000" bIns="90000" rtlCol="0">
              <a:noAutofit/>
            </a:bodyPr>
            <a:lstStyle>
              <a:lvl1pPr marL="0" indent="0" algn="l" defTabSz="914400" rtl="0" eaLnBrk="1" latinLnBrk="0" hangingPunct="1">
                <a:spcBef>
                  <a:spcPct val="30000"/>
                </a:spcBef>
                <a:buClr>
                  <a:srgbClr val="C02A26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203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406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609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128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10160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219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1422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1625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lvl="1" indent="0">
                <a:spcAft>
                  <a:spcPts val="600"/>
                </a:spcAft>
                <a:buNone/>
              </a:pPr>
              <a:r>
                <a:rPr lang="en-US" sz="1200" b="1">
                  <a:ea typeface="Verdana" panose="020B0604030504040204" pitchFamily="34" charset="0"/>
                </a:rPr>
                <a:t>Analyze</a:t>
              </a:r>
            </a:p>
            <a:p>
              <a:pPr marL="0" lvl="1" indent="0">
                <a:spcAft>
                  <a:spcPts val="600"/>
                </a:spcAft>
                <a:buNone/>
              </a:pPr>
              <a:r>
                <a:rPr lang="en-US" sz="1200">
                  <a:ea typeface="Verdana" panose="020B0604030504040204" pitchFamily="34" charset="0"/>
                </a:rPr>
                <a:t>Implement filter criteria in columns (time) and rows (continents/ countries) and calculate SUM &amp; AVG</a:t>
              </a:r>
            </a:p>
          </p:txBody>
        </p:sp>
        <p:grpSp>
          <p:nvGrpSpPr>
            <p:cNvPr id="1024" name="Group 1023">
              <a:extLst>
                <a:ext uri="{FF2B5EF4-FFF2-40B4-BE49-F238E27FC236}">
                  <a16:creationId xmlns:a16="http://schemas.microsoft.com/office/drawing/2014/main" id="{7635AD4C-1BA3-78EB-C630-1B36D6B2BA85}"/>
                </a:ext>
              </a:extLst>
            </p:cNvPr>
            <p:cNvGrpSpPr/>
            <p:nvPr/>
          </p:nvGrpSpPr>
          <p:grpSpPr>
            <a:xfrm>
              <a:off x="5445276" y="4635159"/>
              <a:ext cx="1824350" cy="469161"/>
              <a:chOff x="5333686" y="3008967"/>
              <a:chExt cx="1824350" cy="469161"/>
            </a:xfrm>
          </p:grpSpPr>
          <p:sp>
            <p:nvSpPr>
              <p:cNvPr id="1025" name="Rectangle 1024">
                <a:extLst>
                  <a:ext uri="{FF2B5EF4-FFF2-40B4-BE49-F238E27FC236}">
                    <a16:creationId xmlns:a16="http://schemas.microsoft.com/office/drawing/2014/main" id="{E5FE6A88-5D0C-F40D-CDC0-3801E8B0E8B4}"/>
                  </a:ext>
                </a:extLst>
              </p:cNvPr>
              <p:cNvSpPr/>
              <p:nvPr/>
            </p:nvSpPr>
            <p:spPr>
              <a:xfrm>
                <a:off x="5333686" y="3008967"/>
                <a:ext cx="1824350" cy="2068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Analyzed</a:t>
                </a:r>
              </a:p>
            </p:txBody>
          </p:sp>
          <p:sp>
            <p:nvSpPr>
              <p:cNvPr id="1027" name="TextBox 1026">
                <a:extLst>
                  <a:ext uri="{FF2B5EF4-FFF2-40B4-BE49-F238E27FC236}">
                    <a16:creationId xmlns:a16="http://schemas.microsoft.com/office/drawing/2014/main" id="{60D1E39D-2293-EB33-E134-BE405DE13F63}"/>
                  </a:ext>
                </a:extLst>
              </p:cNvPr>
              <p:cNvSpPr txBox="1"/>
              <p:nvPr/>
            </p:nvSpPr>
            <p:spPr>
              <a:xfrm>
                <a:off x="5878774" y="3293462"/>
                <a:ext cx="734175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2 Datasets</a:t>
                </a:r>
              </a:p>
            </p:txBody>
          </p:sp>
        </p:grpSp>
      </p:grpSp>
      <p:sp>
        <p:nvSpPr>
          <p:cNvPr id="29" name="ee4pHeader1">
            <a:extLst>
              <a:ext uri="{FF2B5EF4-FFF2-40B4-BE49-F238E27FC236}">
                <a16:creationId xmlns:a16="http://schemas.microsoft.com/office/drawing/2014/main" id="{DF7555F6-D916-200F-E714-826F52BAE8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09969" y="1800322"/>
            <a:ext cx="5960213" cy="72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ee4pContent1">
            <a:extLst>
              <a:ext uri="{FF2B5EF4-FFF2-40B4-BE49-F238E27FC236}">
                <a16:creationId xmlns:a16="http://schemas.microsoft.com/office/drawing/2014/main" id="{204DA5CC-D781-C8B8-5438-2B4C46BBE1D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552416" y="1830117"/>
            <a:ext cx="5750252" cy="662839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lIns="90000" tIns="90000" rIns="90000" bIns="90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en-US" sz="1200" b="1">
                <a:latin typeface="Arial"/>
                <a:ea typeface="Verdana"/>
                <a:cs typeface="Arial"/>
              </a:rPr>
              <a:t>Import</a:t>
            </a:r>
          </a:p>
          <a:p>
            <a:pPr marL="0" lvl="1" indent="0">
              <a:spcAft>
                <a:spcPts val="600"/>
              </a:spcAft>
              <a:buNone/>
            </a:pPr>
            <a:r>
              <a:rPr lang="en-US" sz="1200">
                <a:latin typeface="Arial"/>
                <a:ea typeface="Verdana"/>
                <a:cs typeface="Arial"/>
              </a:rPr>
              <a:t>CSV File from Kaggle</a:t>
            </a:r>
            <a:endParaRPr lang="en-US" sz="1200">
              <a:ea typeface="Verdana" panose="020B0604030504040204" pitchFamily="34" charset="0"/>
            </a:endParaRPr>
          </a:p>
        </p:txBody>
      </p:sp>
      <p:grpSp>
        <p:nvGrpSpPr>
          <p:cNvPr id="1031" name="Group 1030">
            <a:extLst>
              <a:ext uri="{FF2B5EF4-FFF2-40B4-BE49-F238E27FC236}">
                <a16:creationId xmlns:a16="http://schemas.microsoft.com/office/drawing/2014/main" id="{8484A67E-D67D-D227-364F-277F5CD60B34}"/>
              </a:ext>
            </a:extLst>
          </p:cNvPr>
          <p:cNvGrpSpPr/>
          <p:nvPr/>
        </p:nvGrpSpPr>
        <p:grpSpPr>
          <a:xfrm>
            <a:off x="5481969" y="1926956"/>
            <a:ext cx="1824350" cy="469161"/>
            <a:chOff x="5333686" y="3008967"/>
            <a:chExt cx="1824350" cy="469161"/>
          </a:xfrm>
        </p:grpSpPr>
        <p:sp>
          <p:nvSpPr>
            <p:cNvPr id="1032" name="Rectangle 1031">
              <a:extLst>
                <a:ext uri="{FF2B5EF4-FFF2-40B4-BE49-F238E27FC236}">
                  <a16:creationId xmlns:a16="http://schemas.microsoft.com/office/drawing/2014/main" id="{EDE7119E-69BB-097F-B6C3-D71BBF5C86F8}"/>
                </a:ext>
              </a:extLst>
            </p:cNvPr>
            <p:cNvSpPr/>
            <p:nvPr/>
          </p:nvSpPr>
          <p:spPr>
            <a:xfrm>
              <a:off x="5333686" y="3008967"/>
              <a:ext cx="1824350" cy="206828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Raw Data</a:t>
              </a:r>
            </a:p>
          </p:txBody>
        </p:sp>
        <p:sp>
          <p:nvSpPr>
            <p:cNvPr id="1033" name="TextBox 1032">
              <a:extLst>
                <a:ext uri="{FF2B5EF4-FFF2-40B4-BE49-F238E27FC236}">
                  <a16:creationId xmlns:a16="http://schemas.microsoft.com/office/drawing/2014/main" id="{7EB3FFF4-3B11-A71D-2223-C7BEED93FA92}"/>
                </a:ext>
              </a:extLst>
            </p:cNvPr>
            <p:cNvSpPr txBox="1"/>
            <p:nvPr/>
          </p:nvSpPr>
          <p:spPr>
            <a:xfrm>
              <a:off x="5339719" y="3293462"/>
              <a:ext cx="90249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606 Columns</a:t>
              </a:r>
            </a:p>
          </p:txBody>
        </p:sp>
        <p:sp>
          <p:nvSpPr>
            <p:cNvPr id="1034" name="TextBox 1033">
              <a:extLst>
                <a:ext uri="{FF2B5EF4-FFF2-40B4-BE49-F238E27FC236}">
                  <a16:creationId xmlns:a16="http://schemas.microsoft.com/office/drawing/2014/main" id="{DD9B2A48-C539-D9FF-87FF-64E3E940A5EE}"/>
                </a:ext>
              </a:extLst>
            </p:cNvPr>
            <p:cNvSpPr txBox="1"/>
            <p:nvPr/>
          </p:nvSpPr>
          <p:spPr>
            <a:xfrm>
              <a:off x="6476759" y="3293462"/>
              <a:ext cx="681277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294 Rows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280A5F2-596A-FE34-98D6-F47400BA57A1}"/>
              </a:ext>
            </a:extLst>
          </p:cNvPr>
          <p:cNvGrpSpPr/>
          <p:nvPr/>
        </p:nvGrpSpPr>
        <p:grpSpPr>
          <a:xfrm>
            <a:off x="1509969" y="5449773"/>
            <a:ext cx="5960213" cy="722428"/>
            <a:chOff x="1509969" y="5295843"/>
            <a:chExt cx="5960213" cy="722428"/>
          </a:xfrm>
        </p:grpSpPr>
        <p:sp>
          <p:nvSpPr>
            <p:cNvPr id="4" name="ee4pHeader1">
              <a:extLst>
                <a:ext uri="{FF2B5EF4-FFF2-40B4-BE49-F238E27FC236}">
                  <a16:creationId xmlns:a16="http://schemas.microsoft.com/office/drawing/2014/main" id="{33455EDC-48A4-11A6-4C15-3CD504E271A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1509969" y="5295843"/>
              <a:ext cx="5960213" cy="72242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" name="ee4pContent1">
              <a:extLst>
                <a:ext uri="{FF2B5EF4-FFF2-40B4-BE49-F238E27FC236}">
                  <a16:creationId xmlns:a16="http://schemas.microsoft.com/office/drawing/2014/main" id="{A764600C-60B9-6A75-1750-41C103E82933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552416" y="5305764"/>
              <a:ext cx="3684603" cy="662839"/>
            </a:xfrm>
            <a:prstGeom prst="rect">
              <a:avLst/>
            </a:prstGeom>
            <a:noFill/>
            <a:ln w="9525" cmpd="sng">
              <a:noFill/>
              <a:prstDash val="solid"/>
            </a:ln>
          </p:spPr>
          <p:txBody>
            <a:bodyPr vert="horz" lIns="90000" tIns="90000" rIns="90000" bIns="90000" rtlCol="0">
              <a:noAutofit/>
            </a:bodyPr>
            <a:lstStyle>
              <a:lvl1pPr marL="0" indent="0" algn="l" defTabSz="914400" rtl="0" eaLnBrk="1" latinLnBrk="0" hangingPunct="1">
                <a:spcBef>
                  <a:spcPct val="30000"/>
                </a:spcBef>
                <a:buClr>
                  <a:srgbClr val="C02A26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203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406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609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128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10160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219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1422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1625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lvl="1" indent="0">
                <a:spcAft>
                  <a:spcPts val="600"/>
                </a:spcAft>
                <a:buNone/>
              </a:pPr>
              <a:r>
                <a:rPr lang="en-US" sz="1200" b="1">
                  <a:ea typeface="Verdana" panose="020B0604030504040204" pitchFamily="34" charset="0"/>
                </a:rPr>
                <a:t>Export</a:t>
              </a:r>
            </a:p>
            <a:p>
              <a:pPr marL="0" lvl="1" indent="0">
                <a:spcAft>
                  <a:spcPts val="600"/>
                </a:spcAft>
                <a:buNone/>
              </a:pPr>
              <a:r>
                <a:rPr lang="en-US" sz="1200">
                  <a:ea typeface="Verdana" panose="020B0604030504040204" pitchFamily="34" charset="0"/>
                </a:rPr>
                <a:t>CSV File from R with specific datas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25390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FAACF3-A7AA-62A2-1CE5-63DAC6D9B7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1599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FAACF3-A7AA-62A2-1CE5-63DAC6D9B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7FFD0D-A31C-623E-E3DA-11A223839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4350" y="739775"/>
            <a:ext cx="6154738" cy="5378449"/>
          </a:xfrm>
        </p:spPr>
        <p:txBody>
          <a:bodyPr vert="horz">
            <a:norm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>
                <a:solidFill>
                  <a:schemeClr val="tx2"/>
                </a:solidFill>
              </a:rPr>
              <a:t>Dataset &amp; Data Clean-Up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accent1"/>
                </a:solidFill>
              </a:rPr>
              <a:t>Countries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Continents &amp; Regions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Weather Influences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E6DC30FF-A504-7A9F-B27A-406C4C588826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t="8414" b="8414"/>
          <a:stretch/>
        </p:blipFill>
        <p:spPr bwMode="auto">
          <a:xfrm>
            <a:off x="479424" y="739775"/>
            <a:ext cx="4314825" cy="537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1359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8376C383-093F-71E7-8E14-23D2005161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5520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8376C383-093F-71E7-8E14-23D2005161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ee4pHeader1">
            <a:extLst>
              <a:ext uri="{FF2B5EF4-FFF2-40B4-BE49-F238E27FC236}">
                <a16:creationId xmlns:a16="http://schemas.microsoft.com/office/drawing/2014/main" id="{9DB41C66-62C3-64FA-CACE-3428DA38F6E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200595" y="4819898"/>
            <a:ext cx="3543765" cy="867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en-US"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E3935B-E57A-CB5C-34D0-C80DA39CF7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untrie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20C2B2-B326-90CE-A63F-220D7C6F78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B084CA-5DFD-82E8-498D-9E28E23F72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2800">
                <a:latin typeface="Bahnschrift" panose="020B0502040204020203" pitchFamily="34" charset="0"/>
              </a:rPr>
              <a:t>Top 5 origins of traveler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521A7-E973-8781-4339-C3EB06CC1CE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Based on data since 200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A2249E-7BEA-77C0-26D1-9DDD12E72E6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9ED3D1-DA4B-D842-9E85-ABF36D12847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0" name="ee4pHeader1">
            <a:extLst>
              <a:ext uri="{FF2B5EF4-FFF2-40B4-BE49-F238E27FC236}">
                <a16:creationId xmlns:a16="http://schemas.microsoft.com/office/drawing/2014/main" id="{A5F28EC5-A380-EB92-FF83-2AC09354281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171831" y="1882940"/>
            <a:ext cx="246627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VISITORS</a:t>
            </a:r>
          </a:p>
        </p:txBody>
      </p:sp>
      <p:sp>
        <p:nvSpPr>
          <p:cNvPr id="48" name="ee4pHeader1">
            <a:extLst>
              <a:ext uri="{FF2B5EF4-FFF2-40B4-BE49-F238E27FC236}">
                <a16:creationId xmlns:a16="http://schemas.microsoft.com/office/drawing/2014/main" id="{45CA0CA3-79F2-C83F-53BE-17D42C48E1B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763927" y="1800321"/>
            <a:ext cx="3177702" cy="47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400" b="1" spc="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YEARLY VISITORS PER CAPIT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E5406B6-C6BE-AE3F-701D-D8816BCC8B0C}"/>
              </a:ext>
            </a:extLst>
          </p:cNvPr>
          <p:cNvGrpSpPr/>
          <p:nvPr/>
        </p:nvGrpSpPr>
        <p:grpSpPr>
          <a:xfrm>
            <a:off x="548420" y="2275159"/>
            <a:ext cx="964151" cy="677108"/>
            <a:chOff x="442912" y="1933055"/>
            <a:chExt cx="964151" cy="67710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79694A9-3BD6-4EC8-75FD-90451493EA3C}"/>
                </a:ext>
              </a:extLst>
            </p:cNvPr>
            <p:cNvSpPr txBox="1"/>
            <p:nvPr/>
          </p:nvSpPr>
          <p:spPr>
            <a:xfrm>
              <a:off x="442912" y="1933055"/>
              <a:ext cx="695703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32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#</a:t>
              </a:r>
              <a:r>
                <a:rPr lang="en-US" sz="44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CA3F3DA-249C-AC2C-CF5F-20A99DFEEB24}"/>
                </a:ext>
              </a:extLst>
            </p:cNvPr>
            <p:cNvSpPr txBox="1"/>
            <p:nvPr/>
          </p:nvSpPr>
          <p:spPr>
            <a:xfrm>
              <a:off x="839600" y="2213937"/>
              <a:ext cx="567463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600" b="1" spc="300"/>
                <a:t>USA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F17FEB8-5140-CAC1-D14E-C5ABD20FB94C}"/>
              </a:ext>
            </a:extLst>
          </p:cNvPr>
          <p:cNvGrpSpPr/>
          <p:nvPr/>
        </p:nvGrpSpPr>
        <p:grpSpPr>
          <a:xfrm>
            <a:off x="534132" y="5015421"/>
            <a:ext cx="1564380" cy="677108"/>
            <a:chOff x="548420" y="3036079"/>
            <a:chExt cx="1564380" cy="677108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B327C8A-6A5E-4F3E-B530-F777A3DE249C}"/>
                </a:ext>
              </a:extLst>
            </p:cNvPr>
            <p:cNvSpPr txBox="1"/>
            <p:nvPr/>
          </p:nvSpPr>
          <p:spPr>
            <a:xfrm>
              <a:off x="548420" y="3036079"/>
              <a:ext cx="695703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32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#</a:t>
              </a:r>
              <a:r>
                <a:rPr lang="en-US" sz="44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4345F12-BF2B-B174-9C93-2E2118BF4480}"/>
                </a:ext>
              </a:extLst>
            </p:cNvPr>
            <p:cNvSpPr txBox="1"/>
            <p:nvPr/>
          </p:nvSpPr>
          <p:spPr>
            <a:xfrm>
              <a:off x="945108" y="3316961"/>
              <a:ext cx="116769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600" b="1" spc="300"/>
                <a:t>Germany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D22FA1C-C709-EA3C-F4B8-EC848BB7CED5}"/>
              </a:ext>
            </a:extLst>
          </p:cNvPr>
          <p:cNvGrpSpPr/>
          <p:nvPr/>
        </p:nvGrpSpPr>
        <p:grpSpPr>
          <a:xfrm>
            <a:off x="534132" y="4330357"/>
            <a:ext cx="1180557" cy="677108"/>
            <a:chOff x="548420" y="3036079"/>
            <a:chExt cx="1180557" cy="67710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33E3D07-F2B4-C9A3-1245-47F446441F5E}"/>
                </a:ext>
              </a:extLst>
            </p:cNvPr>
            <p:cNvSpPr txBox="1"/>
            <p:nvPr/>
          </p:nvSpPr>
          <p:spPr>
            <a:xfrm>
              <a:off x="548420" y="3036079"/>
              <a:ext cx="695703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32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#</a:t>
              </a:r>
              <a:r>
                <a:rPr lang="en-US" sz="44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BBDB99F-ADB2-7908-5C61-1A241D5DBF40}"/>
                </a:ext>
              </a:extLst>
            </p:cNvPr>
            <p:cNvSpPr txBox="1"/>
            <p:nvPr/>
          </p:nvSpPr>
          <p:spPr>
            <a:xfrm>
              <a:off x="945108" y="3316961"/>
              <a:ext cx="78386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600" b="1" spc="300"/>
                <a:t>Japan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3C55EE-3A17-4A64-A947-90688B5DDB42}"/>
              </a:ext>
            </a:extLst>
          </p:cNvPr>
          <p:cNvGrpSpPr/>
          <p:nvPr/>
        </p:nvGrpSpPr>
        <p:grpSpPr>
          <a:xfrm>
            <a:off x="534132" y="3645291"/>
            <a:ext cx="1180557" cy="677108"/>
            <a:chOff x="548420" y="3036079"/>
            <a:chExt cx="1180557" cy="67710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F893CAB-FEF9-2151-911E-65699DDEACFF}"/>
                </a:ext>
              </a:extLst>
            </p:cNvPr>
            <p:cNvSpPr txBox="1"/>
            <p:nvPr/>
          </p:nvSpPr>
          <p:spPr>
            <a:xfrm>
              <a:off x="548420" y="3036079"/>
              <a:ext cx="695703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32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#</a:t>
              </a:r>
              <a:r>
                <a:rPr lang="en-US" sz="44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6151536-D310-AD3B-003D-3E976E1E926E}"/>
                </a:ext>
              </a:extLst>
            </p:cNvPr>
            <p:cNvSpPr txBox="1"/>
            <p:nvPr/>
          </p:nvSpPr>
          <p:spPr>
            <a:xfrm>
              <a:off x="945108" y="3316961"/>
              <a:ext cx="78386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600" b="1" spc="300"/>
                <a:t>Fanc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BEFBFC9-44C6-0D27-910B-21645A8B880D}"/>
              </a:ext>
            </a:extLst>
          </p:cNvPr>
          <p:cNvGrpSpPr/>
          <p:nvPr/>
        </p:nvGrpSpPr>
        <p:grpSpPr>
          <a:xfrm>
            <a:off x="548420" y="2960225"/>
            <a:ext cx="768585" cy="677108"/>
            <a:chOff x="548420" y="3036079"/>
            <a:chExt cx="768585" cy="67710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3EB60A5-4DAF-4F4D-3024-49A2AC8D28D4}"/>
                </a:ext>
              </a:extLst>
            </p:cNvPr>
            <p:cNvSpPr txBox="1"/>
            <p:nvPr/>
          </p:nvSpPr>
          <p:spPr>
            <a:xfrm>
              <a:off x="548420" y="3036079"/>
              <a:ext cx="695703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32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#</a:t>
              </a:r>
              <a:r>
                <a:rPr lang="en-US" sz="4400">
                  <a:solidFill>
                    <a:schemeClr val="bg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8D6F150-D434-50FE-D8D6-DD9F767A2025}"/>
                </a:ext>
              </a:extLst>
            </p:cNvPr>
            <p:cNvSpPr txBox="1"/>
            <p:nvPr/>
          </p:nvSpPr>
          <p:spPr>
            <a:xfrm>
              <a:off x="945108" y="3316961"/>
              <a:ext cx="37189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sz="1600" b="1" spc="300"/>
                <a:t>UK</a:t>
              </a:r>
            </a:p>
          </p:txBody>
        </p:sp>
      </p:grpSp>
      <p:grpSp>
        <p:nvGrpSpPr>
          <p:cNvPr id="2160" name="Group 2159">
            <a:extLst>
              <a:ext uri="{FF2B5EF4-FFF2-40B4-BE49-F238E27FC236}">
                <a16:creationId xmlns:a16="http://schemas.microsoft.com/office/drawing/2014/main" id="{7EA26B9C-5669-6864-AE72-BD3DB940C33A}"/>
              </a:ext>
            </a:extLst>
          </p:cNvPr>
          <p:cNvGrpSpPr/>
          <p:nvPr/>
        </p:nvGrpSpPr>
        <p:grpSpPr>
          <a:xfrm>
            <a:off x="2171830" y="2296550"/>
            <a:ext cx="2466271" cy="3395979"/>
            <a:chOff x="2171830" y="2379853"/>
            <a:chExt cx="2466271" cy="339597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C3873AB-01DF-66EE-5A71-9814C0DB7FC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30703" y="2490465"/>
              <a:ext cx="1752745" cy="413102"/>
              <a:chOff x="2111213" y="1753070"/>
              <a:chExt cx="2849299" cy="671549"/>
            </a:xfrm>
          </p:grpSpPr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4EBDB3BA-F7B1-B1A3-6986-F1834DFBAD4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11213" y="1825014"/>
                <a:ext cx="2849299" cy="526703"/>
              </a:xfrm>
              <a:custGeom>
                <a:avLst/>
                <a:gdLst>
                  <a:gd name="connsiteX0" fmla="*/ 2206818 w 2854488"/>
                  <a:gd name="connsiteY0" fmla="*/ 0 h 527662"/>
                  <a:gd name="connsiteX1" fmla="*/ 2854488 w 2854488"/>
                  <a:gd name="connsiteY1" fmla="*/ 0 h 527662"/>
                  <a:gd name="connsiteX2" fmla="*/ 2854488 w 2854488"/>
                  <a:gd name="connsiteY2" fmla="*/ 527662 h 527662"/>
                  <a:gd name="connsiteX3" fmla="*/ 2065432 w 2854488"/>
                  <a:gd name="connsiteY3" fmla="*/ 527662 h 527662"/>
                  <a:gd name="connsiteX4" fmla="*/ 0 w 2854488"/>
                  <a:gd name="connsiteY4" fmla="*/ 0 h 527662"/>
                  <a:gd name="connsiteX5" fmla="*/ 2146199 w 2854488"/>
                  <a:gd name="connsiteY5" fmla="*/ 0 h 527662"/>
                  <a:gd name="connsiteX6" fmla="*/ 2004812 w 2854488"/>
                  <a:gd name="connsiteY6" fmla="*/ 527662 h 527662"/>
                  <a:gd name="connsiteX7" fmla="*/ 0 w 2854488"/>
                  <a:gd name="connsiteY7" fmla="*/ 527662 h 527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488" h="527662">
                    <a:moveTo>
                      <a:pt x="2206818" y="0"/>
                    </a:moveTo>
                    <a:lnTo>
                      <a:pt x="2854488" y="0"/>
                    </a:lnTo>
                    <a:lnTo>
                      <a:pt x="2854488" y="527662"/>
                    </a:lnTo>
                    <a:lnTo>
                      <a:pt x="2065432" y="527662"/>
                    </a:lnTo>
                    <a:close/>
                    <a:moveTo>
                      <a:pt x="0" y="0"/>
                    </a:moveTo>
                    <a:lnTo>
                      <a:pt x="2146199" y="0"/>
                    </a:lnTo>
                    <a:lnTo>
                      <a:pt x="2004812" y="527662"/>
                    </a:lnTo>
                    <a:lnTo>
                      <a:pt x="0" y="52766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en-US" sz="1000"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1,556,649,749</a:t>
                </a:r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D2001C1E-6FB9-1164-F26F-203F8FEF4C15}"/>
                  </a:ext>
                </a:extLst>
              </p:cNvPr>
              <p:cNvCxnSpPr>
                <a:cxnSpLocks/>
              </p:cNvCxnSpPr>
              <p:nvPr/>
            </p:nvCxnSpPr>
            <p:spPr>
              <a:xfrm rot="900000">
                <a:off x="4185432" y="1753070"/>
                <a:ext cx="0" cy="671549"/>
              </a:xfrm>
              <a:prstGeom prst="line">
                <a:avLst/>
              </a:prstGeom>
              <a:ln w="6350" cap="sq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C80C1645-50A5-4ECE-C5E7-DB7321243439}"/>
                  </a:ext>
                </a:extLst>
              </p:cNvPr>
              <p:cNvCxnSpPr>
                <a:cxnSpLocks/>
              </p:cNvCxnSpPr>
              <p:nvPr/>
            </p:nvCxnSpPr>
            <p:spPr>
              <a:xfrm rot="900000">
                <a:off x="4247152" y="1753070"/>
                <a:ext cx="0" cy="671549"/>
              </a:xfrm>
              <a:prstGeom prst="line">
                <a:avLst/>
              </a:prstGeom>
              <a:ln w="6350" cap="sq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CD92CD4-9496-74D0-9AD7-D888D8E21D10}"/>
                </a:ext>
              </a:extLst>
            </p:cNvPr>
            <p:cNvGrpSpPr/>
            <p:nvPr/>
          </p:nvGrpSpPr>
          <p:grpSpPr>
            <a:xfrm>
              <a:off x="2430704" y="5275278"/>
              <a:ext cx="940653" cy="324000"/>
              <a:chOff x="2111213" y="5678746"/>
              <a:chExt cx="940653" cy="324000"/>
            </a:xfrm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64FDA7E4-458E-0EDA-6BFD-04E14E20E30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11213" y="5678746"/>
                <a:ext cx="286682" cy="32400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0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0CB30877-E86C-FB9A-7EB9-893EE0BCDCC0}"/>
                  </a:ext>
                </a:extLst>
              </p:cNvPr>
              <p:cNvSpPr txBox="1"/>
              <p:nvPr/>
            </p:nvSpPr>
            <p:spPr>
              <a:xfrm>
                <a:off x="2417077" y="5763802"/>
                <a:ext cx="63478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000"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10,735,398</a:t>
                </a: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8341061-F83F-1A2B-E139-20A5786AAFF0}"/>
                </a:ext>
              </a:extLst>
            </p:cNvPr>
            <p:cNvGrpSpPr/>
            <p:nvPr/>
          </p:nvGrpSpPr>
          <p:grpSpPr>
            <a:xfrm>
              <a:off x="2430704" y="4590214"/>
              <a:ext cx="1058494" cy="324000"/>
              <a:chOff x="2111213" y="4717802"/>
              <a:chExt cx="1058494" cy="324000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8C386ADB-FE8A-0BEF-8B8C-71C2EE48871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11213" y="4717802"/>
                <a:ext cx="404523" cy="32400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0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DE9E15B-D5FA-F275-6FE3-EEF1CC952E68}"/>
                  </a:ext>
                </a:extLst>
              </p:cNvPr>
              <p:cNvSpPr txBox="1"/>
              <p:nvPr/>
            </p:nvSpPr>
            <p:spPr>
              <a:xfrm>
                <a:off x="2534918" y="4802858"/>
                <a:ext cx="63478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000"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15,278,489</a:t>
                </a: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01FE7EEF-51C2-B3A4-F674-0E4A900C9076}"/>
                </a:ext>
              </a:extLst>
            </p:cNvPr>
            <p:cNvGrpSpPr/>
            <p:nvPr/>
          </p:nvGrpSpPr>
          <p:grpSpPr>
            <a:xfrm>
              <a:off x="2430705" y="3905148"/>
              <a:ext cx="1065424" cy="324000"/>
              <a:chOff x="2111214" y="3751750"/>
              <a:chExt cx="1065424" cy="324000"/>
            </a:xfrm>
          </p:grpSpPr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6C21D1A9-9635-717B-86A7-26DB4A51A12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11214" y="3751750"/>
                <a:ext cx="411453" cy="324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0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8BC5883-C723-8C7D-B37A-83D10F2F3FD8}"/>
                  </a:ext>
                </a:extLst>
              </p:cNvPr>
              <p:cNvSpPr txBox="1"/>
              <p:nvPr/>
            </p:nvSpPr>
            <p:spPr>
              <a:xfrm>
                <a:off x="2541849" y="3836806"/>
                <a:ext cx="63478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000"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15,478,598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BEF5ECCC-3201-451D-B5CF-519BCDDE6AA1}"/>
                </a:ext>
              </a:extLst>
            </p:cNvPr>
            <p:cNvGrpSpPr/>
            <p:nvPr/>
          </p:nvGrpSpPr>
          <p:grpSpPr>
            <a:xfrm>
              <a:off x="2430704" y="3220082"/>
              <a:ext cx="1480677" cy="324000"/>
              <a:chOff x="2111213" y="2787974"/>
              <a:chExt cx="1480677" cy="324000"/>
            </a:xfrm>
          </p:grpSpPr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DB1D3CF5-3829-CD35-B7B4-4FE4413B566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11213" y="2787974"/>
                <a:ext cx="826706" cy="324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0000"/>
                  </a:lnSpc>
                </a:pPr>
                <a:endParaRPr lang="en-US" sz="100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21617D8-F23F-1764-CAF3-F6CB6A5F2428}"/>
                  </a:ext>
                </a:extLst>
              </p:cNvPr>
              <p:cNvSpPr txBox="1"/>
              <p:nvPr/>
            </p:nvSpPr>
            <p:spPr>
              <a:xfrm>
                <a:off x="2957101" y="2873030"/>
                <a:ext cx="63478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en-US" sz="1000"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31,017,738</a:t>
                </a:r>
              </a:p>
            </p:txBody>
          </p:sp>
        </p:grpSp>
        <p:sp>
          <p:nvSpPr>
            <p:cNvPr id="41" name="ee4pHeader1">
              <a:extLst>
                <a:ext uri="{FF2B5EF4-FFF2-40B4-BE49-F238E27FC236}">
                  <a16:creationId xmlns:a16="http://schemas.microsoft.com/office/drawing/2014/main" id="{1A4F5B30-73F0-6B33-D410-5B65DCF9CC60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auto">
            <a:xfrm>
              <a:off x="2171830" y="2379853"/>
              <a:ext cx="2466271" cy="33959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000" spc="3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59" name="Group 2158">
            <a:extLst>
              <a:ext uri="{FF2B5EF4-FFF2-40B4-BE49-F238E27FC236}">
                <a16:creationId xmlns:a16="http://schemas.microsoft.com/office/drawing/2014/main" id="{299781C7-1F31-9A46-3365-D58D1CD52529}"/>
              </a:ext>
            </a:extLst>
          </p:cNvPr>
          <p:cNvGrpSpPr/>
          <p:nvPr/>
        </p:nvGrpSpPr>
        <p:grpSpPr>
          <a:xfrm>
            <a:off x="4763928" y="2296550"/>
            <a:ext cx="3177702" cy="3395979"/>
            <a:chOff x="4830834" y="2379853"/>
            <a:chExt cx="3177702" cy="3395979"/>
          </a:xfrm>
        </p:grpSpPr>
        <p:sp>
          <p:nvSpPr>
            <p:cNvPr id="49" name="ee4pHeader1">
              <a:extLst>
                <a:ext uri="{FF2B5EF4-FFF2-40B4-BE49-F238E27FC236}">
                  <a16:creationId xmlns:a16="http://schemas.microsoft.com/office/drawing/2014/main" id="{D12B5513-D02F-79BC-9A53-D7C192275719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auto">
            <a:xfrm>
              <a:off x="4830834" y="2379853"/>
              <a:ext cx="3177702" cy="33959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eaLnBrk="0" hangingPunct="0">
                <a:spcAft>
                  <a:spcPct val="0"/>
                </a:spcAft>
              </a:pPr>
              <a:endParaRPr lang="en-US" sz="1400" spc="3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2154" name="Group 2153">
              <a:extLst>
                <a:ext uri="{FF2B5EF4-FFF2-40B4-BE49-F238E27FC236}">
                  <a16:creationId xmlns:a16="http://schemas.microsoft.com/office/drawing/2014/main" id="{9F5965EB-D68E-5800-0BD9-C078DE403A33}"/>
                </a:ext>
              </a:extLst>
            </p:cNvPr>
            <p:cNvGrpSpPr/>
            <p:nvPr/>
          </p:nvGrpSpPr>
          <p:grpSpPr>
            <a:xfrm>
              <a:off x="5089799" y="3163913"/>
              <a:ext cx="2529929" cy="438285"/>
              <a:chOff x="4935952" y="3163913"/>
              <a:chExt cx="2529929" cy="438285"/>
            </a:xfrm>
          </p:grpSpPr>
          <p:grpSp>
            <p:nvGrpSpPr>
              <p:cNvPr id="1730" name="Group 1729">
                <a:extLst>
                  <a:ext uri="{FF2B5EF4-FFF2-40B4-BE49-F238E27FC236}">
                    <a16:creationId xmlns:a16="http://schemas.microsoft.com/office/drawing/2014/main" id="{F0508CF2-2C63-405F-36B5-2A07E6C724AB}"/>
                  </a:ext>
                </a:extLst>
              </p:cNvPr>
              <p:cNvGrpSpPr/>
              <p:nvPr/>
            </p:nvGrpSpPr>
            <p:grpSpPr>
              <a:xfrm>
                <a:off x="4935952" y="3163913"/>
                <a:ext cx="1739176" cy="438285"/>
                <a:chOff x="4896974" y="2460191"/>
                <a:chExt cx="1739176" cy="438285"/>
              </a:xfrm>
              <a:solidFill>
                <a:schemeClr val="bg2"/>
              </a:solidFill>
            </p:grpSpPr>
            <p:grpSp>
              <p:nvGrpSpPr>
                <p:cNvPr id="1834" name="Group 1833">
                  <a:extLst>
                    <a:ext uri="{FF2B5EF4-FFF2-40B4-BE49-F238E27FC236}">
                      <a16:creationId xmlns:a16="http://schemas.microsoft.com/office/drawing/2014/main" id="{173BFE3E-8D68-9B34-F324-CA420C335528}"/>
                    </a:ext>
                  </a:extLst>
                </p:cNvPr>
                <p:cNvGrpSpPr/>
                <p:nvPr/>
              </p:nvGrpSpPr>
              <p:grpSpPr>
                <a:xfrm>
                  <a:off x="4896974" y="2462138"/>
                  <a:ext cx="869588" cy="434391"/>
                  <a:chOff x="4795228" y="2522488"/>
                  <a:chExt cx="869588" cy="434391"/>
                </a:xfrm>
                <a:grpFill/>
              </p:grpSpPr>
              <p:pic>
                <p:nvPicPr>
                  <p:cNvPr id="1886" name="Graphic 1885" descr="User with solid fill">
                    <a:extLst>
                      <a:ext uri="{FF2B5EF4-FFF2-40B4-BE49-F238E27FC236}">
                        <a16:creationId xmlns:a16="http://schemas.microsoft.com/office/drawing/2014/main" id="{D7502EE6-208E-51A4-3F08-B6ABE99B498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9">
                    <a:extLst>
                      <a:ext uri="{96DAC541-7B7A-43D3-8B79-37D633B846F1}">
                        <asvg:svgBlip xmlns:asvg="http://schemas.microsoft.com/office/drawing/2016/SVG/main" r:embed="rId2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87" name="Graphic 1886" descr="User with solid fill">
                    <a:extLst>
                      <a:ext uri="{FF2B5EF4-FFF2-40B4-BE49-F238E27FC236}">
                        <a16:creationId xmlns:a16="http://schemas.microsoft.com/office/drawing/2014/main" id="{DF53853E-29EC-84D4-6EE8-EE016213B47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88" name="Graphic 1887" descr="User with solid fill">
                    <a:extLst>
                      <a:ext uri="{FF2B5EF4-FFF2-40B4-BE49-F238E27FC236}">
                        <a16:creationId xmlns:a16="http://schemas.microsoft.com/office/drawing/2014/main" id="{08CCCEDE-7167-233A-EEDD-A1ED83A1A23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89" name="Graphic 1888" descr="User with solid fill">
                    <a:extLst>
                      <a:ext uri="{FF2B5EF4-FFF2-40B4-BE49-F238E27FC236}">
                        <a16:creationId xmlns:a16="http://schemas.microsoft.com/office/drawing/2014/main" id="{260A863A-BAD6-01A7-F31B-10C3D2BE548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0" name="Graphic 1889" descr="User with solid fill">
                    <a:extLst>
                      <a:ext uri="{FF2B5EF4-FFF2-40B4-BE49-F238E27FC236}">
                        <a16:creationId xmlns:a16="http://schemas.microsoft.com/office/drawing/2014/main" id="{6A526088-D48C-CA6F-522E-C5FCF29572B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1" name="Graphic 1890" descr="User with solid fill">
                    <a:extLst>
                      <a:ext uri="{FF2B5EF4-FFF2-40B4-BE49-F238E27FC236}">
                        <a16:creationId xmlns:a16="http://schemas.microsoft.com/office/drawing/2014/main" id="{C0E45768-E5F2-687B-8471-3BC3B27AE19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2" name="Graphic 1891" descr="User with solid fill">
                    <a:extLst>
                      <a:ext uri="{FF2B5EF4-FFF2-40B4-BE49-F238E27FC236}">
                        <a16:creationId xmlns:a16="http://schemas.microsoft.com/office/drawing/2014/main" id="{01372DC7-A9DE-C1BF-4853-413DE5FD07D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3" name="Graphic 1892" descr="User with solid fill">
                    <a:extLst>
                      <a:ext uri="{FF2B5EF4-FFF2-40B4-BE49-F238E27FC236}">
                        <a16:creationId xmlns:a16="http://schemas.microsoft.com/office/drawing/2014/main" id="{47FA5ABB-93EF-D901-83ED-AAC7E9D8211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4" name="Graphic 1893" descr="User with solid fill">
                    <a:extLst>
                      <a:ext uri="{FF2B5EF4-FFF2-40B4-BE49-F238E27FC236}">
                        <a16:creationId xmlns:a16="http://schemas.microsoft.com/office/drawing/2014/main" id="{33F3F2D1-E029-CEAA-FDDC-1250F984C37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5" name="Graphic 1894" descr="User with solid fill">
                    <a:extLst>
                      <a:ext uri="{FF2B5EF4-FFF2-40B4-BE49-F238E27FC236}">
                        <a16:creationId xmlns:a16="http://schemas.microsoft.com/office/drawing/2014/main" id="{5DCE7583-3126-8CD6-F4AA-4D73A69734F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6" name="Graphic 1895" descr="User with solid fill">
                    <a:extLst>
                      <a:ext uri="{FF2B5EF4-FFF2-40B4-BE49-F238E27FC236}">
                        <a16:creationId xmlns:a16="http://schemas.microsoft.com/office/drawing/2014/main" id="{ACB24DEE-4991-1407-468A-D5C777B366B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7" name="Graphic 1896" descr="User with solid fill">
                    <a:extLst>
                      <a:ext uri="{FF2B5EF4-FFF2-40B4-BE49-F238E27FC236}">
                        <a16:creationId xmlns:a16="http://schemas.microsoft.com/office/drawing/2014/main" id="{541FAD46-B4D7-3282-7B71-EA09CA8DBCD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8" name="Graphic 1897" descr="User with solid fill">
                    <a:extLst>
                      <a:ext uri="{FF2B5EF4-FFF2-40B4-BE49-F238E27FC236}">
                        <a16:creationId xmlns:a16="http://schemas.microsoft.com/office/drawing/2014/main" id="{87CC3E96-64CA-0C81-A662-CD0410FDFF0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99" name="Graphic 1898" descr="User with solid fill">
                    <a:extLst>
                      <a:ext uri="{FF2B5EF4-FFF2-40B4-BE49-F238E27FC236}">
                        <a16:creationId xmlns:a16="http://schemas.microsoft.com/office/drawing/2014/main" id="{3DAF0BFE-5E3A-9078-182A-AD7A773CDDC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0" name="Graphic 1899" descr="User with solid fill">
                    <a:extLst>
                      <a:ext uri="{FF2B5EF4-FFF2-40B4-BE49-F238E27FC236}">
                        <a16:creationId xmlns:a16="http://schemas.microsoft.com/office/drawing/2014/main" id="{2C4B1053-4237-3C83-83A9-50150D82F52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1" name="Graphic 1900" descr="User with solid fill">
                    <a:extLst>
                      <a:ext uri="{FF2B5EF4-FFF2-40B4-BE49-F238E27FC236}">
                        <a16:creationId xmlns:a16="http://schemas.microsoft.com/office/drawing/2014/main" id="{14F12B95-6B74-C43B-2242-13CF1BB15F0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2" name="Graphic 1901" descr="User with solid fill">
                    <a:extLst>
                      <a:ext uri="{FF2B5EF4-FFF2-40B4-BE49-F238E27FC236}">
                        <a16:creationId xmlns:a16="http://schemas.microsoft.com/office/drawing/2014/main" id="{5A7EB032-1120-9144-9CB4-009561EC7FB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3" name="Graphic 1902" descr="User with solid fill">
                    <a:extLst>
                      <a:ext uri="{FF2B5EF4-FFF2-40B4-BE49-F238E27FC236}">
                        <a16:creationId xmlns:a16="http://schemas.microsoft.com/office/drawing/2014/main" id="{9F4C73AA-4B5B-BDF7-A11B-F39E69F8EE4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4" name="Graphic 1903" descr="User with solid fill">
                    <a:extLst>
                      <a:ext uri="{FF2B5EF4-FFF2-40B4-BE49-F238E27FC236}">
                        <a16:creationId xmlns:a16="http://schemas.microsoft.com/office/drawing/2014/main" id="{2FD39EC1-2827-9A7C-FF02-9D3EE2CBB28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5" name="Graphic 1904" descr="User with solid fill">
                    <a:extLst>
                      <a:ext uri="{FF2B5EF4-FFF2-40B4-BE49-F238E27FC236}">
                        <a16:creationId xmlns:a16="http://schemas.microsoft.com/office/drawing/2014/main" id="{DCEF83BC-DC0C-B570-82AA-8837963E07F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6" name="Graphic 1905" descr="User with solid fill">
                    <a:extLst>
                      <a:ext uri="{FF2B5EF4-FFF2-40B4-BE49-F238E27FC236}">
                        <a16:creationId xmlns:a16="http://schemas.microsoft.com/office/drawing/2014/main" id="{84ECC61B-6CC6-4CEF-457D-FFEB4973E16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7" name="Graphic 1906" descr="User with solid fill">
                    <a:extLst>
                      <a:ext uri="{FF2B5EF4-FFF2-40B4-BE49-F238E27FC236}">
                        <a16:creationId xmlns:a16="http://schemas.microsoft.com/office/drawing/2014/main" id="{42DD847B-CD8C-BC46-2BD9-6E9BAFC93F3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8" name="Graphic 1907" descr="User with solid fill">
                    <a:extLst>
                      <a:ext uri="{FF2B5EF4-FFF2-40B4-BE49-F238E27FC236}">
                        <a16:creationId xmlns:a16="http://schemas.microsoft.com/office/drawing/2014/main" id="{93201B9F-A866-B3FD-8876-1F410DFCD47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09" name="Graphic 1908" descr="User with solid fill">
                    <a:extLst>
                      <a:ext uri="{FF2B5EF4-FFF2-40B4-BE49-F238E27FC236}">
                        <a16:creationId xmlns:a16="http://schemas.microsoft.com/office/drawing/2014/main" id="{E644DD89-67BE-AEA6-AE54-66035FE49D6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0" name="Graphic 1909" descr="User with solid fill">
                    <a:extLst>
                      <a:ext uri="{FF2B5EF4-FFF2-40B4-BE49-F238E27FC236}">
                        <a16:creationId xmlns:a16="http://schemas.microsoft.com/office/drawing/2014/main" id="{9BD6D477-919C-70D6-E925-78AD6C77CC6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1" name="Graphic 1910" descr="User with solid fill">
                    <a:extLst>
                      <a:ext uri="{FF2B5EF4-FFF2-40B4-BE49-F238E27FC236}">
                        <a16:creationId xmlns:a16="http://schemas.microsoft.com/office/drawing/2014/main" id="{92818F79-D88B-DE86-564D-002259D1514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2" name="Graphic 1911" descr="User with solid fill">
                    <a:extLst>
                      <a:ext uri="{FF2B5EF4-FFF2-40B4-BE49-F238E27FC236}">
                        <a16:creationId xmlns:a16="http://schemas.microsoft.com/office/drawing/2014/main" id="{6F15D07B-EB65-640F-6332-0F15DF1AB96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3" name="Graphic 1912" descr="User with solid fill">
                    <a:extLst>
                      <a:ext uri="{FF2B5EF4-FFF2-40B4-BE49-F238E27FC236}">
                        <a16:creationId xmlns:a16="http://schemas.microsoft.com/office/drawing/2014/main" id="{CD25A365-E6E2-CD82-0FEE-CD672E43234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4" name="Graphic 1913" descr="User with solid fill">
                    <a:extLst>
                      <a:ext uri="{FF2B5EF4-FFF2-40B4-BE49-F238E27FC236}">
                        <a16:creationId xmlns:a16="http://schemas.microsoft.com/office/drawing/2014/main" id="{E287DC18-9971-DE9E-8D06-0E2AF6F17A0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5" name="Graphic 1914" descr="User with solid fill">
                    <a:extLst>
                      <a:ext uri="{FF2B5EF4-FFF2-40B4-BE49-F238E27FC236}">
                        <a16:creationId xmlns:a16="http://schemas.microsoft.com/office/drawing/2014/main" id="{060FEDDF-47CE-85BA-68F0-7AC332CCF1F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6" name="Graphic 1915" descr="User with solid fill">
                    <a:extLst>
                      <a:ext uri="{FF2B5EF4-FFF2-40B4-BE49-F238E27FC236}">
                        <a16:creationId xmlns:a16="http://schemas.microsoft.com/office/drawing/2014/main" id="{F69DE9F4-66A4-69CF-4603-6C5E620E9A3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7" name="Graphic 1916" descr="User with solid fill">
                    <a:extLst>
                      <a:ext uri="{FF2B5EF4-FFF2-40B4-BE49-F238E27FC236}">
                        <a16:creationId xmlns:a16="http://schemas.microsoft.com/office/drawing/2014/main" id="{9666D9B3-FDAB-3EFB-BE82-317AAE56755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8" name="Graphic 1917" descr="User with solid fill">
                    <a:extLst>
                      <a:ext uri="{FF2B5EF4-FFF2-40B4-BE49-F238E27FC236}">
                        <a16:creationId xmlns:a16="http://schemas.microsoft.com/office/drawing/2014/main" id="{A3149D0C-FFA8-2C2B-18A1-F8A952712E1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19" name="Graphic 1918" descr="User with solid fill">
                    <a:extLst>
                      <a:ext uri="{FF2B5EF4-FFF2-40B4-BE49-F238E27FC236}">
                        <a16:creationId xmlns:a16="http://schemas.microsoft.com/office/drawing/2014/main" id="{8BF80042-6E28-04EF-4687-B105B8EEB58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0" name="Graphic 1919" descr="User with solid fill">
                    <a:extLst>
                      <a:ext uri="{FF2B5EF4-FFF2-40B4-BE49-F238E27FC236}">
                        <a16:creationId xmlns:a16="http://schemas.microsoft.com/office/drawing/2014/main" id="{AFB00D40-65DC-40EC-1501-9E21BDC62DF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1" name="Graphic 1920" descr="User with solid fill">
                    <a:extLst>
                      <a:ext uri="{FF2B5EF4-FFF2-40B4-BE49-F238E27FC236}">
                        <a16:creationId xmlns:a16="http://schemas.microsoft.com/office/drawing/2014/main" id="{5E463A28-35C4-2058-DCE1-B2CBA6F77BA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2" name="Graphic 1921" descr="User with solid fill">
                    <a:extLst>
                      <a:ext uri="{FF2B5EF4-FFF2-40B4-BE49-F238E27FC236}">
                        <a16:creationId xmlns:a16="http://schemas.microsoft.com/office/drawing/2014/main" id="{3E3EA346-3E9E-B73B-798E-3E7576164F8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3" name="Graphic 1922" descr="User with solid fill">
                    <a:extLst>
                      <a:ext uri="{FF2B5EF4-FFF2-40B4-BE49-F238E27FC236}">
                        <a16:creationId xmlns:a16="http://schemas.microsoft.com/office/drawing/2014/main" id="{03DB9C3C-80CE-1047-B60F-340E4587F2D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4" name="Graphic 1923" descr="User with solid fill">
                    <a:extLst>
                      <a:ext uri="{FF2B5EF4-FFF2-40B4-BE49-F238E27FC236}">
                        <a16:creationId xmlns:a16="http://schemas.microsoft.com/office/drawing/2014/main" id="{98470256-456E-E272-E8AE-CFC8DC39476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5" name="Graphic 1924" descr="User with solid fill">
                    <a:extLst>
                      <a:ext uri="{FF2B5EF4-FFF2-40B4-BE49-F238E27FC236}">
                        <a16:creationId xmlns:a16="http://schemas.microsoft.com/office/drawing/2014/main" id="{9A314698-4659-05BC-74AD-D53D2871AA1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6" name="Graphic 1925" descr="User with solid fill">
                    <a:extLst>
                      <a:ext uri="{FF2B5EF4-FFF2-40B4-BE49-F238E27FC236}">
                        <a16:creationId xmlns:a16="http://schemas.microsoft.com/office/drawing/2014/main" id="{F98958A1-0FFB-61D7-F43A-179C6872002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7" name="Graphic 1926" descr="User with solid fill">
                    <a:extLst>
                      <a:ext uri="{FF2B5EF4-FFF2-40B4-BE49-F238E27FC236}">
                        <a16:creationId xmlns:a16="http://schemas.microsoft.com/office/drawing/2014/main" id="{715E1403-86C5-6F5B-B3DC-5A84B1142D4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8" name="Graphic 1927" descr="User with solid fill">
                    <a:extLst>
                      <a:ext uri="{FF2B5EF4-FFF2-40B4-BE49-F238E27FC236}">
                        <a16:creationId xmlns:a16="http://schemas.microsoft.com/office/drawing/2014/main" id="{2F5827D1-314F-8BB6-06E0-95287E901CE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29" name="Graphic 1928" descr="User with solid fill">
                    <a:extLst>
                      <a:ext uri="{FF2B5EF4-FFF2-40B4-BE49-F238E27FC236}">
                        <a16:creationId xmlns:a16="http://schemas.microsoft.com/office/drawing/2014/main" id="{B2AE9CE7-D4B3-E7DF-A9B8-C0524CB0CC5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30" name="Graphic 1929" descr="User with solid fill">
                    <a:extLst>
                      <a:ext uri="{FF2B5EF4-FFF2-40B4-BE49-F238E27FC236}">
                        <a16:creationId xmlns:a16="http://schemas.microsoft.com/office/drawing/2014/main" id="{3CD85E74-45A3-A2D2-B6E3-3F22746600D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31" name="Graphic 1930" descr="User with solid fill">
                    <a:extLst>
                      <a:ext uri="{FF2B5EF4-FFF2-40B4-BE49-F238E27FC236}">
                        <a16:creationId xmlns:a16="http://schemas.microsoft.com/office/drawing/2014/main" id="{8A4D255C-12A0-2B88-B985-906294A3C79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32" name="Graphic 1931" descr="User with solid fill">
                    <a:extLst>
                      <a:ext uri="{FF2B5EF4-FFF2-40B4-BE49-F238E27FC236}">
                        <a16:creationId xmlns:a16="http://schemas.microsoft.com/office/drawing/2014/main" id="{BD185073-5EF9-571E-A159-E96AB71BCAE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33" name="Graphic 1932" descr="User with solid fill">
                    <a:extLst>
                      <a:ext uri="{FF2B5EF4-FFF2-40B4-BE49-F238E27FC236}">
                        <a16:creationId xmlns:a16="http://schemas.microsoft.com/office/drawing/2014/main" id="{83F96464-5435-D6A0-7B88-81CBF024A8C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34" name="Graphic 1933" descr="User with solid fill">
                    <a:extLst>
                      <a:ext uri="{FF2B5EF4-FFF2-40B4-BE49-F238E27FC236}">
                        <a16:creationId xmlns:a16="http://schemas.microsoft.com/office/drawing/2014/main" id="{70C81C7D-4725-A305-1FA2-B93E5C292B8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935" name="Graphic 1934" descr="User with solid fill">
                    <a:extLst>
                      <a:ext uri="{FF2B5EF4-FFF2-40B4-BE49-F238E27FC236}">
                        <a16:creationId xmlns:a16="http://schemas.microsoft.com/office/drawing/2014/main" id="{A9B203AF-46C3-412A-5F2F-08D4D4E9360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869920"/>
                    <a:ext cx="86959" cy="86959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835" name="Group 1834">
                  <a:extLst>
                    <a:ext uri="{FF2B5EF4-FFF2-40B4-BE49-F238E27FC236}">
                      <a16:creationId xmlns:a16="http://schemas.microsoft.com/office/drawing/2014/main" id="{BB5E80F1-14C7-5ADF-6865-90B5E978B4CB}"/>
                    </a:ext>
                  </a:extLst>
                </p:cNvPr>
                <p:cNvGrpSpPr/>
                <p:nvPr/>
              </p:nvGrpSpPr>
              <p:grpSpPr>
                <a:xfrm>
                  <a:off x="5766562" y="2460191"/>
                  <a:ext cx="869588" cy="438285"/>
                  <a:chOff x="4795228" y="2956745"/>
                  <a:chExt cx="869588" cy="438285"/>
                </a:xfrm>
                <a:grpFill/>
              </p:grpSpPr>
              <p:pic>
                <p:nvPicPr>
                  <p:cNvPr id="1836" name="Graphic 1835" descr="User with solid fill">
                    <a:extLst>
                      <a:ext uri="{FF2B5EF4-FFF2-40B4-BE49-F238E27FC236}">
                        <a16:creationId xmlns:a16="http://schemas.microsoft.com/office/drawing/2014/main" id="{E62D9B0B-8924-C289-0C39-448BD6BD00E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37" name="Graphic 1836" descr="User with solid fill">
                    <a:extLst>
                      <a:ext uri="{FF2B5EF4-FFF2-40B4-BE49-F238E27FC236}">
                        <a16:creationId xmlns:a16="http://schemas.microsoft.com/office/drawing/2014/main" id="{C4C5F963-076F-C9D3-F94A-33915AC626D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38" name="Graphic 1837" descr="User with solid fill">
                    <a:extLst>
                      <a:ext uri="{FF2B5EF4-FFF2-40B4-BE49-F238E27FC236}">
                        <a16:creationId xmlns:a16="http://schemas.microsoft.com/office/drawing/2014/main" id="{3DF04295-D8B3-9511-D2A4-79271356E94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39" name="Graphic 1838" descr="User with solid fill">
                    <a:extLst>
                      <a:ext uri="{FF2B5EF4-FFF2-40B4-BE49-F238E27FC236}">
                        <a16:creationId xmlns:a16="http://schemas.microsoft.com/office/drawing/2014/main" id="{18911B17-E2A0-236B-5B32-2AB0555F191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0" name="Graphic 1839" descr="User with solid fill">
                    <a:extLst>
                      <a:ext uri="{FF2B5EF4-FFF2-40B4-BE49-F238E27FC236}">
                        <a16:creationId xmlns:a16="http://schemas.microsoft.com/office/drawing/2014/main" id="{7C505D2E-FF1B-A5F6-03CD-4C38831C1F2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1" name="Graphic 1840" descr="User with solid fill">
                    <a:extLst>
                      <a:ext uri="{FF2B5EF4-FFF2-40B4-BE49-F238E27FC236}">
                        <a16:creationId xmlns:a16="http://schemas.microsoft.com/office/drawing/2014/main" id="{42E03E4A-48E7-6D71-B5F4-ACBA93745B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2" name="Graphic 1841" descr="User with solid fill">
                    <a:extLst>
                      <a:ext uri="{FF2B5EF4-FFF2-40B4-BE49-F238E27FC236}">
                        <a16:creationId xmlns:a16="http://schemas.microsoft.com/office/drawing/2014/main" id="{D5AA37C8-47B4-FEEE-83B7-0FE804338C5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3" name="Graphic 1842" descr="User with solid fill">
                    <a:extLst>
                      <a:ext uri="{FF2B5EF4-FFF2-40B4-BE49-F238E27FC236}">
                        <a16:creationId xmlns:a16="http://schemas.microsoft.com/office/drawing/2014/main" id="{95D44E0D-DA00-CB93-FF4A-DB83B847212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4" name="Graphic 1843" descr="User with solid fill">
                    <a:extLst>
                      <a:ext uri="{FF2B5EF4-FFF2-40B4-BE49-F238E27FC236}">
                        <a16:creationId xmlns:a16="http://schemas.microsoft.com/office/drawing/2014/main" id="{737D1E53-EE04-B2F0-F2D3-F276A6A13BD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5" name="Graphic 1844" descr="User with solid fill">
                    <a:extLst>
                      <a:ext uri="{FF2B5EF4-FFF2-40B4-BE49-F238E27FC236}">
                        <a16:creationId xmlns:a16="http://schemas.microsoft.com/office/drawing/2014/main" id="{3D962753-076D-FC7B-B991-9826546AEA6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6" name="Graphic 1845" descr="User with solid fill">
                    <a:extLst>
                      <a:ext uri="{FF2B5EF4-FFF2-40B4-BE49-F238E27FC236}">
                        <a16:creationId xmlns:a16="http://schemas.microsoft.com/office/drawing/2014/main" id="{89E8D9CC-E66A-88EB-8B3E-5D2D15610B6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7" name="Graphic 1846" descr="User with solid fill">
                    <a:extLst>
                      <a:ext uri="{FF2B5EF4-FFF2-40B4-BE49-F238E27FC236}">
                        <a16:creationId xmlns:a16="http://schemas.microsoft.com/office/drawing/2014/main" id="{D00BC94C-D2B3-FBE8-46B5-B560BD75AD0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8" name="Graphic 1847" descr="User with solid fill">
                    <a:extLst>
                      <a:ext uri="{FF2B5EF4-FFF2-40B4-BE49-F238E27FC236}">
                        <a16:creationId xmlns:a16="http://schemas.microsoft.com/office/drawing/2014/main" id="{91C50341-6268-9F92-D4CF-744B8C85A7D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49" name="Graphic 1848" descr="User with solid fill">
                    <a:extLst>
                      <a:ext uri="{FF2B5EF4-FFF2-40B4-BE49-F238E27FC236}">
                        <a16:creationId xmlns:a16="http://schemas.microsoft.com/office/drawing/2014/main" id="{29432C18-7AA4-C8BE-7037-E01675D2800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0" name="Graphic 1849" descr="User with solid fill">
                    <a:extLst>
                      <a:ext uri="{FF2B5EF4-FFF2-40B4-BE49-F238E27FC236}">
                        <a16:creationId xmlns:a16="http://schemas.microsoft.com/office/drawing/2014/main" id="{E72F6DEA-98F6-C3DC-8A10-17383A76BC6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1" name="Graphic 1850" descr="User with solid fill">
                    <a:extLst>
                      <a:ext uri="{FF2B5EF4-FFF2-40B4-BE49-F238E27FC236}">
                        <a16:creationId xmlns:a16="http://schemas.microsoft.com/office/drawing/2014/main" id="{36A2A561-D3BF-AFB2-9B21-468243165EF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2" name="Graphic 1851" descr="User with solid fill">
                    <a:extLst>
                      <a:ext uri="{FF2B5EF4-FFF2-40B4-BE49-F238E27FC236}">
                        <a16:creationId xmlns:a16="http://schemas.microsoft.com/office/drawing/2014/main" id="{802108AF-FA07-EA0C-D59F-FC47315FF5E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3" name="Graphic 1852" descr="User with solid fill">
                    <a:extLst>
                      <a:ext uri="{FF2B5EF4-FFF2-40B4-BE49-F238E27FC236}">
                        <a16:creationId xmlns:a16="http://schemas.microsoft.com/office/drawing/2014/main" id="{AA087E44-FF0D-ACF1-6CDD-4DEAB3BEB9A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4" name="Graphic 1853" descr="User with solid fill">
                    <a:extLst>
                      <a:ext uri="{FF2B5EF4-FFF2-40B4-BE49-F238E27FC236}">
                        <a16:creationId xmlns:a16="http://schemas.microsoft.com/office/drawing/2014/main" id="{E0571EE0-FEE8-EC6C-F262-6F8F71D0637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5" name="Graphic 1854" descr="User with solid fill">
                    <a:extLst>
                      <a:ext uri="{FF2B5EF4-FFF2-40B4-BE49-F238E27FC236}">
                        <a16:creationId xmlns:a16="http://schemas.microsoft.com/office/drawing/2014/main" id="{0DDB0D46-2814-0106-B96B-955F5AC7022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6" name="Graphic 1855" descr="User with solid fill">
                    <a:extLst>
                      <a:ext uri="{FF2B5EF4-FFF2-40B4-BE49-F238E27FC236}">
                        <a16:creationId xmlns:a16="http://schemas.microsoft.com/office/drawing/2014/main" id="{71638817-3D75-3B43-C5EC-BEE5E1B1FD0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7" name="Graphic 1856" descr="User with solid fill">
                    <a:extLst>
                      <a:ext uri="{FF2B5EF4-FFF2-40B4-BE49-F238E27FC236}">
                        <a16:creationId xmlns:a16="http://schemas.microsoft.com/office/drawing/2014/main" id="{82AFB483-C39A-2BF7-1D5F-1062E9DC93D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8" name="Graphic 1857" descr="User with solid fill">
                    <a:extLst>
                      <a:ext uri="{FF2B5EF4-FFF2-40B4-BE49-F238E27FC236}">
                        <a16:creationId xmlns:a16="http://schemas.microsoft.com/office/drawing/2014/main" id="{B6C0EF50-9CF8-05F0-9ACF-50C54D338F3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59" name="Graphic 1858" descr="User with solid fill">
                    <a:extLst>
                      <a:ext uri="{FF2B5EF4-FFF2-40B4-BE49-F238E27FC236}">
                        <a16:creationId xmlns:a16="http://schemas.microsoft.com/office/drawing/2014/main" id="{BAB14E98-3E7E-DB4E-18CF-8E3A698DFB4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0" name="Graphic 1859" descr="User with solid fill">
                    <a:extLst>
                      <a:ext uri="{FF2B5EF4-FFF2-40B4-BE49-F238E27FC236}">
                        <a16:creationId xmlns:a16="http://schemas.microsoft.com/office/drawing/2014/main" id="{18785FCE-729E-9B3C-44F9-3BE7D7F58D1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1" name="Graphic 1860" descr="User with solid fill">
                    <a:extLst>
                      <a:ext uri="{FF2B5EF4-FFF2-40B4-BE49-F238E27FC236}">
                        <a16:creationId xmlns:a16="http://schemas.microsoft.com/office/drawing/2014/main" id="{87E042F1-2AC2-7EBD-5D84-95048BBBD2A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2" name="Graphic 1861" descr="User with solid fill">
                    <a:extLst>
                      <a:ext uri="{FF2B5EF4-FFF2-40B4-BE49-F238E27FC236}">
                        <a16:creationId xmlns:a16="http://schemas.microsoft.com/office/drawing/2014/main" id="{09E5510E-1C23-CFB4-7B03-664252C47A7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3" name="Graphic 1862" descr="User with solid fill">
                    <a:extLst>
                      <a:ext uri="{FF2B5EF4-FFF2-40B4-BE49-F238E27FC236}">
                        <a16:creationId xmlns:a16="http://schemas.microsoft.com/office/drawing/2014/main" id="{66C7CD7A-4569-9E3C-855B-D0582557D08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4" name="Graphic 1863" descr="User with solid fill">
                    <a:extLst>
                      <a:ext uri="{FF2B5EF4-FFF2-40B4-BE49-F238E27FC236}">
                        <a16:creationId xmlns:a16="http://schemas.microsoft.com/office/drawing/2014/main" id="{4F48F342-E067-3DBF-89B5-78A94827F63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5" name="Graphic 1864" descr="User with solid fill">
                    <a:extLst>
                      <a:ext uri="{FF2B5EF4-FFF2-40B4-BE49-F238E27FC236}">
                        <a16:creationId xmlns:a16="http://schemas.microsoft.com/office/drawing/2014/main" id="{FCB3F95D-5366-5BA5-7893-C2E60A9A6F0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6" name="Graphic 1865" descr="User with solid fill">
                    <a:extLst>
                      <a:ext uri="{FF2B5EF4-FFF2-40B4-BE49-F238E27FC236}">
                        <a16:creationId xmlns:a16="http://schemas.microsoft.com/office/drawing/2014/main" id="{6C4F788B-932F-8B43-76C4-705D7D8C9C9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7" name="Graphic 1866" descr="User with solid fill">
                    <a:extLst>
                      <a:ext uri="{FF2B5EF4-FFF2-40B4-BE49-F238E27FC236}">
                        <a16:creationId xmlns:a16="http://schemas.microsoft.com/office/drawing/2014/main" id="{31DD4101-5E89-E7FD-63F2-5C61D38386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8" name="Graphic 1867" descr="User with solid fill">
                    <a:extLst>
                      <a:ext uri="{FF2B5EF4-FFF2-40B4-BE49-F238E27FC236}">
                        <a16:creationId xmlns:a16="http://schemas.microsoft.com/office/drawing/2014/main" id="{8D0142F7-31A3-0854-809A-A26BFAC4B63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69" name="Graphic 1868" descr="User with solid fill">
                    <a:extLst>
                      <a:ext uri="{FF2B5EF4-FFF2-40B4-BE49-F238E27FC236}">
                        <a16:creationId xmlns:a16="http://schemas.microsoft.com/office/drawing/2014/main" id="{72C49941-3A9C-9B03-B0BA-45924570FC0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0" name="Graphic 1869" descr="User with solid fill">
                    <a:extLst>
                      <a:ext uri="{FF2B5EF4-FFF2-40B4-BE49-F238E27FC236}">
                        <a16:creationId xmlns:a16="http://schemas.microsoft.com/office/drawing/2014/main" id="{FAEFAD45-0E79-64FE-21BE-5A05D813A9A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1" name="Graphic 1870" descr="User with solid fill">
                    <a:extLst>
                      <a:ext uri="{FF2B5EF4-FFF2-40B4-BE49-F238E27FC236}">
                        <a16:creationId xmlns:a16="http://schemas.microsoft.com/office/drawing/2014/main" id="{39E290D5-BC5D-D536-DE40-E4C9150D08A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2" name="Graphic 1871" descr="User with solid fill">
                    <a:extLst>
                      <a:ext uri="{FF2B5EF4-FFF2-40B4-BE49-F238E27FC236}">
                        <a16:creationId xmlns:a16="http://schemas.microsoft.com/office/drawing/2014/main" id="{BA7B3F03-E151-6574-A135-DB6F710563A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3" name="Graphic 1872" descr="User with solid fill">
                    <a:extLst>
                      <a:ext uri="{FF2B5EF4-FFF2-40B4-BE49-F238E27FC236}">
                        <a16:creationId xmlns:a16="http://schemas.microsoft.com/office/drawing/2014/main" id="{25AD3834-6DF1-B435-C710-63B4392C061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4" name="Graphic 1873" descr="User with solid fill">
                    <a:extLst>
                      <a:ext uri="{FF2B5EF4-FFF2-40B4-BE49-F238E27FC236}">
                        <a16:creationId xmlns:a16="http://schemas.microsoft.com/office/drawing/2014/main" id="{4576E6B9-F8A7-23EF-2401-7F1131AA92B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5" name="Graphic 1874" descr="User with solid fill">
                    <a:extLst>
                      <a:ext uri="{FF2B5EF4-FFF2-40B4-BE49-F238E27FC236}">
                        <a16:creationId xmlns:a16="http://schemas.microsoft.com/office/drawing/2014/main" id="{5D9376F3-D7C9-F8CB-494B-C7DF9CDA666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6" name="Graphic 1875" descr="User with solid fill">
                    <a:extLst>
                      <a:ext uri="{FF2B5EF4-FFF2-40B4-BE49-F238E27FC236}">
                        <a16:creationId xmlns:a16="http://schemas.microsoft.com/office/drawing/2014/main" id="{CB3CCE25-0BD1-591B-0E73-767B6A6AA7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7" name="Graphic 1876" descr="User with solid fill">
                    <a:extLst>
                      <a:ext uri="{FF2B5EF4-FFF2-40B4-BE49-F238E27FC236}">
                        <a16:creationId xmlns:a16="http://schemas.microsoft.com/office/drawing/2014/main" id="{EEC7A63C-10CD-4B48-5B4A-ED31A108D73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8" name="Graphic 1877" descr="User with solid fill">
                    <a:extLst>
                      <a:ext uri="{FF2B5EF4-FFF2-40B4-BE49-F238E27FC236}">
                        <a16:creationId xmlns:a16="http://schemas.microsoft.com/office/drawing/2014/main" id="{6FD7410C-A175-6F94-4A56-884545C06C1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79" name="Graphic 1878" descr="User with solid fill">
                    <a:extLst>
                      <a:ext uri="{FF2B5EF4-FFF2-40B4-BE49-F238E27FC236}">
                        <a16:creationId xmlns:a16="http://schemas.microsoft.com/office/drawing/2014/main" id="{CD16732B-ECD4-DCCC-6330-935093C1A0C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80" name="Graphic 1879" descr="User with solid fill">
                    <a:extLst>
                      <a:ext uri="{FF2B5EF4-FFF2-40B4-BE49-F238E27FC236}">
                        <a16:creationId xmlns:a16="http://schemas.microsoft.com/office/drawing/2014/main" id="{07A8A489-8CD9-B5B7-F7E1-1134626C533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81" name="Graphic 1880" descr="User with solid fill">
                    <a:extLst>
                      <a:ext uri="{FF2B5EF4-FFF2-40B4-BE49-F238E27FC236}">
                        <a16:creationId xmlns:a16="http://schemas.microsoft.com/office/drawing/2014/main" id="{C768367E-CDFD-A118-FB05-24637C7D09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82" name="Graphic 1881" descr="User with solid fill">
                    <a:extLst>
                      <a:ext uri="{FF2B5EF4-FFF2-40B4-BE49-F238E27FC236}">
                        <a16:creationId xmlns:a16="http://schemas.microsoft.com/office/drawing/2014/main" id="{B1A703E0-BA00-56B5-A8BF-04DADF1169F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83" name="Graphic 1882" descr="User with solid fill">
                    <a:extLst>
                      <a:ext uri="{FF2B5EF4-FFF2-40B4-BE49-F238E27FC236}">
                        <a16:creationId xmlns:a16="http://schemas.microsoft.com/office/drawing/2014/main" id="{68048A06-6AE1-746F-B407-CC3D6B5402B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84" name="Graphic 1883" descr="User with solid fill">
                    <a:extLst>
                      <a:ext uri="{FF2B5EF4-FFF2-40B4-BE49-F238E27FC236}">
                        <a16:creationId xmlns:a16="http://schemas.microsoft.com/office/drawing/2014/main" id="{8BE9F100-6CC5-F4D7-1D53-82F89445F5D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885" name="Graphic 1884" descr="User with solid fill">
                    <a:extLst>
                      <a:ext uri="{FF2B5EF4-FFF2-40B4-BE49-F238E27FC236}">
                        <a16:creationId xmlns:a16="http://schemas.microsoft.com/office/drawing/2014/main" id="{87256D63-8CAC-7239-F6B0-3E5A9222AAC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308071"/>
                    <a:ext cx="86959" cy="86959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2148" name="TextBox 2147">
                <a:extLst>
                  <a:ext uri="{FF2B5EF4-FFF2-40B4-BE49-F238E27FC236}">
                    <a16:creationId xmlns:a16="http://schemas.microsoft.com/office/drawing/2014/main" id="{27259E55-0C13-96FC-26E5-EE8F80D12A4E}"/>
                  </a:ext>
                </a:extLst>
              </p:cNvPr>
              <p:cNvSpPr txBox="1"/>
              <p:nvPr/>
            </p:nvSpPr>
            <p:spPr>
              <a:xfrm>
                <a:off x="6835900" y="3259945"/>
                <a:ext cx="62998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6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.04</a:t>
                </a:r>
                <a:r>
                  <a:rPr lang="en-US" sz="12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%</a:t>
                </a:r>
              </a:p>
            </p:txBody>
          </p:sp>
        </p:grpSp>
        <p:grpSp>
          <p:nvGrpSpPr>
            <p:cNvPr id="2155" name="Group 2154">
              <a:extLst>
                <a:ext uri="{FF2B5EF4-FFF2-40B4-BE49-F238E27FC236}">
                  <a16:creationId xmlns:a16="http://schemas.microsoft.com/office/drawing/2014/main" id="{7C963771-955F-2D0B-4FE4-E08CA7D8224F}"/>
                </a:ext>
              </a:extLst>
            </p:cNvPr>
            <p:cNvGrpSpPr/>
            <p:nvPr/>
          </p:nvGrpSpPr>
          <p:grpSpPr>
            <a:xfrm>
              <a:off x="5089799" y="3848979"/>
              <a:ext cx="2533366" cy="438285"/>
              <a:chOff x="4932515" y="3848979"/>
              <a:chExt cx="2533366" cy="438285"/>
            </a:xfrm>
          </p:grpSpPr>
          <p:grpSp>
            <p:nvGrpSpPr>
              <p:cNvPr id="2146" name="Group 2145">
                <a:extLst>
                  <a:ext uri="{FF2B5EF4-FFF2-40B4-BE49-F238E27FC236}">
                    <a16:creationId xmlns:a16="http://schemas.microsoft.com/office/drawing/2014/main" id="{AAA6C3DA-71D1-F895-8A4B-E74E954D9533}"/>
                  </a:ext>
                </a:extLst>
              </p:cNvPr>
              <p:cNvGrpSpPr/>
              <p:nvPr/>
            </p:nvGrpSpPr>
            <p:grpSpPr>
              <a:xfrm>
                <a:off x="4932515" y="3848979"/>
                <a:ext cx="1742613" cy="438285"/>
                <a:chOff x="4932515" y="3848979"/>
                <a:chExt cx="1742613" cy="438285"/>
              </a:xfrm>
            </p:grpSpPr>
            <p:grpSp>
              <p:nvGrpSpPr>
                <p:cNvPr id="1523" name="Group 1522">
                  <a:extLst>
                    <a:ext uri="{FF2B5EF4-FFF2-40B4-BE49-F238E27FC236}">
                      <a16:creationId xmlns:a16="http://schemas.microsoft.com/office/drawing/2014/main" id="{DB1878E3-73C8-D0FE-B268-483ABB47898D}"/>
                    </a:ext>
                  </a:extLst>
                </p:cNvPr>
                <p:cNvGrpSpPr/>
                <p:nvPr/>
              </p:nvGrpSpPr>
              <p:grpSpPr>
                <a:xfrm>
                  <a:off x="4935952" y="3848979"/>
                  <a:ext cx="1739176" cy="438285"/>
                  <a:chOff x="4896974" y="2460191"/>
                  <a:chExt cx="1739176" cy="438285"/>
                </a:xfrm>
                <a:solidFill>
                  <a:schemeClr val="bg2"/>
                </a:solidFill>
              </p:grpSpPr>
              <p:grpSp>
                <p:nvGrpSpPr>
                  <p:cNvPr id="1627" name="Group 1626">
                    <a:extLst>
                      <a:ext uri="{FF2B5EF4-FFF2-40B4-BE49-F238E27FC236}">
                        <a16:creationId xmlns:a16="http://schemas.microsoft.com/office/drawing/2014/main" id="{3C7CD472-1197-DAC3-0CAF-FAF586C1FAA7}"/>
                      </a:ext>
                    </a:extLst>
                  </p:cNvPr>
                  <p:cNvGrpSpPr/>
                  <p:nvPr/>
                </p:nvGrpSpPr>
                <p:grpSpPr>
                  <a:xfrm>
                    <a:off x="4896974" y="2462138"/>
                    <a:ext cx="869588" cy="434391"/>
                    <a:chOff x="4795228" y="2522488"/>
                    <a:chExt cx="869588" cy="434391"/>
                  </a:xfrm>
                  <a:grpFill/>
                </p:grpSpPr>
                <p:pic>
                  <p:nvPicPr>
                    <p:cNvPr id="1679" name="Graphic 1678" descr="User with solid fill">
                      <a:extLst>
                        <a:ext uri="{FF2B5EF4-FFF2-40B4-BE49-F238E27FC236}">
                          <a16:creationId xmlns:a16="http://schemas.microsoft.com/office/drawing/2014/main" id="{9F1BDB33-E928-2540-16CE-0C270C1953D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0" name="Graphic 1679" descr="User with solid fill">
                      <a:extLst>
                        <a:ext uri="{FF2B5EF4-FFF2-40B4-BE49-F238E27FC236}">
                          <a16:creationId xmlns:a16="http://schemas.microsoft.com/office/drawing/2014/main" id="{EB5C2A03-9DFD-F30B-D0AD-BE3ADAD159E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1" name="Graphic 1680" descr="User with solid fill">
                      <a:extLst>
                        <a:ext uri="{FF2B5EF4-FFF2-40B4-BE49-F238E27FC236}">
                          <a16:creationId xmlns:a16="http://schemas.microsoft.com/office/drawing/2014/main" id="{C43D0BA9-17F3-3096-C476-F5F872D709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2" name="Graphic 1681" descr="User with solid fill">
                      <a:extLst>
                        <a:ext uri="{FF2B5EF4-FFF2-40B4-BE49-F238E27FC236}">
                          <a16:creationId xmlns:a16="http://schemas.microsoft.com/office/drawing/2014/main" id="{25CA5BD2-6BB5-0C65-A323-A90C2801A65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3" name="Graphic 1682" descr="User with solid fill">
                      <a:extLst>
                        <a:ext uri="{FF2B5EF4-FFF2-40B4-BE49-F238E27FC236}">
                          <a16:creationId xmlns:a16="http://schemas.microsoft.com/office/drawing/2014/main" id="{9E698D00-0D29-0C5D-50E7-0E1D857D4C5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4" name="Graphic 1683" descr="User with solid fill">
                      <a:extLst>
                        <a:ext uri="{FF2B5EF4-FFF2-40B4-BE49-F238E27FC236}">
                          <a16:creationId xmlns:a16="http://schemas.microsoft.com/office/drawing/2014/main" id="{A0CE2F2B-16EE-417F-0E60-B6EBC88787E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5" name="Graphic 1684" descr="User with solid fill">
                      <a:extLst>
                        <a:ext uri="{FF2B5EF4-FFF2-40B4-BE49-F238E27FC236}">
                          <a16:creationId xmlns:a16="http://schemas.microsoft.com/office/drawing/2014/main" id="{91CEDCE8-9D71-EC06-93F2-F944F8324D6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6" name="Graphic 1685" descr="User with solid fill">
                      <a:extLst>
                        <a:ext uri="{FF2B5EF4-FFF2-40B4-BE49-F238E27FC236}">
                          <a16:creationId xmlns:a16="http://schemas.microsoft.com/office/drawing/2014/main" id="{34E75861-F766-16B0-304B-F392F3CDE13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7" name="Graphic 1686" descr="User with solid fill">
                      <a:extLst>
                        <a:ext uri="{FF2B5EF4-FFF2-40B4-BE49-F238E27FC236}">
                          <a16:creationId xmlns:a16="http://schemas.microsoft.com/office/drawing/2014/main" id="{A2F491C3-4B09-A1F6-CE16-0BE77AB80BA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8" name="Graphic 1687" descr="User with solid fill">
                      <a:extLst>
                        <a:ext uri="{FF2B5EF4-FFF2-40B4-BE49-F238E27FC236}">
                          <a16:creationId xmlns:a16="http://schemas.microsoft.com/office/drawing/2014/main" id="{4D857BC9-6FA5-70BB-56CE-377A0C1027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252248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89" name="Graphic 1688" descr="User with solid fill">
                      <a:extLst>
                        <a:ext uri="{FF2B5EF4-FFF2-40B4-BE49-F238E27FC236}">
                          <a16:creationId xmlns:a16="http://schemas.microsoft.com/office/drawing/2014/main" id="{0EF92791-8BC1-DB6F-60EA-2133BF960D4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0" name="Graphic 1689" descr="User with solid fill">
                      <a:extLst>
                        <a:ext uri="{FF2B5EF4-FFF2-40B4-BE49-F238E27FC236}">
                          <a16:creationId xmlns:a16="http://schemas.microsoft.com/office/drawing/2014/main" id="{AA90537E-B5E2-77D4-C30F-E4724511D13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1" name="Graphic 1690" descr="User with solid fill">
                      <a:extLst>
                        <a:ext uri="{FF2B5EF4-FFF2-40B4-BE49-F238E27FC236}">
                          <a16:creationId xmlns:a16="http://schemas.microsoft.com/office/drawing/2014/main" id="{D9207A14-F961-47AB-BC43-3F1D7DBB23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2" name="Graphic 1691" descr="User with solid fill">
                      <a:extLst>
                        <a:ext uri="{FF2B5EF4-FFF2-40B4-BE49-F238E27FC236}">
                          <a16:creationId xmlns:a16="http://schemas.microsoft.com/office/drawing/2014/main" id="{FBDDBAF7-FDCC-4A55-FC5E-778F05E95C6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3" name="Graphic 1692" descr="User with solid fill">
                      <a:extLst>
                        <a:ext uri="{FF2B5EF4-FFF2-40B4-BE49-F238E27FC236}">
                          <a16:creationId xmlns:a16="http://schemas.microsoft.com/office/drawing/2014/main" id="{CC279689-399D-4E4F-77F8-ADE14D28F1E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4" name="Graphic 1693" descr="User with solid fill">
                      <a:extLst>
                        <a:ext uri="{FF2B5EF4-FFF2-40B4-BE49-F238E27FC236}">
                          <a16:creationId xmlns:a16="http://schemas.microsoft.com/office/drawing/2014/main" id="{FEF9FA0A-603A-2A58-98DC-58AA2ADBEDB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5" name="Graphic 1694" descr="User with solid fill">
                      <a:extLst>
                        <a:ext uri="{FF2B5EF4-FFF2-40B4-BE49-F238E27FC236}">
                          <a16:creationId xmlns:a16="http://schemas.microsoft.com/office/drawing/2014/main" id="{F51CBE56-CE55-DEB3-FB1B-8A9A6FD22BD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6" name="Graphic 1695" descr="User with solid fill">
                      <a:extLst>
                        <a:ext uri="{FF2B5EF4-FFF2-40B4-BE49-F238E27FC236}">
                          <a16:creationId xmlns:a16="http://schemas.microsoft.com/office/drawing/2014/main" id="{0092BC9E-6FBC-CD59-AD8B-95682C8C35E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7" name="Graphic 1696" descr="User with solid fill">
                      <a:extLst>
                        <a:ext uri="{FF2B5EF4-FFF2-40B4-BE49-F238E27FC236}">
                          <a16:creationId xmlns:a16="http://schemas.microsoft.com/office/drawing/2014/main" id="{D7946B80-EDBE-453D-8B9E-8E864BD7825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8" name="Graphic 1697" descr="User with solid fill">
                      <a:extLst>
                        <a:ext uri="{FF2B5EF4-FFF2-40B4-BE49-F238E27FC236}">
                          <a16:creationId xmlns:a16="http://schemas.microsoft.com/office/drawing/2014/main" id="{149BC06C-4E31-8C23-30AA-71AE1BB8DB3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26094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99" name="Graphic 1698" descr="User with solid fill">
                      <a:extLst>
                        <a:ext uri="{FF2B5EF4-FFF2-40B4-BE49-F238E27FC236}">
                          <a16:creationId xmlns:a16="http://schemas.microsoft.com/office/drawing/2014/main" id="{AD44FDDA-A2A2-7302-26E2-065CC34085E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0" name="Graphic 1699" descr="User with solid fill">
                      <a:extLst>
                        <a:ext uri="{FF2B5EF4-FFF2-40B4-BE49-F238E27FC236}">
                          <a16:creationId xmlns:a16="http://schemas.microsoft.com/office/drawing/2014/main" id="{F31FE754-2548-20B4-1C30-36B04BC6934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1" name="Graphic 1700" descr="User with solid fill">
                      <a:extLst>
                        <a:ext uri="{FF2B5EF4-FFF2-40B4-BE49-F238E27FC236}">
                          <a16:creationId xmlns:a16="http://schemas.microsoft.com/office/drawing/2014/main" id="{F385F019-48D0-16BC-D5AC-CA64AAA6B0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2" name="Graphic 1701" descr="User with solid fill">
                      <a:extLst>
                        <a:ext uri="{FF2B5EF4-FFF2-40B4-BE49-F238E27FC236}">
                          <a16:creationId xmlns:a16="http://schemas.microsoft.com/office/drawing/2014/main" id="{99C9FEF9-32C1-073B-D215-13FF03143A5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3" name="Graphic 1702" descr="User with solid fill">
                      <a:extLst>
                        <a:ext uri="{FF2B5EF4-FFF2-40B4-BE49-F238E27FC236}">
                          <a16:creationId xmlns:a16="http://schemas.microsoft.com/office/drawing/2014/main" id="{7F95F58E-9AE8-74D9-87EF-FD5AB754EC3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4" name="Graphic 1703" descr="User with solid fill">
                      <a:extLst>
                        <a:ext uri="{FF2B5EF4-FFF2-40B4-BE49-F238E27FC236}">
                          <a16:creationId xmlns:a16="http://schemas.microsoft.com/office/drawing/2014/main" id="{81775342-613F-6FDE-131E-44D7B6F8FD6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5" name="Graphic 1704" descr="User with solid fill">
                      <a:extLst>
                        <a:ext uri="{FF2B5EF4-FFF2-40B4-BE49-F238E27FC236}">
                          <a16:creationId xmlns:a16="http://schemas.microsoft.com/office/drawing/2014/main" id="{FC85C40E-73EF-0C1C-6C46-C0BAAB0AFE2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6" name="Graphic 1705" descr="User with solid fill">
                      <a:extLst>
                        <a:ext uri="{FF2B5EF4-FFF2-40B4-BE49-F238E27FC236}">
                          <a16:creationId xmlns:a16="http://schemas.microsoft.com/office/drawing/2014/main" id="{0BD6D0F6-5264-BCBD-394A-D9DA9BCE516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7" name="Graphic 1706" descr="User with solid fill">
                      <a:extLst>
                        <a:ext uri="{FF2B5EF4-FFF2-40B4-BE49-F238E27FC236}">
                          <a16:creationId xmlns:a16="http://schemas.microsoft.com/office/drawing/2014/main" id="{8627859A-00D3-AE77-372E-2D40B243CF5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8" name="Graphic 1707" descr="User with solid fill">
                      <a:extLst>
                        <a:ext uri="{FF2B5EF4-FFF2-40B4-BE49-F238E27FC236}">
                          <a16:creationId xmlns:a16="http://schemas.microsoft.com/office/drawing/2014/main" id="{55FD003A-8049-2F6A-3B46-B92CE5052C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26962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09" name="Graphic 1708" descr="User with solid fill">
                      <a:extLst>
                        <a:ext uri="{FF2B5EF4-FFF2-40B4-BE49-F238E27FC236}">
                          <a16:creationId xmlns:a16="http://schemas.microsoft.com/office/drawing/2014/main" id="{46FA5BCD-FC69-861A-EF51-BBF38765F4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0" name="Graphic 1709" descr="User with solid fill">
                      <a:extLst>
                        <a:ext uri="{FF2B5EF4-FFF2-40B4-BE49-F238E27FC236}">
                          <a16:creationId xmlns:a16="http://schemas.microsoft.com/office/drawing/2014/main" id="{E347B94E-1FDB-283F-501D-C4644DCEC57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1" name="Graphic 1710" descr="User with solid fill">
                      <a:extLst>
                        <a:ext uri="{FF2B5EF4-FFF2-40B4-BE49-F238E27FC236}">
                          <a16:creationId xmlns:a16="http://schemas.microsoft.com/office/drawing/2014/main" id="{86BBD122-0226-1FFA-7649-BB7FAB5137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2" name="Graphic 1711" descr="User with solid fill">
                      <a:extLst>
                        <a:ext uri="{FF2B5EF4-FFF2-40B4-BE49-F238E27FC236}">
                          <a16:creationId xmlns:a16="http://schemas.microsoft.com/office/drawing/2014/main" id="{77C76A4B-99D5-F9B0-66E5-3556970187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3" name="Graphic 1712" descr="User with solid fill">
                      <a:extLst>
                        <a:ext uri="{FF2B5EF4-FFF2-40B4-BE49-F238E27FC236}">
                          <a16:creationId xmlns:a16="http://schemas.microsoft.com/office/drawing/2014/main" id="{C080E195-3C04-09EF-95F5-07D49CCE03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4" name="Graphic 1713" descr="User with solid fill">
                      <a:extLst>
                        <a:ext uri="{FF2B5EF4-FFF2-40B4-BE49-F238E27FC236}">
                          <a16:creationId xmlns:a16="http://schemas.microsoft.com/office/drawing/2014/main" id="{D6994CFC-EC07-844B-25EC-E93E037500E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5" name="Graphic 1714" descr="User with solid fill">
                      <a:extLst>
                        <a:ext uri="{FF2B5EF4-FFF2-40B4-BE49-F238E27FC236}">
                          <a16:creationId xmlns:a16="http://schemas.microsoft.com/office/drawing/2014/main" id="{FE2864BD-4E95-3F99-D745-AA07DD0FA86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6" name="Graphic 1715" descr="User with solid fill">
                      <a:extLst>
                        <a:ext uri="{FF2B5EF4-FFF2-40B4-BE49-F238E27FC236}">
                          <a16:creationId xmlns:a16="http://schemas.microsoft.com/office/drawing/2014/main" id="{7059A0FA-BDFA-D56D-0AF0-726BD860367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7" name="Graphic 1716" descr="User with solid fill">
                      <a:extLst>
                        <a:ext uri="{FF2B5EF4-FFF2-40B4-BE49-F238E27FC236}">
                          <a16:creationId xmlns:a16="http://schemas.microsoft.com/office/drawing/2014/main" id="{0232383B-7574-AD37-65A1-A43A0666909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8" name="Graphic 1717" descr="User with solid fill">
                      <a:extLst>
                        <a:ext uri="{FF2B5EF4-FFF2-40B4-BE49-F238E27FC236}">
                          <a16:creationId xmlns:a16="http://schemas.microsoft.com/office/drawing/2014/main" id="{4B8E8E54-E0A5-4B12-A4AC-C42641F837A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2783096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19" name="Graphic 1718" descr="User with solid fill">
                      <a:extLst>
                        <a:ext uri="{FF2B5EF4-FFF2-40B4-BE49-F238E27FC236}">
                          <a16:creationId xmlns:a16="http://schemas.microsoft.com/office/drawing/2014/main" id="{B749B384-9F71-757C-1DAF-9FAC4CA59B9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2869920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20" name="Graphic 1719" descr="User with solid fill">
                      <a:extLst>
                        <a:ext uri="{FF2B5EF4-FFF2-40B4-BE49-F238E27FC236}">
                          <a16:creationId xmlns:a16="http://schemas.microsoft.com/office/drawing/2014/main" id="{8615595D-6140-13F1-3308-783211DCD2C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2869920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21" name="Graphic 1720" descr="User with solid fill">
                      <a:extLst>
                        <a:ext uri="{FF2B5EF4-FFF2-40B4-BE49-F238E27FC236}">
                          <a16:creationId xmlns:a16="http://schemas.microsoft.com/office/drawing/2014/main" id="{BB47C305-FA0B-FB6A-E8D6-9CB68E4042B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2869920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22" name="Graphic 1721" descr="User with solid fill">
                      <a:extLst>
                        <a:ext uri="{FF2B5EF4-FFF2-40B4-BE49-F238E27FC236}">
                          <a16:creationId xmlns:a16="http://schemas.microsoft.com/office/drawing/2014/main" id="{31E52B03-8159-D3C1-1C41-03EEA15BD2B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2869920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23" name="Graphic 1722" descr="User with solid fill">
                      <a:extLst>
                        <a:ext uri="{FF2B5EF4-FFF2-40B4-BE49-F238E27FC236}">
                          <a16:creationId xmlns:a16="http://schemas.microsoft.com/office/drawing/2014/main" id="{C06DA9A4-64F7-AF32-4EB8-5EB40BEBAB0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2869920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24" name="Graphic 1723" descr="User with solid fill">
                      <a:extLst>
                        <a:ext uri="{FF2B5EF4-FFF2-40B4-BE49-F238E27FC236}">
                          <a16:creationId xmlns:a16="http://schemas.microsoft.com/office/drawing/2014/main" id="{9F437C95-ED34-3BAF-5466-A16F52F4834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2869920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25" name="Graphic 1724" descr="User with solid fill">
                      <a:extLst>
                        <a:ext uri="{FF2B5EF4-FFF2-40B4-BE49-F238E27FC236}">
                          <a16:creationId xmlns:a16="http://schemas.microsoft.com/office/drawing/2014/main" id="{66694419-9D46-06A0-9181-BD7831302C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2869920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26" name="Graphic 1725" descr="User with solid fill">
                      <a:extLst>
                        <a:ext uri="{FF2B5EF4-FFF2-40B4-BE49-F238E27FC236}">
                          <a16:creationId xmlns:a16="http://schemas.microsoft.com/office/drawing/2014/main" id="{DF38FE97-089D-B4E2-8160-7815CAE29B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2869920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27" name="Graphic 1726" descr="User with solid fill">
                      <a:extLst>
                        <a:ext uri="{FF2B5EF4-FFF2-40B4-BE49-F238E27FC236}">
                          <a16:creationId xmlns:a16="http://schemas.microsoft.com/office/drawing/2014/main" id="{CD0313C3-9B6A-8C86-E72D-7F2E6800DB2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2869920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28" name="Graphic 1727" descr="User with solid fill">
                      <a:extLst>
                        <a:ext uri="{FF2B5EF4-FFF2-40B4-BE49-F238E27FC236}">
                          <a16:creationId xmlns:a16="http://schemas.microsoft.com/office/drawing/2014/main" id="{0AAA3689-BF85-109F-6BB8-B1907326B0F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2869920"/>
                      <a:ext cx="86959" cy="86959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628" name="Group 1627">
                    <a:extLst>
                      <a:ext uri="{FF2B5EF4-FFF2-40B4-BE49-F238E27FC236}">
                        <a16:creationId xmlns:a16="http://schemas.microsoft.com/office/drawing/2014/main" id="{E5C55535-E2DF-2161-6C98-42E3E7952CC5}"/>
                      </a:ext>
                    </a:extLst>
                  </p:cNvPr>
                  <p:cNvGrpSpPr/>
                  <p:nvPr/>
                </p:nvGrpSpPr>
                <p:grpSpPr>
                  <a:xfrm>
                    <a:off x="5766562" y="2460191"/>
                    <a:ext cx="869588" cy="438285"/>
                    <a:chOff x="4795228" y="2956745"/>
                    <a:chExt cx="869588" cy="438285"/>
                  </a:xfrm>
                  <a:grpFill/>
                </p:grpSpPr>
                <p:pic>
                  <p:nvPicPr>
                    <p:cNvPr id="1629" name="Graphic 1628" descr="User with solid fill">
                      <a:extLst>
                        <a:ext uri="{FF2B5EF4-FFF2-40B4-BE49-F238E27FC236}">
                          <a16:creationId xmlns:a16="http://schemas.microsoft.com/office/drawing/2014/main" id="{1979F74F-34F3-8030-72E5-ACA79191EF9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0" name="Graphic 1629" descr="User with solid fill">
                      <a:extLst>
                        <a:ext uri="{FF2B5EF4-FFF2-40B4-BE49-F238E27FC236}">
                          <a16:creationId xmlns:a16="http://schemas.microsoft.com/office/drawing/2014/main" id="{1B0BE5D8-6216-46B9-4694-37A891C0726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1" name="Graphic 1630" descr="User with solid fill">
                      <a:extLst>
                        <a:ext uri="{FF2B5EF4-FFF2-40B4-BE49-F238E27FC236}">
                          <a16:creationId xmlns:a16="http://schemas.microsoft.com/office/drawing/2014/main" id="{80E14E6E-F78D-3E8B-1EFE-4F22C8E5AB7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2" name="Graphic 1631" descr="User with solid fill">
                      <a:extLst>
                        <a:ext uri="{FF2B5EF4-FFF2-40B4-BE49-F238E27FC236}">
                          <a16:creationId xmlns:a16="http://schemas.microsoft.com/office/drawing/2014/main" id="{FBEBAB4F-5F21-30E3-C98E-2DE2F2C358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3" name="Graphic 1632" descr="User with solid fill">
                      <a:extLst>
                        <a:ext uri="{FF2B5EF4-FFF2-40B4-BE49-F238E27FC236}">
                          <a16:creationId xmlns:a16="http://schemas.microsoft.com/office/drawing/2014/main" id="{BD79F0D2-1764-37BA-116D-29446666BC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4" name="Graphic 1633" descr="User with solid fill">
                      <a:extLst>
                        <a:ext uri="{FF2B5EF4-FFF2-40B4-BE49-F238E27FC236}">
                          <a16:creationId xmlns:a16="http://schemas.microsoft.com/office/drawing/2014/main" id="{A7E655A1-8E76-8A34-9D27-D658AFBEFA3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5" name="Graphic 1634" descr="User with solid fill">
                      <a:extLst>
                        <a:ext uri="{FF2B5EF4-FFF2-40B4-BE49-F238E27FC236}">
                          <a16:creationId xmlns:a16="http://schemas.microsoft.com/office/drawing/2014/main" id="{50AF6A79-081E-7C40-7E82-797D751465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6" name="Graphic 1635" descr="User with solid fill">
                      <a:extLst>
                        <a:ext uri="{FF2B5EF4-FFF2-40B4-BE49-F238E27FC236}">
                          <a16:creationId xmlns:a16="http://schemas.microsoft.com/office/drawing/2014/main" id="{0C344383-A2B9-FCBC-1E8B-2616C5A2F3D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7" name="Graphic 1636" descr="User with solid fill">
                      <a:extLst>
                        <a:ext uri="{FF2B5EF4-FFF2-40B4-BE49-F238E27FC236}">
                          <a16:creationId xmlns:a16="http://schemas.microsoft.com/office/drawing/2014/main" id="{1B1002BE-9BCA-5AC0-60AF-2BD07717503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8" name="Graphic 1637" descr="User with solid fill">
                      <a:extLst>
                        <a:ext uri="{FF2B5EF4-FFF2-40B4-BE49-F238E27FC236}">
                          <a16:creationId xmlns:a16="http://schemas.microsoft.com/office/drawing/2014/main" id="{8FF3FA3E-2DF0-04E1-86FA-86FBDED9066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2956745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9" name="Graphic 1638" descr="User with solid fill">
                      <a:extLst>
                        <a:ext uri="{FF2B5EF4-FFF2-40B4-BE49-F238E27FC236}">
                          <a16:creationId xmlns:a16="http://schemas.microsoft.com/office/drawing/2014/main" id="{A2D73446-807C-EB3E-FB81-327C78CC3E2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0" name="Graphic 1639" descr="User with solid fill">
                      <a:extLst>
                        <a:ext uri="{FF2B5EF4-FFF2-40B4-BE49-F238E27FC236}">
                          <a16:creationId xmlns:a16="http://schemas.microsoft.com/office/drawing/2014/main" id="{6F4A308B-F5E1-270C-B954-E51653E7DDB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1" name="Graphic 1640" descr="User with solid fill">
                      <a:extLst>
                        <a:ext uri="{FF2B5EF4-FFF2-40B4-BE49-F238E27FC236}">
                          <a16:creationId xmlns:a16="http://schemas.microsoft.com/office/drawing/2014/main" id="{B330FBA4-D86D-6AB2-F80D-6FF53B5354F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2" name="Graphic 1641" descr="User with solid fill">
                      <a:extLst>
                        <a:ext uri="{FF2B5EF4-FFF2-40B4-BE49-F238E27FC236}">
                          <a16:creationId xmlns:a16="http://schemas.microsoft.com/office/drawing/2014/main" id="{BA6AD6E9-2DF4-2593-DE51-17CA35E8FCB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3" name="Graphic 1642" descr="User with solid fill">
                      <a:extLst>
                        <a:ext uri="{FF2B5EF4-FFF2-40B4-BE49-F238E27FC236}">
                          <a16:creationId xmlns:a16="http://schemas.microsoft.com/office/drawing/2014/main" id="{3800C836-2379-7F49-C260-6B482D9C40B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4" name="Graphic 1643" descr="User with solid fill">
                      <a:extLst>
                        <a:ext uri="{FF2B5EF4-FFF2-40B4-BE49-F238E27FC236}">
                          <a16:creationId xmlns:a16="http://schemas.microsoft.com/office/drawing/2014/main" id="{D5701893-E3A3-6E47-1B6B-823CC16720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5" name="Graphic 1644" descr="User with solid fill">
                      <a:extLst>
                        <a:ext uri="{FF2B5EF4-FFF2-40B4-BE49-F238E27FC236}">
                          <a16:creationId xmlns:a16="http://schemas.microsoft.com/office/drawing/2014/main" id="{F6490E12-2F8F-F807-5749-F769CB49E5E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6" name="Graphic 1645" descr="User with solid fill">
                      <a:extLst>
                        <a:ext uri="{FF2B5EF4-FFF2-40B4-BE49-F238E27FC236}">
                          <a16:creationId xmlns:a16="http://schemas.microsoft.com/office/drawing/2014/main" id="{A5C4FA25-38BF-9C47-6EFA-9A9299D176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7" name="Graphic 1646" descr="User with solid fill">
                      <a:extLst>
                        <a:ext uri="{FF2B5EF4-FFF2-40B4-BE49-F238E27FC236}">
                          <a16:creationId xmlns:a16="http://schemas.microsoft.com/office/drawing/2014/main" id="{D3A0DBB3-17AF-31CA-2670-5DC6C8D89B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8" name="Graphic 1647" descr="User with solid fill">
                      <a:extLst>
                        <a:ext uri="{FF2B5EF4-FFF2-40B4-BE49-F238E27FC236}">
                          <a16:creationId xmlns:a16="http://schemas.microsoft.com/office/drawing/2014/main" id="{0512E0D3-95DB-A0AE-5FCA-4F400788AE9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3047598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49" name="Graphic 1648" descr="User with solid fill">
                      <a:extLst>
                        <a:ext uri="{FF2B5EF4-FFF2-40B4-BE49-F238E27FC236}">
                          <a16:creationId xmlns:a16="http://schemas.microsoft.com/office/drawing/2014/main" id="{08DB7FC5-A4C1-8B12-7C37-51ED5FE49D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0" name="Graphic 1649" descr="User with solid fill">
                      <a:extLst>
                        <a:ext uri="{FF2B5EF4-FFF2-40B4-BE49-F238E27FC236}">
                          <a16:creationId xmlns:a16="http://schemas.microsoft.com/office/drawing/2014/main" id="{98E562FE-8F7E-A46E-3E3C-4D8664037E2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1" name="Graphic 1650" descr="User with solid fill">
                      <a:extLst>
                        <a:ext uri="{FF2B5EF4-FFF2-40B4-BE49-F238E27FC236}">
                          <a16:creationId xmlns:a16="http://schemas.microsoft.com/office/drawing/2014/main" id="{9B58435D-8073-AF18-6619-C880C7A2096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2" name="Graphic 1651" descr="User with solid fill">
                      <a:extLst>
                        <a:ext uri="{FF2B5EF4-FFF2-40B4-BE49-F238E27FC236}">
                          <a16:creationId xmlns:a16="http://schemas.microsoft.com/office/drawing/2014/main" id="{22A43B55-2A1D-63F1-3DAF-A6946DC12C7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3" name="Graphic 1652" descr="User with solid fill">
                      <a:extLst>
                        <a:ext uri="{FF2B5EF4-FFF2-40B4-BE49-F238E27FC236}">
                          <a16:creationId xmlns:a16="http://schemas.microsoft.com/office/drawing/2014/main" id="{CF1F8403-D97C-F180-F425-1CDE557353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4" name="Graphic 1653" descr="User with solid fill">
                      <a:extLst>
                        <a:ext uri="{FF2B5EF4-FFF2-40B4-BE49-F238E27FC236}">
                          <a16:creationId xmlns:a16="http://schemas.microsoft.com/office/drawing/2014/main" id="{97A07842-E01F-CA16-B652-5E23C5FB863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5" name="Graphic 1654" descr="User with solid fill">
                      <a:extLst>
                        <a:ext uri="{FF2B5EF4-FFF2-40B4-BE49-F238E27FC236}">
                          <a16:creationId xmlns:a16="http://schemas.microsoft.com/office/drawing/2014/main" id="{DA12FF5E-96C9-DB02-165C-49049A1DFC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6" name="Graphic 1655" descr="User with solid fill">
                      <a:extLst>
                        <a:ext uri="{FF2B5EF4-FFF2-40B4-BE49-F238E27FC236}">
                          <a16:creationId xmlns:a16="http://schemas.microsoft.com/office/drawing/2014/main" id="{2AAB2898-3BC7-E10A-004D-7B3FB1E304D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7" name="Graphic 1656" descr="User with solid fill">
                      <a:extLst>
                        <a:ext uri="{FF2B5EF4-FFF2-40B4-BE49-F238E27FC236}">
                          <a16:creationId xmlns:a16="http://schemas.microsoft.com/office/drawing/2014/main" id="{CE5C9C07-1C00-3B53-160B-90425EF748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8" name="Graphic 1657" descr="User with solid fill">
                      <a:extLst>
                        <a:ext uri="{FF2B5EF4-FFF2-40B4-BE49-F238E27FC236}">
                          <a16:creationId xmlns:a16="http://schemas.microsoft.com/office/drawing/2014/main" id="{BEFE6129-EA7E-6CC8-1873-E6B80BFF4B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3134422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9" name="Graphic 1658" descr="User with solid fill">
                      <a:extLst>
                        <a:ext uri="{FF2B5EF4-FFF2-40B4-BE49-F238E27FC236}">
                          <a16:creationId xmlns:a16="http://schemas.microsoft.com/office/drawing/2014/main" id="{3568FEC5-6328-2439-DD27-D221C86E423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0" name="Graphic 1659" descr="User with solid fill">
                      <a:extLst>
                        <a:ext uri="{FF2B5EF4-FFF2-40B4-BE49-F238E27FC236}">
                          <a16:creationId xmlns:a16="http://schemas.microsoft.com/office/drawing/2014/main" id="{D6B5BDFF-7A1F-06B9-CC59-AEF29FFA8C1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1" name="Graphic 1660" descr="User with solid fill">
                      <a:extLst>
                        <a:ext uri="{FF2B5EF4-FFF2-40B4-BE49-F238E27FC236}">
                          <a16:creationId xmlns:a16="http://schemas.microsoft.com/office/drawing/2014/main" id="{B575FDE6-4461-CAE0-39C9-AFE70848512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2" name="Graphic 1661" descr="User with solid fill">
                      <a:extLst>
                        <a:ext uri="{FF2B5EF4-FFF2-40B4-BE49-F238E27FC236}">
                          <a16:creationId xmlns:a16="http://schemas.microsoft.com/office/drawing/2014/main" id="{3D8D1361-8BCC-73F0-C7EE-4CF89F6FCD9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3" name="Graphic 1662" descr="User with solid fill">
                      <a:extLst>
                        <a:ext uri="{FF2B5EF4-FFF2-40B4-BE49-F238E27FC236}">
                          <a16:creationId xmlns:a16="http://schemas.microsoft.com/office/drawing/2014/main" id="{74C10722-BB18-70E7-1057-E344B0F57F7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4" name="Graphic 1663" descr="User with solid fill">
                      <a:extLst>
                        <a:ext uri="{FF2B5EF4-FFF2-40B4-BE49-F238E27FC236}">
                          <a16:creationId xmlns:a16="http://schemas.microsoft.com/office/drawing/2014/main" id="{64934558-B1BE-DBA3-3973-6C677E45D22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5" name="Graphic 1664" descr="User with solid fill">
                      <a:extLst>
                        <a:ext uri="{FF2B5EF4-FFF2-40B4-BE49-F238E27FC236}">
                          <a16:creationId xmlns:a16="http://schemas.microsoft.com/office/drawing/2014/main" id="{7225143F-5CDE-D904-46AA-F2012BD84B2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6" name="Graphic 1665" descr="User with solid fill">
                      <a:extLst>
                        <a:ext uri="{FF2B5EF4-FFF2-40B4-BE49-F238E27FC236}">
                          <a16:creationId xmlns:a16="http://schemas.microsoft.com/office/drawing/2014/main" id="{5E1ABD71-8315-11E2-02BD-C3A1847126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7" name="Graphic 1666" descr="User with solid fill">
                      <a:extLst>
                        <a:ext uri="{FF2B5EF4-FFF2-40B4-BE49-F238E27FC236}">
                          <a16:creationId xmlns:a16="http://schemas.microsoft.com/office/drawing/2014/main" id="{7EABE3D5-6806-7DF5-43AB-831B665A60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8" name="Graphic 1667" descr="User with solid fill">
                      <a:extLst>
                        <a:ext uri="{FF2B5EF4-FFF2-40B4-BE49-F238E27FC236}">
                          <a16:creationId xmlns:a16="http://schemas.microsoft.com/office/drawing/2014/main" id="{0129EB63-700A-1F8F-94B9-28C3796D17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3221247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69" name="Graphic 1668" descr="User with solid fill">
                      <a:extLst>
                        <a:ext uri="{FF2B5EF4-FFF2-40B4-BE49-F238E27FC236}">
                          <a16:creationId xmlns:a16="http://schemas.microsoft.com/office/drawing/2014/main" id="{0E9280A1-FB55-1DE0-0C99-6733F3B8E9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95228" y="33080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70" name="Graphic 1669" descr="User with solid fill">
                      <a:extLst>
                        <a:ext uri="{FF2B5EF4-FFF2-40B4-BE49-F238E27FC236}">
                          <a16:creationId xmlns:a16="http://schemas.microsoft.com/office/drawing/2014/main" id="{5EB5C27F-3995-016A-2EAA-5EE11C62625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82187" y="33080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71" name="Graphic 1670" descr="User with solid fill">
                      <a:extLst>
                        <a:ext uri="{FF2B5EF4-FFF2-40B4-BE49-F238E27FC236}">
                          <a16:creationId xmlns:a16="http://schemas.microsoft.com/office/drawing/2014/main" id="{3DCFE413-B7FA-3252-6CA1-0B18E1B3CD9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69146" y="33080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72" name="Graphic 1671" descr="User with solid fill">
                      <a:extLst>
                        <a:ext uri="{FF2B5EF4-FFF2-40B4-BE49-F238E27FC236}">
                          <a16:creationId xmlns:a16="http://schemas.microsoft.com/office/drawing/2014/main" id="{BE0EB042-3589-0E7F-3E05-3F752C3100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056104" y="33080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73" name="Graphic 1672" descr="User with solid fill">
                      <a:extLst>
                        <a:ext uri="{FF2B5EF4-FFF2-40B4-BE49-F238E27FC236}">
                          <a16:creationId xmlns:a16="http://schemas.microsoft.com/office/drawing/2014/main" id="{A133B064-0DBD-C21E-5233-A160DE4DF6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43063" y="33080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74" name="Graphic 1673" descr="User with solid fill">
                      <a:extLst>
                        <a:ext uri="{FF2B5EF4-FFF2-40B4-BE49-F238E27FC236}">
                          <a16:creationId xmlns:a16="http://schemas.microsoft.com/office/drawing/2014/main" id="{249F1991-459B-A263-306D-C9F78B7E6FA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30022" y="33080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75" name="Graphic 1674" descr="User with solid fill">
                      <a:extLst>
                        <a:ext uri="{FF2B5EF4-FFF2-40B4-BE49-F238E27FC236}">
                          <a16:creationId xmlns:a16="http://schemas.microsoft.com/office/drawing/2014/main" id="{06D92487-F60A-9BA8-55D0-C85EA401C9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6981" y="33080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76" name="Graphic 1675" descr="User with solid fill">
                      <a:extLst>
                        <a:ext uri="{FF2B5EF4-FFF2-40B4-BE49-F238E27FC236}">
                          <a16:creationId xmlns:a16="http://schemas.microsoft.com/office/drawing/2014/main" id="{2527D54E-F320-D01F-F2BB-E937EB3D379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03940" y="33080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77" name="Graphic 1676" descr="User with solid fill">
                      <a:extLst>
                        <a:ext uri="{FF2B5EF4-FFF2-40B4-BE49-F238E27FC236}">
                          <a16:creationId xmlns:a16="http://schemas.microsoft.com/office/drawing/2014/main" id="{FC91AC59-FE44-2EE8-619F-00E3FF073DA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90898" y="3308071"/>
                      <a:ext cx="86959" cy="8695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78" name="Graphic 1677" descr="User with solid fill">
                      <a:extLst>
                        <a:ext uri="{FF2B5EF4-FFF2-40B4-BE49-F238E27FC236}">
                          <a16:creationId xmlns:a16="http://schemas.microsoft.com/office/drawing/2014/main" id="{64646CF4-D163-5E07-0A91-22BA1A6AC6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577857" y="3308071"/>
                      <a:ext cx="86959" cy="86959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2143" name="Group 2142">
                  <a:extLst>
                    <a:ext uri="{FF2B5EF4-FFF2-40B4-BE49-F238E27FC236}">
                      <a16:creationId xmlns:a16="http://schemas.microsoft.com/office/drawing/2014/main" id="{DD0019F6-2DDE-F2A6-F758-600E05E04A7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932515" y="3851838"/>
                  <a:ext cx="90000" cy="90000"/>
                  <a:chOff x="2744309" y="2695115"/>
                  <a:chExt cx="1769326" cy="1769326"/>
                </a:xfrm>
              </p:grpSpPr>
              <p:pic>
                <p:nvPicPr>
                  <p:cNvPr id="2144" name="Graphic 2143" descr="User with solid fill">
                    <a:extLst>
                      <a:ext uri="{FF2B5EF4-FFF2-40B4-BE49-F238E27FC236}">
                        <a16:creationId xmlns:a16="http://schemas.microsoft.com/office/drawing/2014/main" id="{4CA6AC7C-BD4B-C895-796D-D2862BA3F94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9">
                    <a:extLst>
                      <a:ext uri="{96DAC541-7B7A-43D3-8B79-37D633B846F1}">
                        <asvg:svgBlip xmlns:asvg="http://schemas.microsoft.com/office/drawing/2016/SVG/main" r:embed="rId20"/>
                      </a:ext>
                    </a:extLst>
                  </a:blip>
                  <a:srcRect r="50000"/>
                  <a:stretch>
                    <a:fillRect/>
                  </a:stretch>
                </p:blipFill>
                <p:spPr>
                  <a:xfrm>
                    <a:off x="2744309" y="2695115"/>
                    <a:ext cx="884663" cy="1769326"/>
                  </a:xfrm>
                  <a:custGeom>
                    <a:avLst/>
                    <a:gdLst>
                      <a:gd name="connsiteX0" fmla="*/ 0 w 884663"/>
                      <a:gd name="connsiteY0" fmla="*/ 0 h 1769326"/>
                      <a:gd name="connsiteX1" fmla="*/ 884663 w 884663"/>
                      <a:gd name="connsiteY1" fmla="*/ 0 h 1769326"/>
                      <a:gd name="connsiteX2" fmla="*/ 884663 w 884663"/>
                      <a:gd name="connsiteY2" fmla="*/ 1769326 h 1769326"/>
                      <a:gd name="connsiteX3" fmla="*/ 0 w 884663"/>
                      <a:gd name="connsiteY3" fmla="*/ 1769326 h 1769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84663" h="1769326">
                        <a:moveTo>
                          <a:pt x="0" y="0"/>
                        </a:moveTo>
                        <a:lnTo>
                          <a:pt x="884663" y="0"/>
                        </a:lnTo>
                        <a:lnTo>
                          <a:pt x="884663" y="1769326"/>
                        </a:lnTo>
                        <a:lnTo>
                          <a:pt x="0" y="1769326"/>
                        </a:lnTo>
                        <a:close/>
                      </a:path>
                    </a:pathLst>
                  </a:custGeom>
                </p:spPr>
              </p:pic>
              <p:pic>
                <p:nvPicPr>
                  <p:cNvPr id="2145" name="Graphic 2144" descr="User with solid fill">
                    <a:extLst>
                      <a:ext uri="{FF2B5EF4-FFF2-40B4-BE49-F238E27FC236}">
                        <a16:creationId xmlns:a16="http://schemas.microsoft.com/office/drawing/2014/main" id="{63E5188C-10F7-18AA-2309-A5979AA194E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rcRect l="50000"/>
                  <a:stretch>
                    <a:fillRect/>
                  </a:stretch>
                </p:blipFill>
                <p:spPr>
                  <a:xfrm>
                    <a:off x="3628972" y="2695115"/>
                    <a:ext cx="884663" cy="1769326"/>
                  </a:xfrm>
                  <a:custGeom>
                    <a:avLst/>
                    <a:gdLst>
                      <a:gd name="connsiteX0" fmla="*/ 0 w 884663"/>
                      <a:gd name="connsiteY0" fmla="*/ 0 h 1769326"/>
                      <a:gd name="connsiteX1" fmla="*/ 884663 w 884663"/>
                      <a:gd name="connsiteY1" fmla="*/ 0 h 1769326"/>
                      <a:gd name="connsiteX2" fmla="*/ 884663 w 884663"/>
                      <a:gd name="connsiteY2" fmla="*/ 1769326 h 1769326"/>
                      <a:gd name="connsiteX3" fmla="*/ 0 w 884663"/>
                      <a:gd name="connsiteY3" fmla="*/ 1769326 h 1769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84663" h="1769326">
                        <a:moveTo>
                          <a:pt x="0" y="0"/>
                        </a:moveTo>
                        <a:lnTo>
                          <a:pt x="884663" y="0"/>
                        </a:lnTo>
                        <a:lnTo>
                          <a:pt x="884663" y="1769326"/>
                        </a:lnTo>
                        <a:lnTo>
                          <a:pt x="0" y="1769326"/>
                        </a:lnTo>
                        <a:close/>
                      </a:path>
                    </a:pathLst>
                  </a:custGeom>
                </p:spPr>
              </p:pic>
            </p:grpSp>
          </p:grpSp>
          <p:sp>
            <p:nvSpPr>
              <p:cNvPr id="2149" name="TextBox 2148">
                <a:extLst>
                  <a:ext uri="{FF2B5EF4-FFF2-40B4-BE49-F238E27FC236}">
                    <a16:creationId xmlns:a16="http://schemas.microsoft.com/office/drawing/2014/main" id="{8D1AF2FF-074A-1A7E-4166-D6D18BBC9842}"/>
                  </a:ext>
                </a:extLst>
              </p:cNvPr>
              <p:cNvSpPr txBox="1"/>
              <p:nvPr/>
            </p:nvSpPr>
            <p:spPr>
              <a:xfrm>
                <a:off x="6835900" y="3945011"/>
                <a:ext cx="62998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6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0.51</a:t>
                </a:r>
                <a:r>
                  <a:rPr lang="en-US" sz="12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%</a:t>
                </a:r>
              </a:p>
            </p:txBody>
          </p:sp>
        </p:grpSp>
        <p:grpSp>
          <p:nvGrpSpPr>
            <p:cNvPr id="2156" name="Group 2155">
              <a:extLst>
                <a:ext uri="{FF2B5EF4-FFF2-40B4-BE49-F238E27FC236}">
                  <a16:creationId xmlns:a16="http://schemas.microsoft.com/office/drawing/2014/main" id="{06935962-8CE0-D9BA-E686-420219E72F0A}"/>
                </a:ext>
              </a:extLst>
            </p:cNvPr>
            <p:cNvGrpSpPr/>
            <p:nvPr/>
          </p:nvGrpSpPr>
          <p:grpSpPr>
            <a:xfrm>
              <a:off x="5089799" y="4533071"/>
              <a:ext cx="2529929" cy="438285"/>
              <a:chOff x="4935952" y="4533071"/>
              <a:chExt cx="2529929" cy="438285"/>
            </a:xfrm>
          </p:grpSpPr>
          <p:grpSp>
            <p:nvGrpSpPr>
              <p:cNvPr id="590" name="Group 589">
                <a:extLst>
                  <a:ext uri="{FF2B5EF4-FFF2-40B4-BE49-F238E27FC236}">
                    <a16:creationId xmlns:a16="http://schemas.microsoft.com/office/drawing/2014/main" id="{A1AD2550-B231-BCF6-F8EC-F690D63CFF82}"/>
                  </a:ext>
                </a:extLst>
              </p:cNvPr>
              <p:cNvGrpSpPr/>
              <p:nvPr/>
            </p:nvGrpSpPr>
            <p:grpSpPr>
              <a:xfrm>
                <a:off x="4935952" y="4533071"/>
                <a:ext cx="1739176" cy="438285"/>
                <a:chOff x="4896974" y="2460191"/>
                <a:chExt cx="1739176" cy="438285"/>
              </a:xfrm>
              <a:solidFill>
                <a:schemeClr val="bg2"/>
              </a:solidFill>
            </p:grpSpPr>
            <p:grpSp>
              <p:nvGrpSpPr>
                <p:cNvPr id="591" name="Group 590">
                  <a:extLst>
                    <a:ext uri="{FF2B5EF4-FFF2-40B4-BE49-F238E27FC236}">
                      <a16:creationId xmlns:a16="http://schemas.microsoft.com/office/drawing/2014/main" id="{FEB4314B-6291-FDCC-FBA9-124163F0E2DB}"/>
                    </a:ext>
                  </a:extLst>
                </p:cNvPr>
                <p:cNvGrpSpPr/>
                <p:nvPr/>
              </p:nvGrpSpPr>
              <p:grpSpPr>
                <a:xfrm>
                  <a:off x="4896974" y="2462138"/>
                  <a:ext cx="869588" cy="434391"/>
                  <a:chOff x="4795228" y="2522488"/>
                  <a:chExt cx="869588" cy="434391"/>
                </a:xfrm>
                <a:grpFill/>
              </p:grpSpPr>
              <p:pic>
                <p:nvPicPr>
                  <p:cNvPr id="643" name="Graphic 642" descr="User with solid fill">
                    <a:extLst>
                      <a:ext uri="{FF2B5EF4-FFF2-40B4-BE49-F238E27FC236}">
                        <a16:creationId xmlns:a16="http://schemas.microsoft.com/office/drawing/2014/main" id="{8700891A-7534-FD2C-DBEC-FD5C26F41F9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44" name="Graphic 643" descr="User with solid fill">
                    <a:extLst>
                      <a:ext uri="{FF2B5EF4-FFF2-40B4-BE49-F238E27FC236}">
                        <a16:creationId xmlns:a16="http://schemas.microsoft.com/office/drawing/2014/main" id="{705668D8-D8B0-94A1-BCE4-C72875C95C9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45" name="Graphic 644" descr="User with solid fill">
                    <a:extLst>
                      <a:ext uri="{FF2B5EF4-FFF2-40B4-BE49-F238E27FC236}">
                        <a16:creationId xmlns:a16="http://schemas.microsoft.com/office/drawing/2014/main" id="{9F9A2C71-13F6-C975-876E-0BA74E067E4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46" name="Graphic 645" descr="User with solid fill">
                    <a:extLst>
                      <a:ext uri="{FF2B5EF4-FFF2-40B4-BE49-F238E27FC236}">
                        <a16:creationId xmlns:a16="http://schemas.microsoft.com/office/drawing/2014/main" id="{35D977D7-E570-8F7F-5C18-A2B3D0555BB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47" name="Graphic 646" descr="User with solid fill">
                    <a:extLst>
                      <a:ext uri="{FF2B5EF4-FFF2-40B4-BE49-F238E27FC236}">
                        <a16:creationId xmlns:a16="http://schemas.microsoft.com/office/drawing/2014/main" id="{5D7848C4-C571-13DD-5AEC-CFDC6B142F7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48" name="Graphic 647" descr="User with solid fill">
                    <a:extLst>
                      <a:ext uri="{FF2B5EF4-FFF2-40B4-BE49-F238E27FC236}">
                        <a16:creationId xmlns:a16="http://schemas.microsoft.com/office/drawing/2014/main" id="{E09CADC3-AF70-F7B4-DAE7-B2B537ED260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49" name="Graphic 648" descr="User with solid fill">
                    <a:extLst>
                      <a:ext uri="{FF2B5EF4-FFF2-40B4-BE49-F238E27FC236}">
                        <a16:creationId xmlns:a16="http://schemas.microsoft.com/office/drawing/2014/main" id="{CB607E72-A27A-B7EC-006F-2128A419CC1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0" name="Graphic 649" descr="User with solid fill">
                    <a:extLst>
                      <a:ext uri="{FF2B5EF4-FFF2-40B4-BE49-F238E27FC236}">
                        <a16:creationId xmlns:a16="http://schemas.microsoft.com/office/drawing/2014/main" id="{683C5424-4D2F-2DB6-799B-CF1C624F3BB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1" name="Graphic 650" descr="User with solid fill">
                    <a:extLst>
                      <a:ext uri="{FF2B5EF4-FFF2-40B4-BE49-F238E27FC236}">
                        <a16:creationId xmlns:a16="http://schemas.microsoft.com/office/drawing/2014/main" id="{46D03FAF-E930-3025-1AA5-78C177E91E2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2" name="Graphic 651" descr="User with solid fill">
                    <a:extLst>
                      <a:ext uri="{FF2B5EF4-FFF2-40B4-BE49-F238E27FC236}">
                        <a16:creationId xmlns:a16="http://schemas.microsoft.com/office/drawing/2014/main" id="{B43321F0-F100-8EE4-6584-00FD015CCB9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3" name="Graphic 652" descr="User with solid fill">
                    <a:extLst>
                      <a:ext uri="{FF2B5EF4-FFF2-40B4-BE49-F238E27FC236}">
                        <a16:creationId xmlns:a16="http://schemas.microsoft.com/office/drawing/2014/main" id="{6738335C-C571-99A1-D45C-21C4E2D160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4" name="Graphic 653" descr="User with solid fill">
                    <a:extLst>
                      <a:ext uri="{FF2B5EF4-FFF2-40B4-BE49-F238E27FC236}">
                        <a16:creationId xmlns:a16="http://schemas.microsoft.com/office/drawing/2014/main" id="{8922BA48-1444-7D25-6055-3932B71C280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5" name="Graphic 654" descr="User with solid fill">
                    <a:extLst>
                      <a:ext uri="{FF2B5EF4-FFF2-40B4-BE49-F238E27FC236}">
                        <a16:creationId xmlns:a16="http://schemas.microsoft.com/office/drawing/2014/main" id="{E9A2DEA9-83E9-9AA6-FB8F-EF38AC86191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6" name="Graphic 655" descr="User with solid fill">
                    <a:extLst>
                      <a:ext uri="{FF2B5EF4-FFF2-40B4-BE49-F238E27FC236}">
                        <a16:creationId xmlns:a16="http://schemas.microsoft.com/office/drawing/2014/main" id="{35B3FB4A-743C-9051-652C-189DA4AFE79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7" name="Graphic 656" descr="User with solid fill">
                    <a:extLst>
                      <a:ext uri="{FF2B5EF4-FFF2-40B4-BE49-F238E27FC236}">
                        <a16:creationId xmlns:a16="http://schemas.microsoft.com/office/drawing/2014/main" id="{3BB4337F-5752-7365-3E92-BC89712E464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8" name="Graphic 657" descr="User with solid fill">
                    <a:extLst>
                      <a:ext uri="{FF2B5EF4-FFF2-40B4-BE49-F238E27FC236}">
                        <a16:creationId xmlns:a16="http://schemas.microsoft.com/office/drawing/2014/main" id="{58AA34D5-C15A-A35A-AA69-A3105405C67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59" name="Graphic 658" descr="User with solid fill">
                    <a:extLst>
                      <a:ext uri="{FF2B5EF4-FFF2-40B4-BE49-F238E27FC236}">
                        <a16:creationId xmlns:a16="http://schemas.microsoft.com/office/drawing/2014/main" id="{105222D4-9CEE-3283-C614-BAD5747AF91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0" name="Graphic 659" descr="User with solid fill">
                    <a:extLst>
                      <a:ext uri="{FF2B5EF4-FFF2-40B4-BE49-F238E27FC236}">
                        <a16:creationId xmlns:a16="http://schemas.microsoft.com/office/drawing/2014/main" id="{8929D56F-8393-C766-5AE7-CAFC824C0C7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1" name="Graphic 660" descr="User with solid fill">
                    <a:extLst>
                      <a:ext uri="{FF2B5EF4-FFF2-40B4-BE49-F238E27FC236}">
                        <a16:creationId xmlns:a16="http://schemas.microsoft.com/office/drawing/2014/main" id="{1B06BAF6-9F98-DA6C-A034-55525BB5656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2" name="Graphic 661" descr="User with solid fill">
                    <a:extLst>
                      <a:ext uri="{FF2B5EF4-FFF2-40B4-BE49-F238E27FC236}">
                        <a16:creationId xmlns:a16="http://schemas.microsoft.com/office/drawing/2014/main" id="{D59C32AF-52D3-4C5C-0344-A4F8887C82F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3" name="Graphic 662" descr="User with solid fill">
                    <a:extLst>
                      <a:ext uri="{FF2B5EF4-FFF2-40B4-BE49-F238E27FC236}">
                        <a16:creationId xmlns:a16="http://schemas.microsoft.com/office/drawing/2014/main" id="{ACD88309-F738-DA2B-8FE6-82A731B3A55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4" name="Graphic 663" descr="User with solid fill">
                    <a:extLst>
                      <a:ext uri="{FF2B5EF4-FFF2-40B4-BE49-F238E27FC236}">
                        <a16:creationId xmlns:a16="http://schemas.microsoft.com/office/drawing/2014/main" id="{6EC08C04-56D3-BB61-8A64-6BACD64B052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5" name="Graphic 664" descr="User with solid fill">
                    <a:extLst>
                      <a:ext uri="{FF2B5EF4-FFF2-40B4-BE49-F238E27FC236}">
                        <a16:creationId xmlns:a16="http://schemas.microsoft.com/office/drawing/2014/main" id="{2B0C02E1-9F0F-1F7B-BE13-4083BCD2218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6" name="Graphic 665" descr="User with solid fill">
                    <a:extLst>
                      <a:ext uri="{FF2B5EF4-FFF2-40B4-BE49-F238E27FC236}">
                        <a16:creationId xmlns:a16="http://schemas.microsoft.com/office/drawing/2014/main" id="{30BC6ED5-6FF3-5098-330B-F6167F13E90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7" name="Graphic 666" descr="User with solid fill">
                    <a:extLst>
                      <a:ext uri="{FF2B5EF4-FFF2-40B4-BE49-F238E27FC236}">
                        <a16:creationId xmlns:a16="http://schemas.microsoft.com/office/drawing/2014/main" id="{19B7F3A9-6233-F466-C894-C925BE22833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8" name="Graphic 667" descr="User with solid fill">
                    <a:extLst>
                      <a:ext uri="{FF2B5EF4-FFF2-40B4-BE49-F238E27FC236}">
                        <a16:creationId xmlns:a16="http://schemas.microsoft.com/office/drawing/2014/main" id="{FF175BC6-E192-4FA4-3640-C963812F7A2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69" name="Graphic 668" descr="User with solid fill">
                    <a:extLst>
                      <a:ext uri="{FF2B5EF4-FFF2-40B4-BE49-F238E27FC236}">
                        <a16:creationId xmlns:a16="http://schemas.microsoft.com/office/drawing/2014/main" id="{7C00CBE4-5BF1-D234-6864-077105C1A5C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0" name="Graphic 669" descr="User with solid fill">
                    <a:extLst>
                      <a:ext uri="{FF2B5EF4-FFF2-40B4-BE49-F238E27FC236}">
                        <a16:creationId xmlns:a16="http://schemas.microsoft.com/office/drawing/2014/main" id="{47B0E6ED-8204-D3C1-98DD-B52448E23D1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1" name="Graphic 670" descr="User with solid fill">
                    <a:extLst>
                      <a:ext uri="{FF2B5EF4-FFF2-40B4-BE49-F238E27FC236}">
                        <a16:creationId xmlns:a16="http://schemas.microsoft.com/office/drawing/2014/main" id="{3EDB9282-0724-2161-4ACC-60A9BA19D02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2" name="Graphic 671" descr="User with solid fill">
                    <a:extLst>
                      <a:ext uri="{FF2B5EF4-FFF2-40B4-BE49-F238E27FC236}">
                        <a16:creationId xmlns:a16="http://schemas.microsoft.com/office/drawing/2014/main" id="{0B8CC3EA-21EC-E6AB-48C8-C51C12203F8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3" name="Graphic 672" descr="User with solid fill">
                    <a:extLst>
                      <a:ext uri="{FF2B5EF4-FFF2-40B4-BE49-F238E27FC236}">
                        <a16:creationId xmlns:a16="http://schemas.microsoft.com/office/drawing/2014/main" id="{ECE217E7-CED6-2B8C-B0EC-7BC910A730B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4" name="Graphic 673" descr="User with solid fill">
                    <a:extLst>
                      <a:ext uri="{FF2B5EF4-FFF2-40B4-BE49-F238E27FC236}">
                        <a16:creationId xmlns:a16="http://schemas.microsoft.com/office/drawing/2014/main" id="{0713F0B9-7ED7-CFF1-99F2-543859F6127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5" name="Graphic 674" descr="User with solid fill">
                    <a:extLst>
                      <a:ext uri="{FF2B5EF4-FFF2-40B4-BE49-F238E27FC236}">
                        <a16:creationId xmlns:a16="http://schemas.microsoft.com/office/drawing/2014/main" id="{78778833-D256-3AA4-956E-4B0AC0AA4CE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6" name="Graphic 675" descr="User with solid fill">
                    <a:extLst>
                      <a:ext uri="{FF2B5EF4-FFF2-40B4-BE49-F238E27FC236}">
                        <a16:creationId xmlns:a16="http://schemas.microsoft.com/office/drawing/2014/main" id="{7175D4D2-E352-7352-D1F3-B76779D524B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7" name="Graphic 676" descr="User with solid fill">
                    <a:extLst>
                      <a:ext uri="{FF2B5EF4-FFF2-40B4-BE49-F238E27FC236}">
                        <a16:creationId xmlns:a16="http://schemas.microsoft.com/office/drawing/2014/main" id="{1A092769-348E-B34B-6590-1BC8135C27D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8" name="Graphic 677" descr="User with solid fill">
                    <a:extLst>
                      <a:ext uri="{FF2B5EF4-FFF2-40B4-BE49-F238E27FC236}">
                        <a16:creationId xmlns:a16="http://schemas.microsoft.com/office/drawing/2014/main" id="{9C9D6337-1046-9189-43F7-127B1FB716C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79" name="Graphic 678" descr="User with solid fill">
                    <a:extLst>
                      <a:ext uri="{FF2B5EF4-FFF2-40B4-BE49-F238E27FC236}">
                        <a16:creationId xmlns:a16="http://schemas.microsoft.com/office/drawing/2014/main" id="{0CE70686-CC88-0BBD-C5F3-FAA171E18D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0" name="Graphic 679" descr="User with solid fill">
                    <a:extLst>
                      <a:ext uri="{FF2B5EF4-FFF2-40B4-BE49-F238E27FC236}">
                        <a16:creationId xmlns:a16="http://schemas.microsoft.com/office/drawing/2014/main" id="{915C5687-E260-763B-88AA-15365019EBA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1" name="Graphic 680" descr="User with solid fill">
                    <a:extLst>
                      <a:ext uri="{FF2B5EF4-FFF2-40B4-BE49-F238E27FC236}">
                        <a16:creationId xmlns:a16="http://schemas.microsoft.com/office/drawing/2014/main" id="{2DF6BD15-086C-D533-2786-005AC6C779F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2" name="Graphic 681" descr="User with solid fill">
                    <a:extLst>
                      <a:ext uri="{FF2B5EF4-FFF2-40B4-BE49-F238E27FC236}">
                        <a16:creationId xmlns:a16="http://schemas.microsoft.com/office/drawing/2014/main" id="{AF0B2B8B-E591-0663-7522-32B32781A2D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3" name="Graphic 682" descr="User with solid fill">
                    <a:extLst>
                      <a:ext uri="{FF2B5EF4-FFF2-40B4-BE49-F238E27FC236}">
                        <a16:creationId xmlns:a16="http://schemas.microsoft.com/office/drawing/2014/main" id="{8CF712E0-3F7D-7001-FB74-AF4FE44EC1B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4" name="Graphic 683" descr="User with solid fill">
                    <a:extLst>
                      <a:ext uri="{FF2B5EF4-FFF2-40B4-BE49-F238E27FC236}">
                        <a16:creationId xmlns:a16="http://schemas.microsoft.com/office/drawing/2014/main" id="{5BF33589-F4D5-4B7F-B8E0-5EEDFFF973E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5" name="Graphic 684" descr="User with solid fill">
                    <a:extLst>
                      <a:ext uri="{FF2B5EF4-FFF2-40B4-BE49-F238E27FC236}">
                        <a16:creationId xmlns:a16="http://schemas.microsoft.com/office/drawing/2014/main" id="{6616B316-0D71-6DCF-D3E9-89E8550AAA6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6" name="Graphic 685" descr="User with solid fill">
                    <a:extLst>
                      <a:ext uri="{FF2B5EF4-FFF2-40B4-BE49-F238E27FC236}">
                        <a16:creationId xmlns:a16="http://schemas.microsoft.com/office/drawing/2014/main" id="{F593DA47-AD2B-B874-0E18-5E7D44A2217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7" name="Graphic 686" descr="User with solid fill">
                    <a:extLst>
                      <a:ext uri="{FF2B5EF4-FFF2-40B4-BE49-F238E27FC236}">
                        <a16:creationId xmlns:a16="http://schemas.microsoft.com/office/drawing/2014/main" id="{06E88AA1-2014-9955-7BA7-31E6148CB93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8" name="Graphic 687" descr="User with solid fill">
                    <a:extLst>
                      <a:ext uri="{FF2B5EF4-FFF2-40B4-BE49-F238E27FC236}">
                        <a16:creationId xmlns:a16="http://schemas.microsoft.com/office/drawing/2014/main" id="{B326CB1E-B17A-8739-F567-C6639586B85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89" name="Graphic 688" descr="User with solid fill">
                    <a:extLst>
                      <a:ext uri="{FF2B5EF4-FFF2-40B4-BE49-F238E27FC236}">
                        <a16:creationId xmlns:a16="http://schemas.microsoft.com/office/drawing/2014/main" id="{6867AE67-E8B8-1C52-41A3-E53C97F74CE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90" name="Graphic 689" descr="User with solid fill">
                    <a:extLst>
                      <a:ext uri="{FF2B5EF4-FFF2-40B4-BE49-F238E27FC236}">
                        <a16:creationId xmlns:a16="http://schemas.microsoft.com/office/drawing/2014/main" id="{38F6C96E-6CAD-CBE2-CB5C-B648C152CCE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91" name="Graphic 690" descr="User with solid fill">
                    <a:extLst>
                      <a:ext uri="{FF2B5EF4-FFF2-40B4-BE49-F238E27FC236}">
                        <a16:creationId xmlns:a16="http://schemas.microsoft.com/office/drawing/2014/main" id="{98A527AC-7C74-1288-5FE0-C8395419113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92" name="Graphic 691" descr="User with solid fill">
                    <a:extLst>
                      <a:ext uri="{FF2B5EF4-FFF2-40B4-BE49-F238E27FC236}">
                        <a16:creationId xmlns:a16="http://schemas.microsoft.com/office/drawing/2014/main" id="{AEF79F92-F561-61ED-7401-BBCA6D2E822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869920"/>
                    <a:ext cx="86959" cy="86959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592" name="Group 591">
                  <a:extLst>
                    <a:ext uri="{FF2B5EF4-FFF2-40B4-BE49-F238E27FC236}">
                      <a16:creationId xmlns:a16="http://schemas.microsoft.com/office/drawing/2014/main" id="{9FB05DA7-A419-FEA6-42B4-4329506FFF07}"/>
                    </a:ext>
                  </a:extLst>
                </p:cNvPr>
                <p:cNvGrpSpPr/>
                <p:nvPr/>
              </p:nvGrpSpPr>
              <p:grpSpPr>
                <a:xfrm>
                  <a:off x="5766562" y="2460191"/>
                  <a:ext cx="869588" cy="438285"/>
                  <a:chOff x="4795228" y="2956745"/>
                  <a:chExt cx="869588" cy="438285"/>
                </a:xfrm>
                <a:grpFill/>
              </p:grpSpPr>
              <p:pic>
                <p:nvPicPr>
                  <p:cNvPr id="593" name="Graphic 592" descr="User with solid fill">
                    <a:extLst>
                      <a:ext uri="{FF2B5EF4-FFF2-40B4-BE49-F238E27FC236}">
                        <a16:creationId xmlns:a16="http://schemas.microsoft.com/office/drawing/2014/main" id="{38D0618E-1DC8-6036-D637-9295F0E8231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594" name="Graphic 593" descr="User with solid fill">
                    <a:extLst>
                      <a:ext uri="{FF2B5EF4-FFF2-40B4-BE49-F238E27FC236}">
                        <a16:creationId xmlns:a16="http://schemas.microsoft.com/office/drawing/2014/main" id="{EFA19162-16E2-ED0D-9885-CCC434BAB75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595" name="Graphic 594" descr="User with solid fill">
                    <a:extLst>
                      <a:ext uri="{FF2B5EF4-FFF2-40B4-BE49-F238E27FC236}">
                        <a16:creationId xmlns:a16="http://schemas.microsoft.com/office/drawing/2014/main" id="{72D30D95-FB8C-EA1A-D9C9-B38A4E31EBF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596" name="Graphic 595" descr="User with solid fill">
                    <a:extLst>
                      <a:ext uri="{FF2B5EF4-FFF2-40B4-BE49-F238E27FC236}">
                        <a16:creationId xmlns:a16="http://schemas.microsoft.com/office/drawing/2014/main" id="{50FD2E8D-57AC-7CC2-3416-EFB0E103E2F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597" name="Graphic 596" descr="User with solid fill">
                    <a:extLst>
                      <a:ext uri="{FF2B5EF4-FFF2-40B4-BE49-F238E27FC236}">
                        <a16:creationId xmlns:a16="http://schemas.microsoft.com/office/drawing/2014/main" id="{3669DB79-A7CA-A8E4-24AB-D190256FD41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598" name="Graphic 597" descr="User with solid fill">
                    <a:extLst>
                      <a:ext uri="{FF2B5EF4-FFF2-40B4-BE49-F238E27FC236}">
                        <a16:creationId xmlns:a16="http://schemas.microsoft.com/office/drawing/2014/main" id="{45F2A7F9-EE14-3554-085D-9FB021B9FD0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599" name="Graphic 598" descr="User with solid fill">
                    <a:extLst>
                      <a:ext uri="{FF2B5EF4-FFF2-40B4-BE49-F238E27FC236}">
                        <a16:creationId xmlns:a16="http://schemas.microsoft.com/office/drawing/2014/main" id="{40D99DCB-9C88-4A2B-E54A-13FABD5124A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0" name="Graphic 599" descr="User with solid fill">
                    <a:extLst>
                      <a:ext uri="{FF2B5EF4-FFF2-40B4-BE49-F238E27FC236}">
                        <a16:creationId xmlns:a16="http://schemas.microsoft.com/office/drawing/2014/main" id="{F9C8DD85-E92F-D5CA-97AB-0DCE38A25C9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1" name="Graphic 600" descr="User with solid fill">
                    <a:extLst>
                      <a:ext uri="{FF2B5EF4-FFF2-40B4-BE49-F238E27FC236}">
                        <a16:creationId xmlns:a16="http://schemas.microsoft.com/office/drawing/2014/main" id="{62386148-B235-CEA0-F88F-2E415AC7DE7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2" name="Graphic 601" descr="User with solid fill">
                    <a:extLst>
                      <a:ext uri="{FF2B5EF4-FFF2-40B4-BE49-F238E27FC236}">
                        <a16:creationId xmlns:a16="http://schemas.microsoft.com/office/drawing/2014/main" id="{EB165AC6-5C15-2E29-FB1C-44649D825EC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3" name="Graphic 602" descr="User with solid fill">
                    <a:extLst>
                      <a:ext uri="{FF2B5EF4-FFF2-40B4-BE49-F238E27FC236}">
                        <a16:creationId xmlns:a16="http://schemas.microsoft.com/office/drawing/2014/main" id="{55B6CA0A-EF80-EC34-636A-4E35CCC628D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4" name="Graphic 603" descr="User with solid fill">
                    <a:extLst>
                      <a:ext uri="{FF2B5EF4-FFF2-40B4-BE49-F238E27FC236}">
                        <a16:creationId xmlns:a16="http://schemas.microsoft.com/office/drawing/2014/main" id="{988E13D5-0B0A-4734-B2C8-D3EF2DCD1D9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5" name="Graphic 604" descr="User with solid fill">
                    <a:extLst>
                      <a:ext uri="{FF2B5EF4-FFF2-40B4-BE49-F238E27FC236}">
                        <a16:creationId xmlns:a16="http://schemas.microsoft.com/office/drawing/2014/main" id="{5FBCD169-3A4B-2B21-F493-8A6A4793C91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6" name="Graphic 605" descr="User with solid fill">
                    <a:extLst>
                      <a:ext uri="{FF2B5EF4-FFF2-40B4-BE49-F238E27FC236}">
                        <a16:creationId xmlns:a16="http://schemas.microsoft.com/office/drawing/2014/main" id="{F61C53C3-D43A-38DB-8B5E-3B865C0815A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7" name="Graphic 606" descr="User with solid fill">
                    <a:extLst>
                      <a:ext uri="{FF2B5EF4-FFF2-40B4-BE49-F238E27FC236}">
                        <a16:creationId xmlns:a16="http://schemas.microsoft.com/office/drawing/2014/main" id="{A4CC44C3-ABA7-495A-DC4D-963B6F13CB3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8" name="Graphic 607" descr="User with solid fill">
                    <a:extLst>
                      <a:ext uri="{FF2B5EF4-FFF2-40B4-BE49-F238E27FC236}">
                        <a16:creationId xmlns:a16="http://schemas.microsoft.com/office/drawing/2014/main" id="{A711F628-CADD-29F0-46D7-21E5AA2DC89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09" name="Graphic 608" descr="User with solid fill">
                    <a:extLst>
                      <a:ext uri="{FF2B5EF4-FFF2-40B4-BE49-F238E27FC236}">
                        <a16:creationId xmlns:a16="http://schemas.microsoft.com/office/drawing/2014/main" id="{114E6B1F-04A9-C88C-DDD8-A5732031094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0" name="Graphic 609" descr="User with solid fill">
                    <a:extLst>
                      <a:ext uri="{FF2B5EF4-FFF2-40B4-BE49-F238E27FC236}">
                        <a16:creationId xmlns:a16="http://schemas.microsoft.com/office/drawing/2014/main" id="{4DEB3F75-D51D-496C-34B9-44A872D2CD8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1" name="Graphic 610" descr="User with solid fill">
                    <a:extLst>
                      <a:ext uri="{FF2B5EF4-FFF2-40B4-BE49-F238E27FC236}">
                        <a16:creationId xmlns:a16="http://schemas.microsoft.com/office/drawing/2014/main" id="{F3289C48-41A9-A225-BC60-5AA866E01F7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2" name="Graphic 611" descr="User with solid fill">
                    <a:extLst>
                      <a:ext uri="{FF2B5EF4-FFF2-40B4-BE49-F238E27FC236}">
                        <a16:creationId xmlns:a16="http://schemas.microsoft.com/office/drawing/2014/main" id="{5F446F22-A9CB-E309-ABEE-B7786E57B72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3" name="Graphic 612" descr="User with solid fill">
                    <a:extLst>
                      <a:ext uri="{FF2B5EF4-FFF2-40B4-BE49-F238E27FC236}">
                        <a16:creationId xmlns:a16="http://schemas.microsoft.com/office/drawing/2014/main" id="{1B22EDD7-4D01-C6CA-24F5-FE0AD6A301A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4" name="Graphic 613" descr="User with solid fill">
                    <a:extLst>
                      <a:ext uri="{FF2B5EF4-FFF2-40B4-BE49-F238E27FC236}">
                        <a16:creationId xmlns:a16="http://schemas.microsoft.com/office/drawing/2014/main" id="{E84A7759-8461-7438-A362-1DAD74450BB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5" name="Graphic 614" descr="User with solid fill">
                    <a:extLst>
                      <a:ext uri="{FF2B5EF4-FFF2-40B4-BE49-F238E27FC236}">
                        <a16:creationId xmlns:a16="http://schemas.microsoft.com/office/drawing/2014/main" id="{06A79651-1244-2FBA-6B52-0A00B4FED7D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6" name="Graphic 615" descr="User with solid fill">
                    <a:extLst>
                      <a:ext uri="{FF2B5EF4-FFF2-40B4-BE49-F238E27FC236}">
                        <a16:creationId xmlns:a16="http://schemas.microsoft.com/office/drawing/2014/main" id="{ADFF4147-C573-CBFA-AAD1-FDAE6416EBD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7" name="Graphic 616" descr="User with solid fill">
                    <a:extLst>
                      <a:ext uri="{FF2B5EF4-FFF2-40B4-BE49-F238E27FC236}">
                        <a16:creationId xmlns:a16="http://schemas.microsoft.com/office/drawing/2014/main" id="{DAAA3BB6-D46C-BF8A-531B-2510AB0B7E4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8" name="Graphic 617" descr="User with solid fill">
                    <a:extLst>
                      <a:ext uri="{FF2B5EF4-FFF2-40B4-BE49-F238E27FC236}">
                        <a16:creationId xmlns:a16="http://schemas.microsoft.com/office/drawing/2014/main" id="{EB873973-0870-2EAE-8062-7488DA64D80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19" name="Graphic 618" descr="User with solid fill">
                    <a:extLst>
                      <a:ext uri="{FF2B5EF4-FFF2-40B4-BE49-F238E27FC236}">
                        <a16:creationId xmlns:a16="http://schemas.microsoft.com/office/drawing/2014/main" id="{503641FC-BFB3-E6FD-9DDB-69084DB5A8E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0" name="Graphic 619" descr="User with solid fill">
                    <a:extLst>
                      <a:ext uri="{FF2B5EF4-FFF2-40B4-BE49-F238E27FC236}">
                        <a16:creationId xmlns:a16="http://schemas.microsoft.com/office/drawing/2014/main" id="{20231B5D-2A6B-413C-A82B-58B0E0FFBF0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1" name="Graphic 620" descr="User with solid fill">
                    <a:extLst>
                      <a:ext uri="{FF2B5EF4-FFF2-40B4-BE49-F238E27FC236}">
                        <a16:creationId xmlns:a16="http://schemas.microsoft.com/office/drawing/2014/main" id="{F37C46C6-BD3E-D6B1-DA30-4C2E9598B00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2" name="Graphic 621" descr="User with solid fill">
                    <a:extLst>
                      <a:ext uri="{FF2B5EF4-FFF2-40B4-BE49-F238E27FC236}">
                        <a16:creationId xmlns:a16="http://schemas.microsoft.com/office/drawing/2014/main" id="{D643C71B-7C92-77C2-BE50-27EEC3126AE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3" name="Graphic 622" descr="User with solid fill">
                    <a:extLst>
                      <a:ext uri="{FF2B5EF4-FFF2-40B4-BE49-F238E27FC236}">
                        <a16:creationId xmlns:a16="http://schemas.microsoft.com/office/drawing/2014/main" id="{D7559AA0-9A91-BE23-10D9-07A16B5757F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4" name="Graphic 623" descr="User with solid fill">
                    <a:extLst>
                      <a:ext uri="{FF2B5EF4-FFF2-40B4-BE49-F238E27FC236}">
                        <a16:creationId xmlns:a16="http://schemas.microsoft.com/office/drawing/2014/main" id="{238E5E5C-D988-C5B5-3C5C-0633DE9F4E9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5" name="Graphic 624" descr="User with solid fill">
                    <a:extLst>
                      <a:ext uri="{FF2B5EF4-FFF2-40B4-BE49-F238E27FC236}">
                        <a16:creationId xmlns:a16="http://schemas.microsoft.com/office/drawing/2014/main" id="{35A6BAE5-BD5D-FC88-A643-8B138690107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6" name="Graphic 625" descr="User with solid fill">
                    <a:extLst>
                      <a:ext uri="{FF2B5EF4-FFF2-40B4-BE49-F238E27FC236}">
                        <a16:creationId xmlns:a16="http://schemas.microsoft.com/office/drawing/2014/main" id="{14547C61-1288-4F77-4373-F7C87DCBF4D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7" name="Graphic 626" descr="User with solid fill">
                    <a:extLst>
                      <a:ext uri="{FF2B5EF4-FFF2-40B4-BE49-F238E27FC236}">
                        <a16:creationId xmlns:a16="http://schemas.microsoft.com/office/drawing/2014/main" id="{41113C6C-11C6-AAF8-8A6E-BFDD479287B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8" name="Graphic 627" descr="User with solid fill">
                    <a:extLst>
                      <a:ext uri="{FF2B5EF4-FFF2-40B4-BE49-F238E27FC236}">
                        <a16:creationId xmlns:a16="http://schemas.microsoft.com/office/drawing/2014/main" id="{6F3DE530-6842-4264-66EE-6EC99D623F7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29" name="Graphic 628" descr="User with solid fill">
                    <a:extLst>
                      <a:ext uri="{FF2B5EF4-FFF2-40B4-BE49-F238E27FC236}">
                        <a16:creationId xmlns:a16="http://schemas.microsoft.com/office/drawing/2014/main" id="{2487462F-1C9A-22E8-2695-058B4DA25B7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0" name="Graphic 629" descr="User with solid fill">
                    <a:extLst>
                      <a:ext uri="{FF2B5EF4-FFF2-40B4-BE49-F238E27FC236}">
                        <a16:creationId xmlns:a16="http://schemas.microsoft.com/office/drawing/2014/main" id="{99316FF3-0CA7-D42A-EAEF-51281095862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1" name="Graphic 630" descr="User with solid fill">
                    <a:extLst>
                      <a:ext uri="{FF2B5EF4-FFF2-40B4-BE49-F238E27FC236}">
                        <a16:creationId xmlns:a16="http://schemas.microsoft.com/office/drawing/2014/main" id="{35278E06-5C3A-02DD-024F-23A7595D334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2" name="Graphic 631" descr="User with solid fill">
                    <a:extLst>
                      <a:ext uri="{FF2B5EF4-FFF2-40B4-BE49-F238E27FC236}">
                        <a16:creationId xmlns:a16="http://schemas.microsoft.com/office/drawing/2014/main" id="{3C352B67-917F-7CFB-207D-B3037244EAB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3" name="Graphic 632" descr="User with solid fill">
                    <a:extLst>
                      <a:ext uri="{FF2B5EF4-FFF2-40B4-BE49-F238E27FC236}">
                        <a16:creationId xmlns:a16="http://schemas.microsoft.com/office/drawing/2014/main" id="{F6C3E4DB-BAFD-E0E5-749A-1545FAE4AF7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4" name="Graphic 633" descr="User with solid fill">
                    <a:extLst>
                      <a:ext uri="{FF2B5EF4-FFF2-40B4-BE49-F238E27FC236}">
                        <a16:creationId xmlns:a16="http://schemas.microsoft.com/office/drawing/2014/main" id="{0EDDDC88-F3E6-3DD8-C210-3A5D13A8D3F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5" name="Graphic 634" descr="User with solid fill">
                    <a:extLst>
                      <a:ext uri="{FF2B5EF4-FFF2-40B4-BE49-F238E27FC236}">
                        <a16:creationId xmlns:a16="http://schemas.microsoft.com/office/drawing/2014/main" id="{8DD4CF8B-9087-5B2E-5B95-06A83876A1D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6" name="Graphic 635" descr="User with solid fill">
                    <a:extLst>
                      <a:ext uri="{FF2B5EF4-FFF2-40B4-BE49-F238E27FC236}">
                        <a16:creationId xmlns:a16="http://schemas.microsoft.com/office/drawing/2014/main" id="{55AC7E30-4BF5-B5C1-94AB-94EB7F73F3D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7" name="Graphic 636" descr="User with solid fill">
                    <a:extLst>
                      <a:ext uri="{FF2B5EF4-FFF2-40B4-BE49-F238E27FC236}">
                        <a16:creationId xmlns:a16="http://schemas.microsoft.com/office/drawing/2014/main" id="{17FFF886-F2E4-12EF-2177-CD65F7A4DD6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8" name="Graphic 637" descr="User with solid fill">
                    <a:extLst>
                      <a:ext uri="{FF2B5EF4-FFF2-40B4-BE49-F238E27FC236}">
                        <a16:creationId xmlns:a16="http://schemas.microsoft.com/office/drawing/2014/main" id="{9CB55EDC-F7F9-7C1A-823C-E025139BCDE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39" name="Graphic 638" descr="User with solid fill">
                    <a:extLst>
                      <a:ext uri="{FF2B5EF4-FFF2-40B4-BE49-F238E27FC236}">
                        <a16:creationId xmlns:a16="http://schemas.microsoft.com/office/drawing/2014/main" id="{A872F074-F1E1-F241-9054-9F3D9F6DF22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40" name="Graphic 639" descr="User with solid fill">
                    <a:extLst>
                      <a:ext uri="{FF2B5EF4-FFF2-40B4-BE49-F238E27FC236}">
                        <a16:creationId xmlns:a16="http://schemas.microsoft.com/office/drawing/2014/main" id="{5FBFD729-EA06-402A-A5D6-911B571AE04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41" name="Graphic 640" descr="User with solid fill">
                    <a:extLst>
                      <a:ext uri="{FF2B5EF4-FFF2-40B4-BE49-F238E27FC236}">
                        <a16:creationId xmlns:a16="http://schemas.microsoft.com/office/drawing/2014/main" id="{EC0E314F-738F-CC5F-FDFE-30099F35451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642" name="Graphic 641" descr="User with solid fill">
                    <a:extLst>
                      <a:ext uri="{FF2B5EF4-FFF2-40B4-BE49-F238E27FC236}">
                        <a16:creationId xmlns:a16="http://schemas.microsoft.com/office/drawing/2014/main" id="{A84102B9-74CE-4CFD-7952-21AB301D752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308071"/>
                    <a:ext cx="86959" cy="86959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2150" name="TextBox 2149">
                <a:extLst>
                  <a:ext uri="{FF2B5EF4-FFF2-40B4-BE49-F238E27FC236}">
                    <a16:creationId xmlns:a16="http://schemas.microsoft.com/office/drawing/2014/main" id="{8067F7C0-FCC4-7468-5D9A-807C9F052CD6}"/>
                  </a:ext>
                </a:extLst>
              </p:cNvPr>
              <p:cNvSpPr txBox="1"/>
              <p:nvPr/>
            </p:nvSpPr>
            <p:spPr>
              <a:xfrm>
                <a:off x="6835900" y="4629103"/>
                <a:ext cx="62998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6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0.24</a:t>
                </a:r>
                <a:r>
                  <a:rPr lang="en-US" sz="12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%</a:t>
                </a:r>
              </a:p>
            </p:txBody>
          </p:sp>
        </p:grpSp>
        <p:grpSp>
          <p:nvGrpSpPr>
            <p:cNvPr id="2157" name="Group 2156">
              <a:extLst>
                <a:ext uri="{FF2B5EF4-FFF2-40B4-BE49-F238E27FC236}">
                  <a16:creationId xmlns:a16="http://schemas.microsoft.com/office/drawing/2014/main" id="{6F74CC70-1F30-A6C5-5075-27B87EAF9E75}"/>
                </a:ext>
              </a:extLst>
            </p:cNvPr>
            <p:cNvGrpSpPr/>
            <p:nvPr/>
          </p:nvGrpSpPr>
          <p:grpSpPr>
            <a:xfrm>
              <a:off x="5089799" y="5219109"/>
              <a:ext cx="2529929" cy="438285"/>
              <a:chOff x="4935952" y="5219109"/>
              <a:chExt cx="2529929" cy="438285"/>
            </a:xfrm>
          </p:grpSpPr>
          <p:grpSp>
            <p:nvGrpSpPr>
              <p:cNvPr id="1316" name="Group 1315">
                <a:extLst>
                  <a:ext uri="{FF2B5EF4-FFF2-40B4-BE49-F238E27FC236}">
                    <a16:creationId xmlns:a16="http://schemas.microsoft.com/office/drawing/2014/main" id="{CD794A5E-F777-2053-388B-44D3269C811B}"/>
                  </a:ext>
                </a:extLst>
              </p:cNvPr>
              <p:cNvGrpSpPr/>
              <p:nvPr/>
            </p:nvGrpSpPr>
            <p:grpSpPr>
              <a:xfrm>
                <a:off x="4935952" y="5219109"/>
                <a:ext cx="1739176" cy="438285"/>
                <a:chOff x="4896974" y="2460191"/>
                <a:chExt cx="1739176" cy="438285"/>
              </a:xfrm>
              <a:solidFill>
                <a:schemeClr val="bg2"/>
              </a:solidFill>
            </p:grpSpPr>
            <p:grpSp>
              <p:nvGrpSpPr>
                <p:cNvPr id="1420" name="Group 1419">
                  <a:extLst>
                    <a:ext uri="{FF2B5EF4-FFF2-40B4-BE49-F238E27FC236}">
                      <a16:creationId xmlns:a16="http://schemas.microsoft.com/office/drawing/2014/main" id="{6EE25EE3-7DBC-8CE7-9983-403DC2A315C2}"/>
                    </a:ext>
                  </a:extLst>
                </p:cNvPr>
                <p:cNvGrpSpPr/>
                <p:nvPr/>
              </p:nvGrpSpPr>
              <p:grpSpPr>
                <a:xfrm>
                  <a:off x="4896974" y="2462138"/>
                  <a:ext cx="869588" cy="434391"/>
                  <a:chOff x="4795228" y="2522488"/>
                  <a:chExt cx="869588" cy="434391"/>
                </a:xfrm>
                <a:grpFill/>
              </p:grpSpPr>
              <p:pic>
                <p:nvPicPr>
                  <p:cNvPr id="1472" name="Graphic 1471" descr="User with solid fill">
                    <a:extLst>
                      <a:ext uri="{FF2B5EF4-FFF2-40B4-BE49-F238E27FC236}">
                        <a16:creationId xmlns:a16="http://schemas.microsoft.com/office/drawing/2014/main" id="{6496310E-E882-5BD5-E1B1-B94095BBDE0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73" name="Graphic 1472" descr="User with solid fill">
                    <a:extLst>
                      <a:ext uri="{FF2B5EF4-FFF2-40B4-BE49-F238E27FC236}">
                        <a16:creationId xmlns:a16="http://schemas.microsoft.com/office/drawing/2014/main" id="{7696AB88-63CE-02B6-D053-7D29E0E8447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74" name="Graphic 1473" descr="User with solid fill">
                    <a:extLst>
                      <a:ext uri="{FF2B5EF4-FFF2-40B4-BE49-F238E27FC236}">
                        <a16:creationId xmlns:a16="http://schemas.microsoft.com/office/drawing/2014/main" id="{30444AF2-24EC-B306-8865-AFA0169E22B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75" name="Graphic 1474" descr="User with solid fill">
                    <a:extLst>
                      <a:ext uri="{FF2B5EF4-FFF2-40B4-BE49-F238E27FC236}">
                        <a16:creationId xmlns:a16="http://schemas.microsoft.com/office/drawing/2014/main" id="{A5D55D30-E3C0-92BF-FAA6-0EFB2D26ACF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76" name="Graphic 1475" descr="User with solid fill">
                    <a:extLst>
                      <a:ext uri="{FF2B5EF4-FFF2-40B4-BE49-F238E27FC236}">
                        <a16:creationId xmlns:a16="http://schemas.microsoft.com/office/drawing/2014/main" id="{4FE0BBE0-F7C8-9EC1-FA2B-262415CE8FA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77" name="Graphic 1476" descr="User with solid fill">
                    <a:extLst>
                      <a:ext uri="{FF2B5EF4-FFF2-40B4-BE49-F238E27FC236}">
                        <a16:creationId xmlns:a16="http://schemas.microsoft.com/office/drawing/2014/main" id="{454525C8-EDC7-5C17-48B1-520EB547764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78" name="Graphic 1477" descr="User with solid fill">
                    <a:extLst>
                      <a:ext uri="{FF2B5EF4-FFF2-40B4-BE49-F238E27FC236}">
                        <a16:creationId xmlns:a16="http://schemas.microsoft.com/office/drawing/2014/main" id="{E8768EE4-B97D-9E76-F43C-B5BB91D551B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79" name="Graphic 1478" descr="User with solid fill">
                    <a:extLst>
                      <a:ext uri="{FF2B5EF4-FFF2-40B4-BE49-F238E27FC236}">
                        <a16:creationId xmlns:a16="http://schemas.microsoft.com/office/drawing/2014/main" id="{79FAE558-933A-859D-7493-C81FD11B257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0" name="Graphic 1479" descr="User with solid fill">
                    <a:extLst>
                      <a:ext uri="{FF2B5EF4-FFF2-40B4-BE49-F238E27FC236}">
                        <a16:creationId xmlns:a16="http://schemas.microsoft.com/office/drawing/2014/main" id="{9B0EFD57-E52A-816C-3E22-496E4DB5844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1" name="Graphic 1480" descr="User with solid fill">
                    <a:extLst>
                      <a:ext uri="{FF2B5EF4-FFF2-40B4-BE49-F238E27FC236}">
                        <a16:creationId xmlns:a16="http://schemas.microsoft.com/office/drawing/2014/main" id="{0DF58E7F-3425-579F-5FF8-26243E9FA15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2" name="Graphic 1481" descr="User with solid fill">
                    <a:extLst>
                      <a:ext uri="{FF2B5EF4-FFF2-40B4-BE49-F238E27FC236}">
                        <a16:creationId xmlns:a16="http://schemas.microsoft.com/office/drawing/2014/main" id="{17CF0FEA-437B-5D26-3847-7BFA49600CD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3" name="Graphic 1482" descr="User with solid fill">
                    <a:extLst>
                      <a:ext uri="{FF2B5EF4-FFF2-40B4-BE49-F238E27FC236}">
                        <a16:creationId xmlns:a16="http://schemas.microsoft.com/office/drawing/2014/main" id="{4056CC00-CDBC-CEC4-D1EA-45B549E333B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4" name="Graphic 1483" descr="User with solid fill">
                    <a:extLst>
                      <a:ext uri="{FF2B5EF4-FFF2-40B4-BE49-F238E27FC236}">
                        <a16:creationId xmlns:a16="http://schemas.microsoft.com/office/drawing/2014/main" id="{32C0F2C4-01E0-A807-E8A3-5E94E361A16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5" name="Graphic 1484" descr="User with solid fill">
                    <a:extLst>
                      <a:ext uri="{FF2B5EF4-FFF2-40B4-BE49-F238E27FC236}">
                        <a16:creationId xmlns:a16="http://schemas.microsoft.com/office/drawing/2014/main" id="{136050A4-F0A2-594D-CA47-20B04643C8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6" name="Graphic 1485" descr="User with solid fill">
                    <a:extLst>
                      <a:ext uri="{FF2B5EF4-FFF2-40B4-BE49-F238E27FC236}">
                        <a16:creationId xmlns:a16="http://schemas.microsoft.com/office/drawing/2014/main" id="{E7CD0E01-DAF3-3129-D38D-C6C12D1A79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7" name="Graphic 1486" descr="User with solid fill">
                    <a:extLst>
                      <a:ext uri="{FF2B5EF4-FFF2-40B4-BE49-F238E27FC236}">
                        <a16:creationId xmlns:a16="http://schemas.microsoft.com/office/drawing/2014/main" id="{5C29F502-6241-11FE-6265-88CA4D3226C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8" name="Graphic 1487" descr="User with solid fill">
                    <a:extLst>
                      <a:ext uri="{FF2B5EF4-FFF2-40B4-BE49-F238E27FC236}">
                        <a16:creationId xmlns:a16="http://schemas.microsoft.com/office/drawing/2014/main" id="{3928371D-94E4-F536-CE62-8D4858EE0FE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89" name="Graphic 1488" descr="User with solid fill">
                    <a:extLst>
                      <a:ext uri="{FF2B5EF4-FFF2-40B4-BE49-F238E27FC236}">
                        <a16:creationId xmlns:a16="http://schemas.microsoft.com/office/drawing/2014/main" id="{D2E2D0D6-4DEC-8709-14A1-23C78360AF4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0" name="Graphic 1489" descr="User with solid fill">
                    <a:extLst>
                      <a:ext uri="{FF2B5EF4-FFF2-40B4-BE49-F238E27FC236}">
                        <a16:creationId xmlns:a16="http://schemas.microsoft.com/office/drawing/2014/main" id="{B2F557BD-29DE-91BC-11B5-6E9ECE62E88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1" name="Graphic 1490" descr="User with solid fill">
                    <a:extLst>
                      <a:ext uri="{FF2B5EF4-FFF2-40B4-BE49-F238E27FC236}">
                        <a16:creationId xmlns:a16="http://schemas.microsoft.com/office/drawing/2014/main" id="{0A5C2D10-28C9-A6C9-B78A-14EC871F74F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2" name="Graphic 1491" descr="User with solid fill">
                    <a:extLst>
                      <a:ext uri="{FF2B5EF4-FFF2-40B4-BE49-F238E27FC236}">
                        <a16:creationId xmlns:a16="http://schemas.microsoft.com/office/drawing/2014/main" id="{12C0C3E5-8448-8CA1-692C-E95F3AAF19B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3" name="Graphic 1492" descr="User with solid fill">
                    <a:extLst>
                      <a:ext uri="{FF2B5EF4-FFF2-40B4-BE49-F238E27FC236}">
                        <a16:creationId xmlns:a16="http://schemas.microsoft.com/office/drawing/2014/main" id="{B3F141A5-F310-73D9-5447-4D20535C85D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4" name="Graphic 1493" descr="User with solid fill">
                    <a:extLst>
                      <a:ext uri="{FF2B5EF4-FFF2-40B4-BE49-F238E27FC236}">
                        <a16:creationId xmlns:a16="http://schemas.microsoft.com/office/drawing/2014/main" id="{51966E65-0F32-0CDC-44B0-6C6F8216DF1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5" name="Graphic 1494" descr="User with solid fill">
                    <a:extLst>
                      <a:ext uri="{FF2B5EF4-FFF2-40B4-BE49-F238E27FC236}">
                        <a16:creationId xmlns:a16="http://schemas.microsoft.com/office/drawing/2014/main" id="{35F4785D-A64D-F822-925B-66E0FE5AD9F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6" name="Graphic 1495" descr="User with solid fill">
                    <a:extLst>
                      <a:ext uri="{FF2B5EF4-FFF2-40B4-BE49-F238E27FC236}">
                        <a16:creationId xmlns:a16="http://schemas.microsoft.com/office/drawing/2014/main" id="{3F336623-4315-7AA0-984A-1747AE6EC0D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7" name="Graphic 1496" descr="User with solid fill">
                    <a:extLst>
                      <a:ext uri="{FF2B5EF4-FFF2-40B4-BE49-F238E27FC236}">
                        <a16:creationId xmlns:a16="http://schemas.microsoft.com/office/drawing/2014/main" id="{075B2479-E3CB-B4BA-44B6-71BC4C95558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8" name="Graphic 1497" descr="User with solid fill">
                    <a:extLst>
                      <a:ext uri="{FF2B5EF4-FFF2-40B4-BE49-F238E27FC236}">
                        <a16:creationId xmlns:a16="http://schemas.microsoft.com/office/drawing/2014/main" id="{9452357A-BC27-6130-4FFF-0887DDA5E6D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99" name="Graphic 1498" descr="User with solid fill">
                    <a:extLst>
                      <a:ext uri="{FF2B5EF4-FFF2-40B4-BE49-F238E27FC236}">
                        <a16:creationId xmlns:a16="http://schemas.microsoft.com/office/drawing/2014/main" id="{024D948C-3EC6-646D-C3DF-7E53FE33C6A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0" name="Graphic 1499" descr="User with solid fill">
                    <a:extLst>
                      <a:ext uri="{FF2B5EF4-FFF2-40B4-BE49-F238E27FC236}">
                        <a16:creationId xmlns:a16="http://schemas.microsoft.com/office/drawing/2014/main" id="{6F75FB03-524D-BBEA-7A8B-B849A830E00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1" name="Graphic 1500" descr="User with solid fill">
                    <a:extLst>
                      <a:ext uri="{FF2B5EF4-FFF2-40B4-BE49-F238E27FC236}">
                        <a16:creationId xmlns:a16="http://schemas.microsoft.com/office/drawing/2014/main" id="{4559E050-EB81-1A22-5408-63977DADB43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2" name="Graphic 1501" descr="User with solid fill">
                    <a:extLst>
                      <a:ext uri="{FF2B5EF4-FFF2-40B4-BE49-F238E27FC236}">
                        <a16:creationId xmlns:a16="http://schemas.microsoft.com/office/drawing/2014/main" id="{F2AEEEA8-A1A0-7F3E-E703-8A18003A79C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3" name="Graphic 1502" descr="User with solid fill">
                    <a:extLst>
                      <a:ext uri="{FF2B5EF4-FFF2-40B4-BE49-F238E27FC236}">
                        <a16:creationId xmlns:a16="http://schemas.microsoft.com/office/drawing/2014/main" id="{4BADCFDF-6830-9FC2-8186-110F3E1CC7D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4" name="Graphic 1503" descr="User with solid fill">
                    <a:extLst>
                      <a:ext uri="{FF2B5EF4-FFF2-40B4-BE49-F238E27FC236}">
                        <a16:creationId xmlns:a16="http://schemas.microsoft.com/office/drawing/2014/main" id="{F6F880E4-1FE2-13A7-5DB8-962EBB86AB8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5" name="Graphic 1504" descr="User with solid fill">
                    <a:extLst>
                      <a:ext uri="{FF2B5EF4-FFF2-40B4-BE49-F238E27FC236}">
                        <a16:creationId xmlns:a16="http://schemas.microsoft.com/office/drawing/2014/main" id="{7F35C46A-4D07-2026-819F-E04C9E6D893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6" name="Graphic 1505" descr="User with solid fill">
                    <a:extLst>
                      <a:ext uri="{FF2B5EF4-FFF2-40B4-BE49-F238E27FC236}">
                        <a16:creationId xmlns:a16="http://schemas.microsoft.com/office/drawing/2014/main" id="{6B0D4307-6378-5E97-A884-064565030D4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7" name="Graphic 1506" descr="User with solid fill">
                    <a:extLst>
                      <a:ext uri="{FF2B5EF4-FFF2-40B4-BE49-F238E27FC236}">
                        <a16:creationId xmlns:a16="http://schemas.microsoft.com/office/drawing/2014/main" id="{D47B536D-C7E9-43C1-3364-0AAB47E64CE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8" name="Graphic 1507" descr="User with solid fill">
                    <a:extLst>
                      <a:ext uri="{FF2B5EF4-FFF2-40B4-BE49-F238E27FC236}">
                        <a16:creationId xmlns:a16="http://schemas.microsoft.com/office/drawing/2014/main" id="{C5EDAD51-9092-76B4-AE86-4256BF75396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09" name="Graphic 1508" descr="User with solid fill">
                    <a:extLst>
                      <a:ext uri="{FF2B5EF4-FFF2-40B4-BE49-F238E27FC236}">
                        <a16:creationId xmlns:a16="http://schemas.microsoft.com/office/drawing/2014/main" id="{2069A7C1-6CCA-2DF6-42F4-CD8EA7BF918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0" name="Graphic 1509" descr="User with solid fill">
                    <a:extLst>
                      <a:ext uri="{FF2B5EF4-FFF2-40B4-BE49-F238E27FC236}">
                        <a16:creationId xmlns:a16="http://schemas.microsoft.com/office/drawing/2014/main" id="{F3B0C5B6-4839-F0D3-D9D7-42FCD3975A9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1" name="Graphic 1510" descr="User with solid fill">
                    <a:extLst>
                      <a:ext uri="{FF2B5EF4-FFF2-40B4-BE49-F238E27FC236}">
                        <a16:creationId xmlns:a16="http://schemas.microsoft.com/office/drawing/2014/main" id="{C5EF87D5-09B2-5E41-D0FA-69EE6A81906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2" name="Graphic 1511" descr="User with solid fill">
                    <a:extLst>
                      <a:ext uri="{FF2B5EF4-FFF2-40B4-BE49-F238E27FC236}">
                        <a16:creationId xmlns:a16="http://schemas.microsoft.com/office/drawing/2014/main" id="{4A446D10-981F-80E6-2E0D-EBAB4CAC421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3" name="Graphic 1512" descr="User with solid fill">
                    <a:extLst>
                      <a:ext uri="{FF2B5EF4-FFF2-40B4-BE49-F238E27FC236}">
                        <a16:creationId xmlns:a16="http://schemas.microsoft.com/office/drawing/2014/main" id="{AE38265B-8536-F847-73F5-27D98FBA5D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4" name="Graphic 1513" descr="User with solid fill">
                    <a:extLst>
                      <a:ext uri="{FF2B5EF4-FFF2-40B4-BE49-F238E27FC236}">
                        <a16:creationId xmlns:a16="http://schemas.microsoft.com/office/drawing/2014/main" id="{8E0ABB67-FB1D-74B9-9E67-4CAD3A16E7F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5" name="Graphic 1514" descr="User with solid fill">
                    <a:extLst>
                      <a:ext uri="{FF2B5EF4-FFF2-40B4-BE49-F238E27FC236}">
                        <a16:creationId xmlns:a16="http://schemas.microsoft.com/office/drawing/2014/main" id="{ACE6D709-7739-2C89-CEF0-90BD6B217C4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6" name="Graphic 1515" descr="User with solid fill">
                    <a:extLst>
                      <a:ext uri="{FF2B5EF4-FFF2-40B4-BE49-F238E27FC236}">
                        <a16:creationId xmlns:a16="http://schemas.microsoft.com/office/drawing/2014/main" id="{8F84294F-1219-B06A-99B9-289BD6A42F9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7" name="Graphic 1516" descr="User with solid fill">
                    <a:extLst>
                      <a:ext uri="{FF2B5EF4-FFF2-40B4-BE49-F238E27FC236}">
                        <a16:creationId xmlns:a16="http://schemas.microsoft.com/office/drawing/2014/main" id="{FF0B4F20-9672-B516-F4E5-89E679597BC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8" name="Graphic 1517" descr="User with solid fill">
                    <a:extLst>
                      <a:ext uri="{FF2B5EF4-FFF2-40B4-BE49-F238E27FC236}">
                        <a16:creationId xmlns:a16="http://schemas.microsoft.com/office/drawing/2014/main" id="{A0476D0A-997A-46EB-FC41-798A907B561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19" name="Graphic 1518" descr="User with solid fill">
                    <a:extLst>
                      <a:ext uri="{FF2B5EF4-FFF2-40B4-BE49-F238E27FC236}">
                        <a16:creationId xmlns:a16="http://schemas.microsoft.com/office/drawing/2014/main" id="{27F1682D-8B82-AA81-912F-E37AAEA3A32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20" name="Graphic 1519" descr="User with solid fill">
                    <a:extLst>
                      <a:ext uri="{FF2B5EF4-FFF2-40B4-BE49-F238E27FC236}">
                        <a16:creationId xmlns:a16="http://schemas.microsoft.com/office/drawing/2014/main" id="{4E578032-9EDD-BC79-A322-3094D3EF45B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521" name="Graphic 1520" descr="User with solid fill">
                    <a:extLst>
                      <a:ext uri="{FF2B5EF4-FFF2-40B4-BE49-F238E27FC236}">
                        <a16:creationId xmlns:a16="http://schemas.microsoft.com/office/drawing/2014/main" id="{E59C33F5-1AFC-A323-853F-F3116FC4635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869920"/>
                    <a:ext cx="86959" cy="86959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421" name="Group 1420">
                  <a:extLst>
                    <a:ext uri="{FF2B5EF4-FFF2-40B4-BE49-F238E27FC236}">
                      <a16:creationId xmlns:a16="http://schemas.microsoft.com/office/drawing/2014/main" id="{1D49A87A-E538-292F-D7A8-33BC1248C8E1}"/>
                    </a:ext>
                  </a:extLst>
                </p:cNvPr>
                <p:cNvGrpSpPr/>
                <p:nvPr/>
              </p:nvGrpSpPr>
              <p:grpSpPr>
                <a:xfrm>
                  <a:off x="5766562" y="2460191"/>
                  <a:ext cx="869588" cy="438285"/>
                  <a:chOff x="4795228" y="2956745"/>
                  <a:chExt cx="869588" cy="438285"/>
                </a:xfrm>
                <a:grpFill/>
              </p:grpSpPr>
              <p:pic>
                <p:nvPicPr>
                  <p:cNvPr id="1422" name="Graphic 1421" descr="User with solid fill">
                    <a:extLst>
                      <a:ext uri="{FF2B5EF4-FFF2-40B4-BE49-F238E27FC236}">
                        <a16:creationId xmlns:a16="http://schemas.microsoft.com/office/drawing/2014/main" id="{D6AADDF2-0459-4EEE-B30E-D8F144756EF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23" name="Graphic 1422" descr="User with solid fill">
                    <a:extLst>
                      <a:ext uri="{FF2B5EF4-FFF2-40B4-BE49-F238E27FC236}">
                        <a16:creationId xmlns:a16="http://schemas.microsoft.com/office/drawing/2014/main" id="{BABD3B1A-DD9E-7D07-8681-C208D453F67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24" name="Graphic 1423" descr="User with solid fill">
                    <a:extLst>
                      <a:ext uri="{FF2B5EF4-FFF2-40B4-BE49-F238E27FC236}">
                        <a16:creationId xmlns:a16="http://schemas.microsoft.com/office/drawing/2014/main" id="{A72D780B-A11A-F97C-E6C9-6811D9D8367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25" name="Graphic 1424" descr="User with solid fill">
                    <a:extLst>
                      <a:ext uri="{FF2B5EF4-FFF2-40B4-BE49-F238E27FC236}">
                        <a16:creationId xmlns:a16="http://schemas.microsoft.com/office/drawing/2014/main" id="{534B575A-5563-566F-4E2A-6A5328DEE0A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26" name="Graphic 1425" descr="User with solid fill">
                    <a:extLst>
                      <a:ext uri="{FF2B5EF4-FFF2-40B4-BE49-F238E27FC236}">
                        <a16:creationId xmlns:a16="http://schemas.microsoft.com/office/drawing/2014/main" id="{525467DC-BEF6-6D2A-0E3E-F5490984C69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27" name="Graphic 1426" descr="User with solid fill">
                    <a:extLst>
                      <a:ext uri="{FF2B5EF4-FFF2-40B4-BE49-F238E27FC236}">
                        <a16:creationId xmlns:a16="http://schemas.microsoft.com/office/drawing/2014/main" id="{E116E7A6-4645-4D9D-05A1-C9A5F23811B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28" name="Graphic 1427" descr="User with solid fill">
                    <a:extLst>
                      <a:ext uri="{FF2B5EF4-FFF2-40B4-BE49-F238E27FC236}">
                        <a16:creationId xmlns:a16="http://schemas.microsoft.com/office/drawing/2014/main" id="{A33C4CF0-1ADC-A093-236D-2A0E7CF8B0A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29" name="Graphic 1428" descr="User with solid fill">
                    <a:extLst>
                      <a:ext uri="{FF2B5EF4-FFF2-40B4-BE49-F238E27FC236}">
                        <a16:creationId xmlns:a16="http://schemas.microsoft.com/office/drawing/2014/main" id="{95C94545-813D-CD49-1695-0D1C527E1EF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0" name="Graphic 1429" descr="User with solid fill">
                    <a:extLst>
                      <a:ext uri="{FF2B5EF4-FFF2-40B4-BE49-F238E27FC236}">
                        <a16:creationId xmlns:a16="http://schemas.microsoft.com/office/drawing/2014/main" id="{AD33F13E-9821-3AF0-06A6-211782FA7FD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1" name="Graphic 1430" descr="User with solid fill">
                    <a:extLst>
                      <a:ext uri="{FF2B5EF4-FFF2-40B4-BE49-F238E27FC236}">
                        <a16:creationId xmlns:a16="http://schemas.microsoft.com/office/drawing/2014/main" id="{7E5E726A-E436-804C-FB17-63FEE092E97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2" name="Graphic 1431" descr="User with solid fill">
                    <a:extLst>
                      <a:ext uri="{FF2B5EF4-FFF2-40B4-BE49-F238E27FC236}">
                        <a16:creationId xmlns:a16="http://schemas.microsoft.com/office/drawing/2014/main" id="{F18D021B-0533-CAEB-81D5-373F3A63487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3" name="Graphic 1432" descr="User with solid fill">
                    <a:extLst>
                      <a:ext uri="{FF2B5EF4-FFF2-40B4-BE49-F238E27FC236}">
                        <a16:creationId xmlns:a16="http://schemas.microsoft.com/office/drawing/2014/main" id="{08BC8111-2A41-ABDF-DCB5-688BBF9C8E3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4" name="Graphic 1433" descr="User with solid fill">
                    <a:extLst>
                      <a:ext uri="{FF2B5EF4-FFF2-40B4-BE49-F238E27FC236}">
                        <a16:creationId xmlns:a16="http://schemas.microsoft.com/office/drawing/2014/main" id="{4396EE74-4E27-F0FC-6F2B-56FD59977F2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5" name="Graphic 1434" descr="User with solid fill">
                    <a:extLst>
                      <a:ext uri="{FF2B5EF4-FFF2-40B4-BE49-F238E27FC236}">
                        <a16:creationId xmlns:a16="http://schemas.microsoft.com/office/drawing/2014/main" id="{EF966B7C-8B12-9EFC-5631-F68B3EFDC75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6" name="Graphic 1435" descr="User with solid fill">
                    <a:extLst>
                      <a:ext uri="{FF2B5EF4-FFF2-40B4-BE49-F238E27FC236}">
                        <a16:creationId xmlns:a16="http://schemas.microsoft.com/office/drawing/2014/main" id="{5A2B51A4-CADB-5A33-6699-DE5FF0F0075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7" name="Graphic 1436" descr="User with solid fill">
                    <a:extLst>
                      <a:ext uri="{FF2B5EF4-FFF2-40B4-BE49-F238E27FC236}">
                        <a16:creationId xmlns:a16="http://schemas.microsoft.com/office/drawing/2014/main" id="{9A665F44-7A43-3C42-2958-D916DC3C688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8" name="Graphic 1437" descr="User with solid fill">
                    <a:extLst>
                      <a:ext uri="{FF2B5EF4-FFF2-40B4-BE49-F238E27FC236}">
                        <a16:creationId xmlns:a16="http://schemas.microsoft.com/office/drawing/2014/main" id="{4FF14AF4-CF37-2671-BEAA-C072B9001D3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39" name="Graphic 1438" descr="User with solid fill">
                    <a:extLst>
                      <a:ext uri="{FF2B5EF4-FFF2-40B4-BE49-F238E27FC236}">
                        <a16:creationId xmlns:a16="http://schemas.microsoft.com/office/drawing/2014/main" id="{77651720-6078-72F4-050A-F860D998B1B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0" name="Graphic 1439" descr="User with solid fill">
                    <a:extLst>
                      <a:ext uri="{FF2B5EF4-FFF2-40B4-BE49-F238E27FC236}">
                        <a16:creationId xmlns:a16="http://schemas.microsoft.com/office/drawing/2014/main" id="{845CC451-B283-3248-4A12-93B2751679C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1" name="Graphic 1440" descr="User with solid fill">
                    <a:extLst>
                      <a:ext uri="{FF2B5EF4-FFF2-40B4-BE49-F238E27FC236}">
                        <a16:creationId xmlns:a16="http://schemas.microsoft.com/office/drawing/2014/main" id="{674A038F-90C1-16B3-3BFA-00DFB51F67C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2" name="Graphic 1441" descr="User with solid fill">
                    <a:extLst>
                      <a:ext uri="{FF2B5EF4-FFF2-40B4-BE49-F238E27FC236}">
                        <a16:creationId xmlns:a16="http://schemas.microsoft.com/office/drawing/2014/main" id="{4EBC1216-2ED5-A849-5970-13E9803F68C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3" name="Graphic 1442" descr="User with solid fill">
                    <a:extLst>
                      <a:ext uri="{FF2B5EF4-FFF2-40B4-BE49-F238E27FC236}">
                        <a16:creationId xmlns:a16="http://schemas.microsoft.com/office/drawing/2014/main" id="{DBD185A3-CC28-5911-F96D-6555C1B73A4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4" name="Graphic 1443" descr="User with solid fill">
                    <a:extLst>
                      <a:ext uri="{FF2B5EF4-FFF2-40B4-BE49-F238E27FC236}">
                        <a16:creationId xmlns:a16="http://schemas.microsoft.com/office/drawing/2014/main" id="{38B107EF-8DA6-1717-F4F0-E8CD00F3DE5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5" name="Graphic 1444" descr="User with solid fill">
                    <a:extLst>
                      <a:ext uri="{FF2B5EF4-FFF2-40B4-BE49-F238E27FC236}">
                        <a16:creationId xmlns:a16="http://schemas.microsoft.com/office/drawing/2014/main" id="{DDE0ED91-E889-3F96-7CF1-010308E3568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6" name="Graphic 1445" descr="User with solid fill">
                    <a:extLst>
                      <a:ext uri="{FF2B5EF4-FFF2-40B4-BE49-F238E27FC236}">
                        <a16:creationId xmlns:a16="http://schemas.microsoft.com/office/drawing/2014/main" id="{1303D0F9-B667-5EF7-AAAE-9A980A64C12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7" name="Graphic 1446" descr="User with solid fill">
                    <a:extLst>
                      <a:ext uri="{FF2B5EF4-FFF2-40B4-BE49-F238E27FC236}">
                        <a16:creationId xmlns:a16="http://schemas.microsoft.com/office/drawing/2014/main" id="{126CD02E-7D26-3C22-A1D4-5B11BB71FDD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8" name="Graphic 1447" descr="User with solid fill">
                    <a:extLst>
                      <a:ext uri="{FF2B5EF4-FFF2-40B4-BE49-F238E27FC236}">
                        <a16:creationId xmlns:a16="http://schemas.microsoft.com/office/drawing/2014/main" id="{6580A571-7D0C-96BE-7ADB-18F16ADC3A6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49" name="Graphic 1448" descr="User with solid fill">
                    <a:extLst>
                      <a:ext uri="{FF2B5EF4-FFF2-40B4-BE49-F238E27FC236}">
                        <a16:creationId xmlns:a16="http://schemas.microsoft.com/office/drawing/2014/main" id="{2F79580E-B198-32FF-4AF5-F6FB54B9DE7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0" name="Graphic 1449" descr="User with solid fill">
                    <a:extLst>
                      <a:ext uri="{FF2B5EF4-FFF2-40B4-BE49-F238E27FC236}">
                        <a16:creationId xmlns:a16="http://schemas.microsoft.com/office/drawing/2014/main" id="{8EC79D67-26F3-73B8-46D0-F3BA56E6608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1" name="Graphic 1450" descr="User with solid fill">
                    <a:extLst>
                      <a:ext uri="{FF2B5EF4-FFF2-40B4-BE49-F238E27FC236}">
                        <a16:creationId xmlns:a16="http://schemas.microsoft.com/office/drawing/2014/main" id="{1826FA29-7FC6-C725-F2B9-E6191EC976A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2" name="Graphic 1451" descr="User with solid fill">
                    <a:extLst>
                      <a:ext uri="{FF2B5EF4-FFF2-40B4-BE49-F238E27FC236}">
                        <a16:creationId xmlns:a16="http://schemas.microsoft.com/office/drawing/2014/main" id="{E46E4D20-28A2-F79E-B4E9-389B13A00AF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3" name="Graphic 1452" descr="User with solid fill">
                    <a:extLst>
                      <a:ext uri="{FF2B5EF4-FFF2-40B4-BE49-F238E27FC236}">
                        <a16:creationId xmlns:a16="http://schemas.microsoft.com/office/drawing/2014/main" id="{92C5B9EB-59DC-B7C3-30D9-BE48798F40F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4" name="Graphic 1453" descr="User with solid fill">
                    <a:extLst>
                      <a:ext uri="{FF2B5EF4-FFF2-40B4-BE49-F238E27FC236}">
                        <a16:creationId xmlns:a16="http://schemas.microsoft.com/office/drawing/2014/main" id="{40B7B48C-E63C-39DF-7920-84DC497C050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5" name="Graphic 1454" descr="User with solid fill">
                    <a:extLst>
                      <a:ext uri="{FF2B5EF4-FFF2-40B4-BE49-F238E27FC236}">
                        <a16:creationId xmlns:a16="http://schemas.microsoft.com/office/drawing/2014/main" id="{9262A7A8-3A25-DA50-6A28-24E49EB7BC2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6" name="Graphic 1455" descr="User with solid fill">
                    <a:extLst>
                      <a:ext uri="{FF2B5EF4-FFF2-40B4-BE49-F238E27FC236}">
                        <a16:creationId xmlns:a16="http://schemas.microsoft.com/office/drawing/2014/main" id="{DB572A86-2CF7-805B-D5D0-EADCFC4D45E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7" name="Graphic 1456" descr="User with solid fill">
                    <a:extLst>
                      <a:ext uri="{FF2B5EF4-FFF2-40B4-BE49-F238E27FC236}">
                        <a16:creationId xmlns:a16="http://schemas.microsoft.com/office/drawing/2014/main" id="{EC2ABBA0-3CC4-7327-69F7-9B3FDC4FAB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8" name="Graphic 1457" descr="User with solid fill">
                    <a:extLst>
                      <a:ext uri="{FF2B5EF4-FFF2-40B4-BE49-F238E27FC236}">
                        <a16:creationId xmlns:a16="http://schemas.microsoft.com/office/drawing/2014/main" id="{BA54DA56-3390-E1FE-FAD0-E0F23B40971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59" name="Graphic 1458" descr="User with solid fill">
                    <a:extLst>
                      <a:ext uri="{FF2B5EF4-FFF2-40B4-BE49-F238E27FC236}">
                        <a16:creationId xmlns:a16="http://schemas.microsoft.com/office/drawing/2014/main" id="{CD3D829F-5BC5-6BF3-65B3-A8E643E903E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0" name="Graphic 1459" descr="User with solid fill">
                    <a:extLst>
                      <a:ext uri="{FF2B5EF4-FFF2-40B4-BE49-F238E27FC236}">
                        <a16:creationId xmlns:a16="http://schemas.microsoft.com/office/drawing/2014/main" id="{56F936F3-2E70-BF16-0A6B-7288AA0DBA6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1" name="Graphic 1460" descr="User with solid fill">
                    <a:extLst>
                      <a:ext uri="{FF2B5EF4-FFF2-40B4-BE49-F238E27FC236}">
                        <a16:creationId xmlns:a16="http://schemas.microsoft.com/office/drawing/2014/main" id="{411248C5-39D6-38DE-CC9C-F4B4DF41825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2" name="Graphic 1461" descr="User with solid fill">
                    <a:extLst>
                      <a:ext uri="{FF2B5EF4-FFF2-40B4-BE49-F238E27FC236}">
                        <a16:creationId xmlns:a16="http://schemas.microsoft.com/office/drawing/2014/main" id="{EADFBD52-3B93-AA4F-16F1-658FE1BDD33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3" name="Graphic 1462" descr="User with solid fill">
                    <a:extLst>
                      <a:ext uri="{FF2B5EF4-FFF2-40B4-BE49-F238E27FC236}">
                        <a16:creationId xmlns:a16="http://schemas.microsoft.com/office/drawing/2014/main" id="{13D2B1A1-FE11-0842-B0BB-88EB56AAA56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4" name="Graphic 1463" descr="User with solid fill">
                    <a:extLst>
                      <a:ext uri="{FF2B5EF4-FFF2-40B4-BE49-F238E27FC236}">
                        <a16:creationId xmlns:a16="http://schemas.microsoft.com/office/drawing/2014/main" id="{6B170C9D-9657-FDEE-EF5D-7FD57316BC9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5" name="Graphic 1464" descr="User with solid fill">
                    <a:extLst>
                      <a:ext uri="{FF2B5EF4-FFF2-40B4-BE49-F238E27FC236}">
                        <a16:creationId xmlns:a16="http://schemas.microsoft.com/office/drawing/2014/main" id="{46B38264-22E6-C506-FE8E-A4E70447A59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6" name="Graphic 1465" descr="User with solid fill">
                    <a:extLst>
                      <a:ext uri="{FF2B5EF4-FFF2-40B4-BE49-F238E27FC236}">
                        <a16:creationId xmlns:a16="http://schemas.microsoft.com/office/drawing/2014/main" id="{DA120675-D18C-E67F-F903-C96E81863B7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7" name="Graphic 1466" descr="User with solid fill">
                    <a:extLst>
                      <a:ext uri="{FF2B5EF4-FFF2-40B4-BE49-F238E27FC236}">
                        <a16:creationId xmlns:a16="http://schemas.microsoft.com/office/drawing/2014/main" id="{B033E081-815B-772A-789C-F6342E53310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8" name="Graphic 1467" descr="User with solid fill">
                    <a:extLst>
                      <a:ext uri="{FF2B5EF4-FFF2-40B4-BE49-F238E27FC236}">
                        <a16:creationId xmlns:a16="http://schemas.microsoft.com/office/drawing/2014/main" id="{94AB86A5-B2CD-42E7-2932-03F1463B55C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69" name="Graphic 1468" descr="User with solid fill">
                    <a:extLst>
                      <a:ext uri="{FF2B5EF4-FFF2-40B4-BE49-F238E27FC236}">
                        <a16:creationId xmlns:a16="http://schemas.microsoft.com/office/drawing/2014/main" id="{ECCA81F0-285E-C845-77F2-822CBE04026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70" name="Graphic 1469" descr="User with solid fill">
                    <a:extLst>
                      <a:ext uri="{FF2B5EF4-FFF2-40B4-BE49-F238E27FC236}">
                        <a16:creationId xmlns:a16="http://schemas.microsoft.com/office/drawing/2014/main" id="{5F93C69B-F02E-B7AD-CF91-443F26C6D68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1471" name="Graphic 1470" descr="User with solid fill">
                    <a:extLst>
                      <a:ext uri="{FF2B5EF4-FFF2-40B4-BE49-F238E27FC236}">
                        <a16:creationId xmlns:a16="http://schemas.microsoft.com/office/drawing/2014/main" id="{72F9381A-E08F-2F2D-F8BE-DBCF9E8551E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308071"/>
                    <a:ext cx="86959" cy="86959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2151" name="TextBox 2150">
                <a:extLst>
                  <a:ext uri="{FF2B5EF4-FFF2-40B4-BE49-F238E27FC236}">
                    <a16:creationId xmlns:a16="http://schemas.microsoft.com/office/drawing/2014/main" id="{8549C03D-BFA1-24BF-81FC-B56950D00F49}"/>
                  </a:ext>
                </a:extLst>
              </p:cNvPr>
              <p:cNvSpPr txBox="1"/>
              <p:nvPr/>
            </p:nvSpPr>
            <p:spPr>
              <a:xfrm>
                <a:off x="6835900" y="5315141"/>
                <a:ext cx="62998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6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0.26</a:t>
                </a:r>
                <a:r>
                  <a:rPr lang="en-US" sz="12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%</a:t>
                </a:r>
              </a:p>
            </p:txBody>
          </p:sp>
        </p:grpSp>
        <p:grpSp>
          <p:nvGrpSpPr>
            <p:cNvPr id="2153" name="Group 2152">
              <a:extLst>
                <a:ext uri="{FF2B5EF4-FFF2-40B4-BE49-F238E27FC236}">
                  <a16:creationId xmlns:a16="http://schemas.microsoft.com/office/drawing/2014/main" id="{0E9E7BD4-5D13-3118-2CB6-06B5F135AA90}"/>
                </a:ext>
              </a:extLst>
            </p:cNvPr>
            <p:cNvGrpSpPr/>
            <p:nvPr/>
          </p:nvGrpSpPr>
          <p:grpSpPr>
            <a:xfrm>
              <a:off x="5089799" y="2478847"/>
              <a:ext cx="2659771" cy="438285"/>
              <a:chOff x="4935952" y="2478847"/>
              <a:chExt cx="2659771" cy="438285"/>
            </a:xfrm>
          </p:grpSpPr>
          <p:grpSp>
            <p:nvGrpSpPr>
              <p:cNvPr id="1937" name="Group 1936">
                <a:extLst>
                  <a:ext uri="{FF2B5EF4-FFF2-40B4-BE49-F238E27FC236}">
                    <a16:creationId xmlns:a16="http://schemas.microsoft.com/office/drawing/2014/main" id="{9316451A-0BC3-7434-4688-D1EC8728E5A7}"/>
                  </a:ext>
                </a:extLst>
              </p:cNvPr>
              <p:cNvGrpSpPr/>
              <p:nvPr/>
            </p:nvGrpSpPr>
            <p:grpSpPr>
              <a:xfrm>
                <a:off x="4935952" y="2478847"/>
                <a:ext cx="1739176" cy="438285"/>
                <a:chOff x="4896974" y="2460191"/>
                <a:chExt cx="1739176" cy="438285"/>
              </a:xfrm>
              <a:solidFill>
                <a:schemeClr val="bg2"/>
              </a:solidFill>
            </p:grpSpPr>
            <p:grpSp>
              <p:nvGrpSpPr>
                <p:cNvPr id="2041" name="Group 2040">
                  <a:extLst>
                    <a:ext uri="{FF2B5EF4-FFF2-40B4-BE49-F238E27FC236}">
                      <a16:creationId xmlns:a16="http://schemas.microsoft.com/office/drawing/2014/main" id="{4FBA97FA-6B02-953D-3DFA-D1DA0460AA52}"/>
                    </a:ext>
                  </a:extLst>
                </p:cNvPr>
                <p:cNvGrpSpPr/>
                <p:nvPr/>
              </p:nvGrpSpPr>
              <p:grpSpPr>
                <a:xfrm>
                  <a:off x="4896974" y="2462138"/>
                  <a:ext cx="869588" cy="434391"/>
                  <a:chOff x="4795228" y="2522488"/>
                  <a:chExt cx="869588" cy="434391"/>
                </a:xfrm>
                <a:grpFill/>
              </p:grpSpPr>
              <p:pic>
                <p:nvPicPr>
                  <p:cNvPr id="2093" name="Graphic 2092" descr="User with solid fill">
                    <a:extLst>
                      <a:ext uri="{FF2B5EF4-FFF2-40B4-BE49-F238E27FC236}">
                        <a16:creationId xmlns:a16="http://schemas.microsoft.com/office/drawing/2014/main" id="{1FCAE9F0-EC32-55C0-C4A9-CCB7A53C868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94" name="Graphic 2093" descr="User with solid fill">
                    <a:extLst>
                      <a:ext uri="{FF2B5EF4-FFF2-40B4-BE49-F238E27FC236}">
                        <a16:creationId xmlns:a16="http://schemas.microsoft.com/office/drawing/2014/main" id="{63BA4B66-295C-073A-FAEF-7BE2905A397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95" name="Graphic 2094" descr="User with solid fill">
                    <a:extLst>
                      <a:ext uri="{FF2B5EF4-FFF2-40B4-BE49-F238E27FC236}">
                        <a16:creationId xmlns:a16="http://schemas.microsoft.com/office/drawing/2014/main" id="{09803E8E-BFA2-45F2-E9B8-D80685105DB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96" name="Graphic 2095" descr="User with solid fill">
                    <a:extLst>
                      <a:ext uri="{FF2B5EF4-FFF2-40B4-BE49-F238E27FC236}">
                        <a16:creationId xmlns:a16="http://schemas.microsoft.com/office/drawing/2014/main" id="{546F20F9-8CE8-E4A2-40C3-CBCE01503A6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97" name="Graphic 2096" descr="User with solid fill">
                    <a:extLst>
                      <a:ext uri="{FF2B5EF4-FFF2-40B4-BE49-F238E27FC236}">
                        <a16:creationId xmlns:a16="http://schemas.microsoft.com/office/drawing/2014/main" id="{2595335F-237F-E50E-281A-FB39C48593E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98" name="Graphic 2097" descr="User with solid fill">
                    <a:extLst>
                      <a:ext uri="{FF2B5EF4-FFF2-40B4-BE49-F238E27FC236}">
                        <a16:creationId xmlns:a16="http://schemas.microsoft.com/office/drawing/2014/main" id="{37D8F1AA-2EA7-5574-2E54-60D98D06FB9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99" name="Graphic 2098" descr="User with solid fill">
                    <a:extLst>
                      <a:ext uri="{FF2B5EF4-FFF2-40B4-BE49-F238E27FC236}">
                        <a16:creationId xmlns:a16="http://schemas.microsoft.com/office/drawing/2014/main" id="{3DA1C828-4CAF-7752-9F09-030A391F1F2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0" name="Graphic 2099" descr="User with solid fill">
                    <a:extLst>
                      <a:ext uri="{FF2B5EF4-FFF2-40B4-BE49-F238E27FC236}">
                        <a16:creationId xmlns:a16="http://schemas.microsoft.com/office/drawing/2014/main" id="{D287AF91-A387-241D-3B3C-E21D79618D7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1" name="Graphic 2100" descr="User with solid fill">
                    <a:extLst>
                      <a:ext uri="{FF2B5EF4-FFF2-40B4-BE49-F238E27FC236}">
                        <a16:creationId xmlns:a16="http://schemas.microsoft.com/office/drawing/2014/main" id="{F63C087E-0A42-1ABD-4B72-1737AC1E547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2" name="Graphic 2101" descr="User with solid fill">
                    <a:extLst>
                      <a:ext uri="{FF2B5EF4-FFF2-40B4-BE49-F238E27FC236}">
                        <a16:creationId xmlns:a16="http://schemas.microsoft.com/office/drawing/2014/main" id="{CDE68A08-D029-354A-FAFF-E5CA729315A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52248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3" name="Graphic 2102" descr="User with solid fill">
                    <a:extLst>
                      <a:ext uri="{FF2B5EF4-FFF2-40B4-BE49-F238E27FC236}">
                        <a16:creationId xmlns:a16="http://schemas.microsoft.com/office/drawing/2014/main" id="{366F37A5-9A2E-BF71-19F4-C512E7AB789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4" name="Graphic 2103" descr="User with solid fill">
                    <a:extLst>
                      <a:ext uri="{FF2B5EF4-FFF2-40B4-BE49-F238E27FC236}">
                        <a16:creationId xmlns:a16="http://schemas.microsoft.com/office/drawing/2014/main" id="{61193A58-14AB-12DE-1293-018496B3D2E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5" name="Graphic 2104" descr="User with solid fill">
                    <a:extLst>
                      <a:ext uri="{FF2B5EF4-FFF2-40B4-BE49-F238E27FC236}">
                        <a16:creationId xmlns:a16="http://schemas.microsoft.com/office/drawing/2014/main" id="{5D48F53B-6486-5420-9B11-18674A33A95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6" name="Graphic 2105" descr="User with solid fill">
                    <a:extLst>
                      <a:ext uri="{FF2B5EF4-FFF2-40B4-BE49-F238E27FC236}">
                        <a16:creationId xmlns:a16="http://schemas.microsoft.com/office/drawing/2014/main" id="{593B0E05-EF35-188F-A449-C393DF36D8A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7" name="Graphic 2106" descr="User with solid fill">
                    <a:extLst>
                      <a:ext uri="{FF2B5EF4-FFF2-40B4-BE49-F238E27FC236}">
                        <a16:creationId xmlns:a16="http://schemas.microsoft.com/office/drawing/2014/main" id="{5D9EA475-FEED-3086-1C2A-44502C77F57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8" name="Graphic 2107" descr="User with solid fill">
                    <a:extLst>
                      <a:ext uri="{FF2B5EF4-FFF2-40B4-BE49-F238E27FC236}">
                        <a16:creationId xmlns:a16="http://schemas.microsoft.com/office/drawing/2014/main" id="{51ECCA1B-83F4-0D29-E8EF-396F458CEF8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09" name="Graphic 2108" descr="User with solid fill">
                    <a:extLst>
                      <a:ext uri="{FF2B5EF4-FFF2-40B4-BE49-F238E27FC236}">
                        <a16:creationId xmlns:a16="http://schemas.microsoft.com/office/drawing/2014/main" id="{01116D3B-38F6-8391-634A-9A6B923E930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0" name="Graphic 2109" descr="User with solid fill">
                    <a:extLst>
                      <a:ext uri="{FF2B5EF4-FFF2-40B4-BE49-F238E27FC236}">
                        <a16:creationId xmlns:a16="http://schemas.microsoft.com/office/drawing/2014/main" id="{55369754-75BC-43BD-A681-B05FDA3A1A6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1" name="Graphic 2110" descr="User with solid fill">
                    <a:extLst>
                      <a:ext uri="{FF2B5EF4-FFF2-40B4-BE49-F238E27FC236}">
                        <a16:creationId xmlns:a16="http://schemas.microsoft.com/office/drawing/2014/main" id="{3B25757C-2CA2-DAA7-5B75-172080EEEA0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2" name="Graphic 2111" descr="User with solid fill">
                    <a:extLst>
                      <a:ext uri="{FF2B5EF4-FFF2-40B4-BE49-F238E27FC236}">
                        <a16:creationId xmlns:a16="http://schemas.microsoft.com/office/drawing/2014/main" id="{36675B28-BD81-5DF9-4A29-CED975D12FD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6094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3" name="Graphic 2112" descr="User with solid fill">
                    <a:extLst>
                      <a:ext uri="{FF2B5EF4-FFF2-40B4-BE49-F238E27FC236}">
                        <a16:creationId xmlns:a16="http://schemas.microsoft.com/office/drawing/2014/main" id="{7BC5BF70-F646-C3F0-9213-C09B9BC952E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4" name="Graphic 2113" descr="User with solid fill">
                    <a:extLst>
                      <a:ext uri="{FF2B5EF4-FFF2-40B4-BE49-F238E27FC236}">
                        <a16:creationId xmlns:a16="http://schemas.microsoft.com/office/drawing/2014/main" id="{B73638EB-E071-A31C-98C5-A48F1F3C8CE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5" name="Graphic 2114" descr="User with solid fill">
                    <a:extLst>
                      <a:ext uri="{FF2B5EF4-FFF2-40B4-BE49-F238E27FC236}">
                        <a16:creationId xmlns:a16="http://schemas.microsoft.com/office/drawing/2014/main" id="{87A1A238-2FF9-C639-8C58-1A669377FC6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6" name="Graphic 2115" descr="User with solid fill">
                    <a:extLst>
                      <a:ext uri="{FF2B5EF4-FFF2-40B4-BE49-F238E27FC236}">
                        <a16:creationId xmlns:a16="http://schemas.microsoft.com/office/drawing/2014/main" id="{18328880-0EFF-60DA-853B-6E126DF8EF1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7" name="Graphic 2116" descr="User with solid fill">
                    <a:extLst>
                      <a:ext uri="{FF2B5EF4-FFF2-40B4-BE49-F238E27FC236}">
                        <a16:creationId xmlns:a16="http://schemas.microsoft.com/office/drawing/2014/main" id="{BE9B0396-CC74-F448-CEB8-6B80DAACEF2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8" name="Graphic 2117" descr="User with solid fill">
                    <a:extLst>
                      <a:ext uri="{FF2B5EF4-FFF2-40B4-BE49-F238E27FC236}">
                        <a16:creationId xmlns:a16="http://schemas.microsoft.com/office/drawing/2014/main" id="{F983C7CC-F7A9-A3CB-4F0B-866EA374A19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19" name="Graphic 2118" descr="User with solid fill">
                    <a:extLst>
                      <a:ext uri="{FF2B5EF4-FFF2-40B4-BE49-F238E27FC236}">
                        <a16:creationId xmlns:a16="http://schemas.microsoft.com/office/drawing/2014/main" id="{BE1710DD-890A-564C-9DB2-162F30D8A94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0" name="Graphic 2119" descr="User with solid fill">
                    <a:extLst>
                      <a:ext uri="{FF2B5EF4-FFF2-40B4-BE49-F238E27FC236}">
                        <a16:creationId xmlns:a16="http://schemas.microsoft.com/office/drawing/2014/main" id="{355E6EAC-0B4F-CF7B-277A-9DE2A9B2411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1" name="Graphic 2120" descr="User with solid fill">
                    <a:extLst>
                      <a:ext uri="{FF2B5EF4-FFF2-40B4-BE49-F238E27FC236}">
                        <a16:creationId xmlns:a16="http://schemas.microsoft.com/office/drawing/2014/main" id="{A23FBF92-BB5C-86E3-EBA7-6AD2FD25F36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2" name="Graphic 2121" descr="User with solid fill">
                    <a:extLst>
                      <a:ext uri="{FF2B5EF4-FFF2-40B4-BE49-F238E27FC236}">
                        <a16:creationId xmlns:a16="http://schemas.microsoft.com/office/drawing/2014/main" id="{17EB5738-2952-1824-5A3F-A412553265D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6962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3" name="Graphic 2122" descr="User with solid fill">
                    <a:extLst>
                      <a:ext uri="{FF2B5EF4-FFF2-40B4-BE49-F238E27FC236}">
                        <a16:creationId xmlns:a16="http://schemas.microsoft.com/office/drawing/2014/main" id="{0E03E49E-6041-2657-4457-3BBBC953CDA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4" name="Graphic 2123" descr="User with solid fill">
                    <a:extLst>
                      <a:ext uri="{FF2B5EF4-FFF2-40B4-BE49-F238E27FC236}">
                        <a16:creationId xmlns:a16="http://schemas.microsoft.com/office/drawing/2014/main" id="{AF0F6D89-70A6-80A2-109D-C9B0A0B113A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5" name="Graphic 2124" descr="User with solid fill">
                    <a:extLst>
                      <a:ext uri="{FF2B5EF4-FFF2-40B4-BE49-F238E27FC236}">
                        <a16:creationId xmlns:a16="http://schemas.microsoft.com/office/drawing/2014/main" id="{97E3E013-F109-7AF2-3D07-3FAF02ABEE6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6" name="Graphic 2125" descr="User with solid fill">
                    <a:extLst>
                      <a:ext uri="{FF2B5EF4-FFF2-40B4-BE49-F238E27FC236}">
                        <a16:creationId xmlns:a16="http://schemas.microsoft.com/office/drawing/2014/main" id="{ED0F9B1C-F737-74E4-F0F3-DD1F310244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7" name="Graphic 2126" descr="User with solid fill">
                    <a:extLst>
                      <a:ext uri="{FF2B5EF4-FFF2-40B4-BE49-F238E27FC236}">
                        <a16:creationId xmlns:a16="http://schemas.microsoft.com/office/drawing/2014/main" id="{3BDE2804-17BE-534D-775D-E3884B3A5E6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8" name="Graphic 2127" descr="User with solid fill">
                    <a:extLst>
                      <a:ext uri="{FF2B5EF4-FFF2-40B4-BE49-F238E27FC236}">
                        <a16:creationId xmlns:a16="http://schemas.microsoft.com/office/drawing/2014/main" id="{97A1CC0F-EBA0-071F-31B7-21914293EDD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29" name="Graphic 2128" descr="User with solid fill">
                    <a:extLst>
                      <a:ext uri="{FF2B5EF4-FFF2-40B4-BE49-F238E27FC236}">
                        <a16:creationId xmlns:a16="http://schemas.microsoft.com/office/drawing/2014/main" id="{BD1318CD-9790-3DDD-CCB3-01DBEF8E5FE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0" name="Graphic 2129" descr="User with solid fill">
                    <a:extLst>
                      <a:ext uri="{FF2B5EF4-FFF2-40B4-BE49-F238E27FC236}">
                        <a16:creationId xmlns:a16="http://schemas.microsoft.com/office/drawing/2014/main" id="{A1917250-6E93-CE98-8D1B-A2F66843E04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1" name="Graphic 2130" descr="User with solid fill">
                    <a:extLst>
                      <a:ext uri="{FF2B5EF4-FFF2-40B4-BE49-F238E27FC236}">
                        <a16:creationId xmlns:a16="http://schemas.microsoft.com/office/drawing/2014/main" id="{C4ADB2F6-DFD2-320B-EAC8-4A4E4FFCFAD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2" name="Graphic 2131" descr="User with solid fill">
                    <a:extLst>
                      <a:ext uri="{FF2B5EF4-FFF2-40B4-BE49-F238E27FC236}">
                        <a16:creationId xmlns:a16="http://schemas.microsoft.com/office/drawing/2014/main" id="{492A9A64-9E11-25A3-2346-3A66F095A83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783096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3" name="Graphic 2132" descr="User with solid fill">
                    <a:extLst>
                      <a:ext uri="{FF2B5EF4-FFF2-40B4-BE49-F238E27FC236}">
                        <a16:creationId xmlns:a16="http://schemas.microsoft.com/office/drawing/2014/main" id="{70FA280C-48BF-7143-56F1-2BD81693D64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4" name="Graphic 2133" descr="User with solid fill">
                    <a:extLst>
                      <a:ext uri="{FF2B5EF4-FFF2-40B4-BE49-F238E27FC236}">
                        <a16:creationId xmlns:a16="http://schemas.microsoft.com/office/drawing/2014/main" id="{AF5DFB73-B4AB-6D9A-9149-D733DCA1750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>
                    <a:extLst>
                      <a:ext uri="{96DAC541-7B7A-43D3-8B79-37D633B846F1}">
                        <asvg:svgBlip xmlns:asvg="http://schemas.microsoft.com/office/drawing/2016/SVG/main" r:embed="rId2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5" name="Graphic 2134" descr="User with solid fill">
                    <a:extLst>
                      <a:ext uri="{FF2B5EF4-FFF2-40B4-BE49-F238E27FC236}">
                        <a16:creationId xmlns:a16="http://schemas.microsoft.com/office/drawing/2014/main" id="{EC08092E-8267-DE38-2DF9-56C6711F879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6" name="Graphic 2135" descr="User with solid fill">
                    <a:extLst>
                      <a:ext uri="{FF2B5EF4-FFF2-40B4-BE49-F238E27FC236}">
                        <a16:creationId xmlns:a16="http://schemas.microsoft.com/office/drawing/2014/main" id="{ABE68189-12B5-E479-70B8-9F464D4846A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7" name="Graphic 2136" descr="User with solid fill">
                    <a:extLst>
                      <a:ext uri="{FF2B5EF4-FFF2-40B4-BE49-F238E27FC236}">
                        <a16:creationId xmlns:a16="http://schemas.microsoft.com/office/drawing/2014/main" id="{C028F6CC-4785-473B-BAD5-4C2BB4D266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8" name="Graphic 2137" descr="User with solid fill">
                    <a:extLst>
                      <a:ext uri="{FF2B5EF4-FFF2-40B4-BE49-F238E27FC236}">
                        <a16:creationId xmlns:a16="http://schemas.microsoft.com/office/drawing/2014/main" id="{911B69F4-CB9E-AD46-BA51-ACDFF5F378A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39" name="Graphic 2138" descr="User with solid fill">
                    <a:extLst>
                      <a:ext uri="{FF2B5EF4-FFF2-40B4-BE49-F238E27FC236}">
                        <a16:creationId xmlns:a16="http://schemas.microsoft.com/office/drawing/2014/main" id="{001D932B-5D26-1F30-C7ED-7E38344CB32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40" name="Graphic 2139" descr="User with solid fill">
                    <a:extLst>
                      <a:ext uri="{FF2B5EF4-FFF2-40B4-BE49-F238E27FC236}">
                        <a16:creationId xmlns:a16="http://schemas.microsoft.com/office/drawing/2014/main" id="{04CD5967-A75D-59BF-CC67-A5B15C84628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41" name="Graphic 2140" descr="User with solid fill">
                    <a:extLst>
                      <a:ext uri="{FF2B5EF4-FFF2-40B4-BE49-F238E27FC236}">
                        <a16:creationId xmlns:a16="http://schemas.microsoft.com/office/drawing/2014/main" id="{4DD51F94-655D-426A-368E-2CC0EA27DC2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869920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142" name="Graphic 2141" descr="User with solid fill">
                    <a:extLst>
                      <a:ext uri="{FF2B5EF4-FFF2-40B4-BE49-F238E27FC236}">
                        <a16:creationId xmlns:a16="http://schemas.microsoft.com/office/drawing/2014/main" id="{054CDC11-CBC9-834F-2ACC-09218BD6890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869920"/>
                    <a:ext cx="86959" cy="86959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042" name="Group 2041">
                  <a:extLst>
                    <a:ext uri="{FF2B5EF4-FFF2-40B4-BE49-F238E27FC236}">
                      <a16:creationId xmlns:a16="http://schemas.microsoft.com/office/drawing/2014/main" id="{F0AB1652-8314-6C96-78A5-A4BDD75F25DF}"/>
                    </a:ext>
                  </a:extLst>
                </p:cNvPr>
                <p:cNvGrpSpPr/>
                <p:nvPr/>
              </p:nvGrpSpPr>
              <p:grpSpPr>
                <a:xfrm>
                  <a:off x="5766562" y="2460191"/>
                  <a:ext cx="869588" cy="438285"/>
                  <a:chOff x="4795228" y="2956745"/>
                  <a:chExt cx="869588" cy="438285"/>
                </a:xfrm>
                <a:grpFill/>
              </p:grpSpPr>
              <p:pic>
                <p:nvPicPr>
                  <p:cNvPr id="2043" name="Graphic 2042" descr="User with solid fill">
                    <a:extLst>
                      <a:ext uri="{FF2B5EF4-FFF2-40B4-BE49-F238E27FC236}">
                        <a16:creationId xmlns:a16="http://schemas.microsoft.com/office/drawing/2014/main" id="{61A85950-89E3-842C-2FAE-47DDB044545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44" name="Graphic 2043" descr="User with solid fill">
                    <a:extLst>
                      <a:ext uri="{FF2B5EF4-FFF2-40B4-BE49-F238E27FC236}">
                        <a16:creationId xmlns:a16="http://schemas.microsoft.com/office/drawing/2014/main" id="{CCA3282C-0C5B-B468-8500-515AE2B3F4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45" name="Graphic 2044" descr="User with solid fill">
                    <a:extLst>
                      <a:ext uri="{FF2B5EF4-FFF2-40B4-BE49-F238E27FC236}">
                        <a16:creationId xmlns:a16="http://schemas.microsoft.com/office/drawing/2014/main" id="{CF45BFA6-C78D-A27F-6873-058F15555AF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46" name="Graphic 2045" descr="User with solid fill">
                    <a:extLst>
                      <a:ext uri="{FF2B5EF4-FFF2-40B4-BE49-F238E27FC236}">
                        <a16:creationId xmlns:a16="http://schemas.microsoft.com/office/drawing/2014/main" id="{C1577E95-FE0E-4EEE-EBC7-07130E6E7C1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47" name="Graphic 2046" descr="User with solid fill">
                    <a:extLst>
                      <a:ext uri="{FF2B5EF4-FFF2-40B4-BE49-F238E27FC236}">
                        <a16:creationId xmlns:a16="http://schemas.microsoft.com/office/drawing/2014/main" id="{82E331E6-1021-919D-DD1C-4D409E20D90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48" name="Graphic 2047" descr="User with solid fill">
                    <a:extLst>
                      <a:ext uri="{FF2B5EF4-FFF2-40B4-BE49-F238E27FC236}">
                        <a16:creationId xmlns:a16="http://schemas.microsoft.com/office/drawing/2014/main" id="{884F6836-447D-DB87-3A3D-3B2FD739F3C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49" name="Graphic 2048" descr="User with solid fill">
                    <a:extLst>
                      <a:ext uri="{FF2B5EF4-FFF2-40B4-BE49-F238E27FC236}">
                        <a16:creationId xmlns:a16="http://schemas.microsoft.com/office/drawing/2014/main" id="{A34FB838-921C-88EF-F26F-C453B5AFA19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0" name="Graphic 2049" descr="User with solid fill">
                    <a:extLst>
                      <a:ext uri="{FF2B5EF4-FFF2-40B4-BE49-F238E27FC236}">
                        <a16:creationId xmlns:a16="http://schemas.microsoft.com/office/drawing/2014/main" id="{82E4E3C2-76EA-5B2A-CF92-5733D1C42A8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1" name="Graphic 2050" descr="User with solid fill">
                    <a:extLst>
                      <a:ext uri="{FF2B5EF4-FFF2-40B4-BE49-F238E27FC236}">
                        <a16:creationId xmlns:a16="http://schemas.microsoft.com/office/drawing/2014/main" id="{9121F9CC-9FBB-E78F-BCAE-F754B55E7BE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2" name="Graphic 2051" descr="User with solid fill">
                    <a:extLst>
                      <a:ext uri="{FF2B5EF4-FFF2-40B4-BE49-F238E27FC236}">
                        <a16:creationId xmlns:a16="http://schemas.microsoft.com/office/drawing/2014/main" id="{57A6F78C-C821-F9FF-38C0-FE42EA04251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2956745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3" name="Graphic 2052" descr="User with solid fill">
                    <a:extLst>
                      <a:ext uri="{FF2B5EF4-FFF2-40B4-BE49-F238E27FC236}">
                        <a16:creationId xmlns:a16="http://schemas.microsoft.com/office/drawing/2014/main" id="{D22BB6E0-FD0B-3A55-2274-4B8BA26EB5E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4" name="Graphic 2053" descr="User with solid fill">
                    <a:extLst>
                      <a:ext uri="{FF2B5EF4-FFF2-40B4-BE49-F238E27FC236}">
                        <a16:creationId xmlns:a16="http://schemas.microsoft.com/office/drawing/2014/main" id="{D0339128-FEF1-53F6-EDA5-83DDF1BDD2C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5" name="Graphic 2054" descr="User with solid fill">
                    <a:extLst>
                      <a:ext uri="{FF2B5EF4-FFF2-40B4-BE49-F238E27FC236}">
                        <a16:creationId xmlns:a16="http://schemas.microsoft.com/office/drawing/2014/main" id="{6F59AE35-8263-45FF-4CE4-2D862A2D99E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6" name="Graphic 2055" descr="User with solid fill">
                    <a:extLst>
                      <a:ext uri="{FF2B5EF4-FFF2-40B4-BE49-F238E27FC236}">
                        <a16:creationId xmlns:a16="http://schemas.microsoft.com/office/drawing/2014/main" id="{6F5673B4-9C82-5BB1-2591-CFF51672FE1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7" name="Graphic 2056" descr="User with solid fill">
                    <a:extLst>
                      <a:ext uri="{FF2B5EF4-FFF2-40B4-BE49-F238E27FC236}">
                        <a16:creationId xmlns:a16="http://schemas.microsoft.com/office/drawing/2014/main" id="{101981D0-98E0-E509-24D4-3F63EFAF7F0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8" name="Graphic 2057" descr="User with solid fill">
                    <a:extLst>
                      <a:ext uri="{FF2B5EF4-FFF2-40B4-BE49-F238E27FC236}">
                        <a16:creationId xmlns:a16="http://schemas.microsoft.com/office/drawing/2014/main" id="{4B61FD9D-E8C6-58F5-5553-3B7C6C89916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59" name="Graphic 2058" descr="User with solid fill">
                    <a:extLst>
                      <a:ext uri="{FF2B5EF4-FFF2-40B4-BE49-F238E27FC236}">
                        <a16:creationId xmlns:a16="http://schemas.microsoft.com/office/drawing/2014/main" id="{1A24C5BD-1B51-B7EF-F1E0-5EA1B74B8A6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0" name="Graphic 2059" descr="User with solid fill">
                    <a:extLst>
                      <a:ext uri="{FF2B5EF4-FFF2-40B4-BE49-F238E27FC236}">
                        <a16:creationId xmlns:a16="http://schemas.microsoft.com/office/drawing/2014/main" id="{070880D2-BEF5-F093-76B7-2515264E95B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1" name="Graphic 2060" descr="User with solid fill">
                    <a:extLst>
                      <a:ext uri="{FF2B5EF4-FFF2-40B4-BE49-F238E27FC236}">
                        <a16:creationId xmlns:a16="http://schemas.microsoft.com/office/drawing/2014/main" id="{FE019593-3A81-D2D6-EB41-257CBD8ED19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2" name="Graphic 2061" descr="User with solid fill">
                    <a:extLst>
                      <a:ext uri="{FF2B5EF4-FFF2-40B4-BE49-F238E27FC236}">
                        <a16:creationId xmlns:a16="http://schemas.microsoft.com/office/drawing/2014/main" id="{A1F535C9-4EAB-020A-8846-9FEA40104FD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047598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3" name="Graphic 2062" descr="User with solid fill">
                    <a:extLst>
                      <a:ext uri="{FF2B5EF4-FFF2-40B4-BE49-F238E27FC236}">
                        <a16:creationId xmlns:a16="http://schemas.microsoft.com/office/drawing/2014/main" id="{B0780037-40FA-76A0-2ED7-1BD6B8D74CC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4" name="Graphic 2063" descr="User with solid fill">
                    <a:extLst>
                      <a:ext uri="{FF2B5EF4-FFF2-40B4-BE49-F238E27FC236}">
                        <a16:creationId xmlns:a16="http://schemas.microsoft.com/office/drawing/2014/main" id="{EC63811C-8F88-0711-5EB4-AC22CDAF317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5" name="Graphic 2064" descr="User with solid fill">
                    <a:extLst>
                      <a:ext uri="{FF2B5EF4-FFF2-40B4-BE49-F238E27FC236}">
                        <a16:creationId xmlns:a16="http://schemas.microsoft.com/office/drawing/2014/main" id="{C0A9D9D1-AA01-A1AD-D877-E30DAB3A313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6" name="Graphic 2065" descr="User with solid fill">
                    <a:extLst>
                      <a:ext uri="{FF2B5EF4-FFF2-40B4-BE49-F238E27FC236}">
                        <a16:creationId xmlns:a16="http://schemas.microsoft.com/office/drawing/2014/main" id="{F50D9559-3DC0-BDE1-9E3B-83F0B533298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7" name="Graphic 2066" descr="User with solid fill">
                    <a:extLst>
                      <a:ext uri="{FF2B5EF4-FFF2-40B4-BE49-F238E27FC236}">
                        <a16:creationId xmlns:a16="http://schemas.microsoft.com/office/drawing/2014/main" id="{320F477E-719D-CC26-4EC9-B5440789FC6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8" name="Graphic 2067" descr="User with solid fill">
                    <a:extLst>
                      <a:ext uri="{FF2B5EF4-FFF2-40B4-BE49-F238E27FC236}">
                        <a16:creationId xmlns:a16="http://schemas.microsoft.com/office/drawing/2014/main" id="{AFFC71FA-0A08-3C68-1F2C-3AFDA6825BF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69" name="Graphic 2068" descr="User with solid fill">
                    <a:extLst>
                      <a:ext uri="{FF2B5EF4-FFF2-40B4-BE49-F238E27FC236}">
                        <a16:creationId xmlns:a16="http://schemas.microsoft.com/office/drawing/2014/main" id="{584A0D6B-D49F-2AF9-8C1C-4FB869CE2AE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0" name="Graphic 2069" descr="User with solid fill">
                    <a:extLst>
                      <a:ext uri="{FF2B5EF4-FFF2-40B4-BE49-F238E27FC236}">
                        <a16:creationId xmlns:a16="http://schemas.microsoft.com/office/drawing/2014/main" id="{4BC6D917-9AE1-A24A-225A-A0BC280CC1D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1" name="Graphic 2070" descr="User with solid fill">
                    <a:extLst>
                      <a:ext uri="{FF2B5EF4-FFF2-40B4-BE49-F238E27FC236}">
                        <a16:creationId xmlns:a16="http://schemas.microsoft.com/office/drawing/2014/main" id="{99D13AC4-F38D-D31E-9CD9-997075C783C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2" name="Graphic 2071" descr="User with solid fill">
                    <a:extLst>
                      <a:ext uri="{FF2B5EF4-FFF2-40B4-BE49-F238E27FC236}">
                        <a16:creationId xmlns:a16="http://schemas.microsoft.com/office/drawing/2014/main" id="{C8AB3FB9-9239-DFF2-2349-084D161761B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134422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3" name="Graphic 2072" descr="User with solid fill">
                    <a:extLst>
                      <a:ext uri="{FF2B5EF4-FFF2-40B4-BE49-F238E27FC236}">
                        <a16:creationId xmlns:a16="http://schemas.microsoft.com/office/drawing/2014/main" id="{B051394F-71EA-8E57-F4B8-34340D3845B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4" name="Graphic 2073" descr="User with solid fill">
                    <a:extLst>
                      <a:ext uri="{FF2B5EF4-FFF2-40B4-BE49-F238E27FC236}">
                        <a16:creationId xmlns:a16="http://schemas.microsoft.com/office/drawing/2014/main" id="{37247DA3-9CA3-9B16-8F79-AFD54AE9960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5" name="Graphic 2074" descr="User with solid fill">
                    <a:extLst>
                      <a:ext uri="{FF2B5EF4-FFF2-40B4-BE49-F238E27FC236}">
                        <a16:creationId xmlns:a16="http://schemas.microsoft.com/office/drawing/2014/main" id="{CF587005-FCF4-B0DC-C23F-380F46C801F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6" name="Graphic 2075" descr="User with solid fill">
                    <a:extLst>
                      <a:ext uri="{FF2B5EF4-FFF2-40B4-BE49-F238E27FC236}">
                        <a16:creationId xmlns:a16="http://schemas.microsoft.com/office/drawing/2014/main" id="{B9929E59-A45A-C71A-3C93-D98A53CE91E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7" name="Graphic 2076" descr="User with solid fill">
                    <a:extLst>
                      <a:ext uri="{FF2B5EF4-FFF2-40B4-BE49-F238E27FC236}">
                        <a16:creationId xmlns:a16="http://schemas.microsoft.com/office/drawing/2014/main" id="{CB684789-9E61-3C06-7939-2FBB9EA1911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8" name="Graphic 2077" descr="User with solid fill">
                    <a:extLst>
                      <a:ext uri="{FF2B5EF4-FFF2-40B4-BE49-F238E27FC236}">
                        <a16:creationId xmlns:a16="http://schemas.microsoft.com/office/drawing/2014/main" id="{7838F2D0-8AC9-6662-36B4-42CF0156EF2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79" name="Graphic 2078" descr="User with solid fill">
                    <a:extLst>
                      <a:ext uri="{FF2B5EF4-FFF2-40B4-BE49-F238E27FC236}">
                        <a16:creationId xmlns:a16="http://schemas.microsoft.com/office/drawing/2014/main" id="{86305B8B-B9C7-CB3E-CF10-3D7490DB7E7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0" name="Graphic 2079" descr="User with solid fill">
                    <a:extLst>
                      <a:ext uri="{FF2B5EF4-FFF2-40B4-BE49-F238E27FC236}">
                        <a16:creationId xmlns:a16="http://schemas.microsoft.com/office/drawing/2014/main" id="{A6C4ED43-E84F-B629-0143-2A89A2E6CA3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1" name="Graphic 2080" descr="User with solid fill">
                    <a:extLst>
                      <a:ext uri="{FF2B5EF4-FFF2-40B4-BE49-F238E27FC236}">
                        <a16:creationId xmlns:a16="http://schemas.microsoft.com/office/drawing/2014/main" id="{18D86E8A-B39E-9D1F-C5B5-B5B9F7A417C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2" name="Graphic 2081" descr="User with solid fill">
                    <a:extLst>
                      <a:ext uri="{FF2B5EF4-FFF2-40B4-BE49-F238E27FC236}">
                        <a16:creationId xmlns:a16="http://schemas.microsoft.com/office/drawing/2014/main" id="{FFB61E5F-D772-556E-5E52-9ED04D9FD9F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221247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3" name="Graphic 2082" descr="User with solid fill">
                    <a:extLst>
                      <a:ext uri="{FF2B5EF4-FFF2-40B4-BE49-F238E27FC236}">
                        <a16:creationId xmlns:a16="http://schemas.microsoft.com/office/drawing/2014/main" id="{8738FAD3-9D44-2A6E-76FC-124EC8AF60D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5228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4" name="Graphic 2083" descr="User with solid fill">
                    <a:extLst>
                      <a:ext uri="{FF2B5EF4-FFF2-40B4-BE49-F238E27FC236}">
                        <a16:creationId xmlns:a16="http://schemas.microsoft.com/office/drawing/2014/main" id="{95FC8273-EF77-1273-1C68-6F1D5DD0015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82187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5" name="Graphic 2084" descr="User with solid fill">
                    <a:extLst>
                      <a:ext uri="{FF2B5EF4-FFF2-40B4-BE49-F238E27FC236}">
                        <a16:creationId xmlns:a16="http://schemas.microsoft.com/office/drawing/2014/main" id="{23702096-CD3D-67D6-7303-BAD5DC884A2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9146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6" name="Graphic 2085" descr="User with solid fill">
                    <a:extLst>
                      <a:ext uri="{FF2B5EF4-FFF2-40B4-BE49-F238E27FC236}">
                        <a16:creationId xmlns:a16="http://schemas.microsoft.com/office/drawing/2014/main" id="{0EB18897-DA9C-7B36-0028-DB886A519B9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56104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7" name="Graphic 2086" descr="User with solid fill">
                    <a:extLst>
                      <a:ext uri="{FF2B5EF4-FFF2-40B4-BE49-F238E27FC236}">
                        <a16:creationId xmlns:a16="http://schemas.microsoft.com/office/drawing/2014/main" id="{81730280-331C-BCA2-EEE5-A157B597E5C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3063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8" name="Graphic 2087" descr="User with solid fill">
                    <a:extLst>
                      <a:ext uri="{FF2B5EF4-FFF2-40B4-BE49-F238E27FC236}">
                        <a16:creationId xmlns:a16="http://schemas.microsoft.com/office/drawing/2014/main" id="{1F0D1503-796B-59D1-C481-275B59BD4FC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30022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89" name="Graphic 2088" descr="User with solid fill">
                    <a:extLst>
                      <a:ext uri="{FF2B5EF4-FFF2-40B4-BE49-F238E27FC236}">
                        <a16:creationId xmlns:a16="http://schemas.microsoft.com/office/drawing/2014/main" id="{AA245041-828C-7C91-247D-20C3A56C990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6981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90" name="Graphic 2089" descr="User with solid fill">
                    <a:extLst>
                      <a:ext uri="{FF2B5EF4-FFF2-40B4-BE49-F238E27FC236}">
                        <a16:creationId xmlns:a16="http://schemas.microsoft.com/office/drawing/2014/main" id="{06D59C1E-11CB-6A68-9470-62C1F933C29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03940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91" name="Graphic 2090" descr="User with solid fill">
                    <a:extLst>
                      <a:ext uri="{FF2B5EF4-FFF2-40B4-BE49-F238E27FC236}">
                        <a16:creationId xmlns:a16="http://schemas.microsoft.com/office/drawing/2014/main" id="{C6615C18-A411-51A4-6EF1-136CAD331D5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90898" y="3308071"/>
                    <a:ext cx="86959" cy="86959"/>
                  </a:xfrm>
                  <a:prstGeom prst="rect">
                    <a:avLst/>
                  </a:prstGeom>
                </p:spPr>
              </p:pic>
              <p:pic>
                <p:nvPicPr>
                  <p:cNvPr id="2092" name="Graphic 2091" descr="User with solid fill">
                    <a:extLst>
                      <a:ext uri="{FF2B5EF4-FFF2-40B4-BE49-F238E27FC236}">
                        <a16:creationId xmlns:a16="http://schemas.microsoft.com/office/drawing/2014/main" id="{C9CEA685-F452-B400-71CA-4968508B17F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77857" y="3308071"/>
                    <a:ext cx="86959" cy="86959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2147" name="TextBox 2146">
                <a:extLst>
                  <a:ext uri="{FF2B5EF4-FFF2-40B4-BE49-F238E27FC236}">
                    <a16:creationId xmlns:a16="http://schemas.microsoft.com/office/drawing/2014/main" id="{6C7EEC2B-338B-94F2-CD06-311183679433}"/>
                  </a:ext>
                </a:extLst>
              </p:cNvPr>
              <p:cNvSpPr txBox="1"/>
              <p:nvPr/>
            </p:nvSpPr>
            <p:spPr>
              <a:xfrm>
                <a:off x="6835900" y="2574879"/>
                <a:ext cx="759823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sz="16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1.03</a:t>
                </a:r>
                <a:r>
                  <a:rPr lang="en-US" sz="12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%</a:t>
                </a:r>
              </a:p>
            </p:txBody>
          </p:sp>
        </p:grpSp>
      </p:grpSp>
      <p:cxnSp>
        <p:nvCxnSpPr>
          <p:cNvPr id="2163" name="Straight Connector 2162">
            <a:extLst>
              <a:ext uri="{FF2B5EF4-FFF2-40B4-BE49-F238E27FC236}">
                <a16:creationId xmlns:a16="http://schemas.microsoft.com/office/drawing/2014/main" id="{D2E3680C-EE73-FA16-D1C8-9E284486153E}"/>
              </a:ext>
            </a:extLst>
          </p:cNvPr>
          <p:cNvCxnSpPr/>
          <p:nvPr/>
        </p:nvCxnSpPr>
        <p:spPr>
          <a:xfrm>
            <a:off x="-970156" y="180032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164" name="Straight Connector 2163">
            <a:extLst>
              <a:ext uri="{FF2B5EF4-FFF2-40B4-BE49-F238E27FC236}">
                <a16:creationId xmlns:a16="http://schemas.microsoft.com/office/drawing/2014/main" id="{F46FF639-6C44-4124-9E58-15ACC22A28B4}"/>
              </a:ext>
            </a:extLst>
          </p:cNvPr>
          <p:cNvCxnSpPr/>
          <p:nvPr/>
        </p:nvCxnSpPr>
        <p:spPr>
          <a:xfrm>
            <a:off x="-970156" y="6172201"/>
            <a:ext cx="914400" cy="0"/>
          </a:xfrm>
          <a:prstGeom prst="line">
            <a:avLst/>
          </a:prstGeom>
          <a:ln w="28575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169" name="Footer Placeholder 4">
            <a:extLst>
              <a:ext uri="{FF2B5EF4-FFF2-40B4-BE49-F238E27FC236}">
                <a16:creationId xmlns:a16="http://schemas.microsoft.com/office/drawing/2014/main" id="{D5312260-CB52-B673-3B12-FA866611CD17}"/>
              </a:ext>
            </a:extLst>
          </p:cNvPr>
          <p:cNvSpPr txBox="1">
            <a:spLocks/>
          </p:cNvSpPr>
          <p:nvPr/>
        </p:nvSpPr>
        <p:spPr>
          <a:xfrm>
            <a:off x="4557712" y="6425247"/>
            <a:ext cx="2439988" cy="133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urce: Our World in Data, 2022</a:t>
            </a:r>
          </a:p>
        </p:txBody>
      </p:sp>
      <p:graphicFrame>
        <p:nvGraphicFramePr>
          <p:cNvPr id="126" name="Chart 125">
            <a:extLst>
              <a:ext uri="{FF2B5EF4-FFF2-40B4-BE49-F238E27FC236}">
                <a16:creationId xmlns:a16="http://schemas.microsoft.com/office/drawing/2014/main" id="{D26FCB8E-623F-441E-4511-F2CBE68E54AF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85677683"/>
              </p:ext>
            </p:extLst>
          </p:nvPr>
        </p:nvGraphicFramePr>
        <p:xfrm>
          <a:off x="8107363" y="2543175"/>
          <a:ext cx="2165350" cy="21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66" name="Rectangle 65">
            <a:extLst>
              <a:ext uri="{FF2B5EF4-FFF2-40B4-BE49-F238E27FC236}">
                <a16:creationId xmlns:a16="http://schemas.microsoft.com/office/drawing/2014/main" id="{F247B305-C8DD-5D49-6A81-CB9FA2D0A5E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377488" y="4268445"/>
            <a:ext cx="179388" cy="133350"/>
          </a:xfrm>
          <a:prstGeom prst="rect">
            <a:avLst/>
          </a:prstGeom>
          <a:solidFill>
            <a:schemeClr val="accent4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981" name="Rectangle 1980">
            <a:extLst>
              <a:ext uri="{FF2B5EF4-FFF2-40B4-BE49-F238E27FC236}">
                <a16:creationId xmlns:a16="http://schemas.microsoft.com/office/drawing/2014/main" id="{15D6A983-0F1E-9F92-C0F7-CE738691772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380199" y="2830287"/>
            <a:ext cx="179388" cy="133350"/>
          </a:xfrm>
          <a:prstGeom prst="rect">
            <a:avLst/>
          </a:prstGeom>
          <a:solidFill>
            <a:srgbClr val="E6251D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AD2A2-86C9-7DB0-FBBA-E0749CBB57F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377488" y="3968762"/>
            <a:ext cx="179388" cy="133350"/>
          </a:xfrm>
          <a:prstGeom prst="rect">
            <a:avLst/>
          </a:prstGeom>
          <a:solidFill>
            <a:schemeClr val="tx1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983" name="Rectangle 1982">
            <a:extLst>
              <a:ext uri="{FF2B5EF4-FFF2-40B4-BE49-F238E27FC236}">
                <a16:creationId xmlns:a16="http://schemas.microsoft.com/office/drawing/2014/main" id="{BBE2D43E-5BFA-0E7B-D394-8EA9A4D0266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377488" y="3406059"/>
            <a:ext cx="179388" cy="133350"/>
          </a:xfrm>
          <a:prstGeom prst="rect">
            <a:avLst/>
          </a:prstGeom>
          <a:solidFill>
            <a:srgbClr val="008650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C83D311-B780-BE8E-4490-70D46F7ECC5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0377488" y="3711271"/>
            <a:ext cx="179388" cy="133350"/>
          </a:xfrm>
          <a:prstGeom prst="rect">
            <a:avLst/>
          </a:prstGeom>
          <a:solidFill>
            <a:srgbClr val="F9D612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982" name="Rectangle 1981">
            <a:extLst>
              <a:ext uri="{FF2B5EF4-FFF2-40B4-BE49-F238E27FC236}">
                <a16:creationId xmlns:a16="http://schemas.microsoft.com/office/drawing/2014/main" id="{906D4B9A-ED4B-CCC3-B835-8C7D2491E3B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377488" y="3122990"/>
            <a:ext cx="179388" cy="133350"/>
          </a:xfrm>
          <a:prstGeom prst="rect">
            <a:avLst/>
          </a:prstGeom>
          <a:solidFill>
            <a:srgbClr val="015A94"/>
          </a:solidFill>
          <a:ln w="9525">
            <a:solidFill>
              <a:srgbClr val="FFFFFF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81" name="ee4pContent1">
            <a:extLst>
              <a:ext uri="{FF2B5EF4-FFF2-40B4-BE49-F238E27FC236}">
                <a16:creationId xmlns:a16="http://schemas.microsoft.com/office/drawing/2014/main" id="{2D96DA5E-EC64-6B61-F652-8F4FE731423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205325" y="4833149"/>
            <a:ext cx="3543764" cy="859380"/>
          </a:xfrm>
          <a:prstGeom prst="rect">
            <a:avLst/>
          </a:prstGeom>
          <a:noFill/>
          <a:ln w="9525" cmpd="sng">
            <a:noFill/>
            <a:prstDash val="solid"/>
          </a:ln>
          <a:effectLst/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en-US" sz="1200">
                <a:ea typeface="Verdana" panose="020B0604030504040204" pitchFamily="34" charset="0"/>
              </a:rPr>
              <a:t>The top 5 countries contribute to 94% of travelers</a:t>
            </a:r>
          </a:p>
          <a:p>
            <a:pPr marL="0" lvl="1" indent="0">
              <a:spcAft>
                <a:spcPts val="600"/>
              </a:spcAft>
              <a:buNone/>
            </a:pPr>
            <a:r>
              <a:rPr lang="en-US" sz="1200">
                <a:ea typeface="Verdana" panose="020B0604030504040204" pitchFamily="34" charset="0"/>
              </a:rPr>
              <a:t>USA alone provides 90% of the total travelers between 2000 and 2021</a:t>
            </a:r>
          </a:p>
        </p:txBody>
      </p:sp>
      <p:graphicFrame>
        <p:nvGraphicFramePr>
          <p:cNvPr id="106" name="Table 83">
            <a:extLst>
              <a:ext uri="{FF2B5EF4-FFF2-40B4-BE49-F238E27FC236}">
                <a16:creationId xmlns:a16="http://schemas.microsoft.com/office/drawing/2014/main" id="{E66C2E99-0798-F9D4-6281-67116FDC7C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188473"/>
              </p:ext>
            </p:extLst>
          </p:nvPr>
        </p:nvGraphicFramePr>
        <p:xfrm>
          <a:off x="10600193" y="2786934"/>
          <a:ext cx="1413510" cy="13716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84555">
                  <a:extLst>
                    <a:ext uri="{9D8B030D-6E8A-4147-A177-3AD203B41FA5}">
                      <a16:colId xmlns:a16="http://schemas.microsoft.com/office/drawing/2014/main" val="3640782329"/>
                    </a:ext>
                  </a:extLst>
                </a:gridCol>
                <a:gridCol w="528955">
                  <a:extLst>
                    <a:ext uri="{9D8B030D-6E8A-4147-A177-3AD203B41FA5}">
                      <a16:colId xmlns:a16="http://schemas.microsoft.com/office/drawing/2014/main" val="275449841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USA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90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871475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UK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2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8445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Franc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1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6419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Japa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1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66891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200" b="1"/>
                        <a:t>German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1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223855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29378D53-D0D8-5997-6D75-FE873CB20F44}"/>
              </a:ext>
            </a:extLst>
          </p:cNvPr>
          <p:cNvSpPr txBox="1"/>
          <p:nvPr/>
        </p:nvSpPr>
        <p:spPr>
          <a:xfrm>
            <a:off x="10707645" y="4218281"/>
            <a:ext cx="59930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IN" sz="1200" b="1"/>
              <a:t>Other</a:t>
            </a:r>
            <a:endParaRPr lang="en-CA" sz="1200" b="1" err="1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C3719DF-4EA1-00B4-4F08-7C3266F9B2B5}"/>
              </a:ext>
            </a:extLst>
          </p:cNvPr>
          <p:cNvSpPr txBox="1"/>
          <p:nvPr/>
        </p:nvSpPr>
        <p:spPr>
          <a:xfrm>
            <a:off x="11508042" y="4219605"/>
            <a:ext cx="31640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IN" sz="1200"/>
              <a:t>  6%</a:t>
            </a:r>
            <a:endParaRPr lang="en-CA" sz="1200" err="1"/>
          </a:p>
        </p:txBody>
      </p:sp>
    </p:spTree>
    <p:extLst>
      <p:ext uri="{BB962C8B-B14F-4D97-AF65-F5344CB8AC3E}">
        <p14:creationId xmlns:p14="http://schemas.microsoft.com/office/powerpoint/2010/main" val="7641089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  <p:tag name="THINKCELLPRESENTATIONDONOTDELETE" val="&lt;?xml version=&quot;1.0&quot; encoding=&quot;UTF-16&quot; standalone=&quot;yes&quot;?&gt;&lt;root reqver=&quot;27037&quot;&gt;&lt;version val=&quot;329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4.99387816069430545696E+00&quot;&gt;&lt;m_msothmcolidx val=&quot;0&quot;/&gt;&lt;m_rgb r=&quot;01&quot; g=&quot;5A&quot; b=&quot;94&quot;/&gt;&lt;/elem&gt;&lt;elem m_fUsage=&quot;3.48565013343370999621E+00&quot;&gt;&lt;m_msothmcolidx val=&quot;0&quot;/&gt;&lt;m_rgb r=&quot;E6&quot; g=&quot;25&quot; b=&quot;1D&quot;/&gt;&lt;/elem&gt;&lt;elem m_fUsage=&quot;6.33247062349684530780E-01&quot;&gt;&lt;m_msothmcolidx val=&quot;0&quot;/&gt;&lt;m_rgb r=&quot;F9&quot; g=&quot;D6&quot; b=&quot;12&quot;/&gt;&lt;/elem&gt;&lt;elem m_fUsage=&quot;6.11076182605846507379E-01&quot;&gt;&lt;m_msothmcolidx val=&quot;0&quot;/&gt;&lt;m_rgb r=&quot;00&quot; g=&quot;86&quot; b=&quot;50&quot;/&gt;&lt;/elem&gt;&lt;elem m_fUsage=&quot;9.94046448608309346495E-02&quot;&gt;&lt;m_msothmcolidx val=&quot;0&quot;/&gt;&lt;m_rgb r=&quot;16&quot; g=&quot;1D&quot; b=&quot;23&quot;/&gt;&lt;/elem&gt;&lt;elem m_fUsage=&quot;9.81921439428355830037E-02&quot;&gt;&lt;m_msothmcolidx val=&quot;0&quot;/&gt;&lt;m_rgb r=&quot;3C&quot; g=&quot;9D&quot; b=&quot;9B&quot;/&gt;&lt;/elem&gt;&lt;elem m_fUsage=&quot;7.85516721127895063692E-03&quot;&gt;&lt;m_msothmcolidx val=&quot;0&quot;/&gt;&lt;m_rgb r=&quot;28&quot; g=&quot;33&quot; b=&quot;79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JPmYpEhEmsqKhRtoL3H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WB4QW2qjHfaHh23uzZR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noM14lK7eQr1CIHg9AA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4WjuYsyJD_cnawlHIVh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Q9E0vM4IyOEb3qVN2YK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K06SRNLzsdmENbO9L44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42QSY9FdydpkVNuY6qE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V2tFIK32JLkb8FDYR_.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2cUAvuxRJ7KH8LqiPY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xi5PJnqtwF0VmLjU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UZUOi89FJBk0I5Nx80F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tY3B8vHCmbErJfkN5PI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kDzLK7yqngPkhy.hq6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5NbOeIaFqtICKKT7uNc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NVvctb5SrNKCS5RPGDA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Ii9u11Whodk78NJ3JPm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DUz9ZGTFiIOMRQE3Nn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jx0HF4S1onzj0cmQH7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8mjBWaRpCRWHSDhBser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Qu_pH5jwJzVFDPKl3k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E29f6IDg5.Qe5vEaS77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C8VNOUAJonQ5X1106I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dhAms1apmNCUB1sURLo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4Afcz8wjUls0ofIvGsf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Od7Tcf6XP37BGkrjuV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.KyyK3BxQ1Ki39IZSb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._pfZJE59onsW8oaLkc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.VuKJT0sYkKgJeroR64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8oOQiGB6p08Bs2Vvsx7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UaQdQyBF1E.Ie3YM.3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cYpGfFNHGK_9eXHA8u3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phec3yrKWdxiPpCUJ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CV_tv8e9pO4D1czR8uO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4nx.fbtxaM2kNAd58fe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jzm3gtEEI7MLLd2h4s4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Rrc5LB1ZzeN0UhPF1U9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r4.YAHmvt1CxXHJpNei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q9fDXi8SAISTHtZXN3_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dgr5qQ_kEFxBQ1nPED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NnFpynWdGIig1rl5x4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HYfOwpFieMCb4oPK7UJ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lc.O14SZdQ_uMI1ODKv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GKXRuL6Q6TxoSeY0iPy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taMPm3kZbGk6gS9aYMw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vW1_SuXQDnDfTVylre1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pTHSra3eqPw9jEiXBsk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TvLmBK7nRU_D30Kiqg1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xxCjzUUh0HTqh84gOb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0cZNA6AhsAKvSo0K6nw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vHk0fTpe.IzHl_vqD7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YpHpokUjkMpTMiTW5KL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Y_JYKZEieuOYUMfja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EXQ5Enui03SEIuTa0JL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u1PMHQSF6FnWUttkGc8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mjw1binbz2OkjbMCG6U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Z3tJ3DSzOJQmkX8vmWY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OlnhH1pxBF2_aEXNLs9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hAKZCDqQeFoLg9p8D3s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xFj3FtNXtyL1YfHQT2j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YAv2V97PgkRDSllnP2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hK4jrfmT2PNUWo0PhJv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nEwJtofMPY79EY8kIX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yrsmgpYrDixXo_2451c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6GMQWjEIjWxfZopXCpf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PfrvmieQn9Hak48a8Z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GOx3I4EMB_Uk1TWsplt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Aozuh5qGHKy8sFpgMO5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tNUL3L2CSuSu5M1_TNL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XIRA.LNcJN_6GBBsyEL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3ZiaI4REzF6xfAttzm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wR2od4yAHZdH2j7AD1c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7OFIyC9D_uAZKs0n864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0vjECs.Y3SECU_LACH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_653InfWm3JkdC2ndGV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z1OPKiKzmMHEqXhk4JP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skdBEWpAumdBiAfRbIv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3CL4k11YBiQFxrIBlcU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qJ9Cl9g2TTN1O12s6NB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DOKvDBkETI48Yl1t1Ji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mdL.Z7lBGVMlWe6Xxq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FC0fIm0w31VwVUTZyTU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DfDBsR8x8RfcN_GnOym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O6_s04_du_bWqHUZED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kN3v.wKnlbK0RONGlmv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EcKyBevc5x5HbxENKou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9D5O_FjhQoMYQDq7Mfb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HywJIKRSlxqblBf9bnJ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QGPd2731pnabYkNOQB2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ZyK7pJaxY1AQFc9hqh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.mvJeJfit.VGX3N5nnt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KUrd3noiqYSceoTudZW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l7cfPMsqbvkXysMAmKp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xSD8sx5eUv9BIKiCGb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IwPRk9wWLN0V.RP_yCd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95DYYSxjludsbHs7caI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.xNNSO4yMuEXatIdax2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3_hAj5gBRGQN7jRpsad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A_GtcYC0WPj6wJ_vdX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pKBCflnFakqajWadIHU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5cNdtVNnzXoLCN0jVdC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Is6d8WEWGDUoyXGH5Jb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SO68oH9_qXi2qj1kI_Q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DpuQVUw_EcQqMgrDAT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HYCK60gn7tDAI4Ee6fH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Dt4x8AdUOaqjowRCJuo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SddRDSHLop_veRmHI3s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MARrSdEyb0i4Bdv77lp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43tMeNFOVzPFC3eaV5P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WeDnAqCYSTuheqeiZA0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UEDNR.NfMUkayc6tok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zqK2KgF9r3k_QhNkgt1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Uj7JwoZKeLecvGrHddB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epC_v3RWQ7G2etVec0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IFic0MOt1CkWBgdsKC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bTlkHk0h9y.NrhlLxVJ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qJiV82EDNilhubX5qra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7l2l8fjzSg79RxCdq7U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InEKFDF6uYkHA4m2z8N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JxpvWb7MBx54jE3jA5w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.vQs5o9iEibTKHTp1gV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9F3dR5s7Jee.Jdb1hWS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1YdhQGRoBi54BOx8AnH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rVKcIqOimL5m0SeIpD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u2_06M3hnKrMpvd1PAr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HFJtAwz_qG1h9iDGVXd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rfL.XOgO0HWHR0UJXCf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qWiUARLBsI1dvnxpGyb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qduRvbNSooG1UJtdiWj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mOoSN3E4Ub3v4MafPBn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apUIMv.zk6JN.mzE7o_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EMy_U2p7ZwtlOdKWRMN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nS2tc6xJt5JXufTN3LQ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mCjdn8fq9UVCkPueUR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uUi09rPl3dOtNdqzzpA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rCZs8HGegUY7gqWfhsu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vx2QII_Vm1MjpMoXMWz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Wfldocvn1SBuCCyH7Ff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Ee9WeB4GoAfxRZdEA0o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t9z2uFxapikKNizepwO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YokertIVsHMcGqChVg5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j5Qj2ttqchAbwbT0TtW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NbsMSu8AyS65HKBBmSp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IH_xn7PFBnOrfP4tsa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wwaKuN4cCu9VfihuqSh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lu4VsPYl68bBvHIlms9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CizH6.VTbtItuYsfosB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YeQIiipj0Vxf3jF3jPW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1RMuUkkZmEGi_2aiR8L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8Jj_LNSKXn5AwjPhNW4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hZ3Kjk_XZnTw.K_NjV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zUUz1gJ3C5DH9XX7ZC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.LUBpo_5uSpoG0dQAH9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JDg6hkMn5Bg2mBpheC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uxwV0ozJdfP0nIWc8hd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ENZ.YUYMWi9v8emw3bE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tjXYQHQ9UXNXGOf5Y_w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r6QpJO.qVZ7Ez7QUSe.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eQgkF2leLszj3Gec0sc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RiCp9TwSXyg_7ww1.a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KklwcPAEtixEok9kLIj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S9woz1fhhYlARyN4Tv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Gq.AuX50NR6krNebJ9Q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AtNNez7cSmQj2fAHgN3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Ex.ffZKZMnDNCRPuKaY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oSo4ep1pYDJm3C3NKaV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U9oPi8aeABg6npVnHpT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ukhyJ4M689gYQSjcutf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8LEpXLm35EIbdw_jSH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TaZx1DFSaTAsskJzLCh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uGucD8WpdXlEhpyk9J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UIWNW_Rff.ezJi0iI_N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beHKlj0uTh9C14rfer9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YTJnwDemDDbDn9LR5zw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8CdE4Up6z2vC66yZ.6i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DVByYSZ8u6DCX3FVWNm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IxtpSNePxTm9.89ujOb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aWV9sG9xSbC_wqx1NYB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mXI4AoOICZi2hLeXcf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oMEXyghuMfGR0l.hNtK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E9eimkL9Ou6zmsVMcDA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e0XmHoOAO_8OClaVik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qHK4YUnKjX8w_Y83Vnk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lTpp07p9o4_AIxgjYCg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a2vIytX.Ux6qzc5Bt8f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gqL4wgVUvcktePsxTQO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9bKiXIyTQSQGOUvrER1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WG6NdG963FyTGOdibIa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nj5mJ29ezzhYV7RS7A4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Rn8x4e5QUziDcFwXy7F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dn_yEewnPmIC8MAnAqa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el28qiL2N6wKznsQSW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KgS3EwwsAd8MBKtfExQ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Kun6rErEpGueWdQsXYy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PJ4FWo_qlquUBl8YKed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YSxAuE6dQiC4XxXq16o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rXntNyFLygsRD1LOwQP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hxav9bp9Q0Rd.PnDthK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VyULV8xZaV8mUuxOrbN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i.a4hJD.zHApQJD7b46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p35REAaNOLFQw8UcSNu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Va9gtVnxwzYi7FuwVS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yVESEu7M.RBvcO7aOcK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KURv9Vd4p6RZRsxEpJb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7WKhxdAnN8AxGCBz.do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S6acELlwsFPDQ4CF9R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zZx.CWhfXTBrheufq3r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LI6j8nXYAP.AcLVqHvr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uluBFXJzyZ0VFDgC9nz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uW_A1nEHJa6BDBrXns1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h1NkRcYSWvdAVpFL0hB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8y4ez4haJvK9lsMMkD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YQ6KLjy3vAMGCxdA8VB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f0acPWFMuqnW7tGY4Jx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4OAe9pomXx_WDcNDIRW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8G0lEhT5AKP1A6RXJ9F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MW0oq27IYnrX6V4MkLh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EVtTS8D4hpVQB1UJgFj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SNBF3vXMcn.1utSGDf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g8o3Li8eWbZcgY9eFKJ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PMWGtBXbdl_ae72uDC2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A6iJe8hSILGWdoIuJu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F1YxQOcNtLQaSflPFZP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lAu1NwAxXPxkmqmMrN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lIWr30tC60A6UaJAxYG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5XXbYm6IVXUp4UoQs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iy6TMFjaX0lu4SM6_Qo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BlHa7dxsqczXBvciO6u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3uHCgRtPi.LDVKkr0Hh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_xZMmVPe30DDTdGQJ34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q8_pv2Z6SDuJegx.rzp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mTIyBFPD29mUIBGubkE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Jt1WMAsDudw0dxPzJy8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9C1G9KhcmOCyOFVIzPh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ddL1BQEG1NQDBTP8M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Fg.riE9xae3e4nsRNs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VyODK11beQ5KviouNKp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219fWlUshc2ucP10ypR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ecR7tC.0az6QAV2iYLQ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9gmVNiAl8nZ50dIWyNO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EYA4Hhh.Mv3JNfNV91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PA9xLeSMJa4_LIyJdh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K0mG8dQVasXFwJazb.E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o7sDvDDeaXeCJ12zEEd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UaEJbiVY6FYNZHuLoOs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7EVkFLChxTJjDO7gKq8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NXv8qLtjsqRJvAtgCE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AXiqtR0pgRQ1_TElF76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QkJXzAH.o5EI34SgGRq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DwXQpspEN_R0k9r96G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pU640kUlVSky3LxCSzG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IPeTHtOxlqKb0GfEYj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CBMWTX4x3.vMu9OdZrE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t.uE09KinAlnQHLZ7s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yFHz.4tafyJ98_jjmLM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_74yLKWEM4cs3sUEF1g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BS0rHWM76YyKmPDnIu7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gr6Eb1uwG6EyCVdWsTi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FDxwB9BoG0wu2xm2PIc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PxKsBFVjG_0yslXcnK8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ZmxN9NEuQpTSdS3dPR_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b_DuJbw3wIwzFiN94Q0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_kC1sLWblAwCWa2BH1u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7jy5f96ZJ8vcZ5pEOsD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WG6NdG963FyTGOdibIa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WG6NdG963FyTGOdibIa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WG6NdG963FyTGOdibIa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uluBFXJzyZ0VFDgC9nz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MVS_xHahKQjqXVY71dY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8oSgwc3mHimpurFPW2Q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OtLTU_tnI40BQCV2sB9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GlVgCryAjxKXpesxbgn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XbMl4YqRkeasA.cMG4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9aukQEumvzhNho0TJi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6M74L2cu6kfVTwJxElm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1wH16Z5D12iY7LwjE5z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XA247uaeN3XtjL8gcR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VnT0SJnPe76p2T42B5x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2GiXFvdGr_i8vCAydJw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5tHOTshRMQ3i6ewQTw7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0vqIhll4hdwjxp8k4T4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Oiu9FNEJkGGGgTu_o02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xXiCAlKywuDWWpuPp1j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RvmlDEB8HuzF.bzYx67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RzAggHyn8NlvYVFrUdm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1tV3vzh83_sTuwJ86E0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lEUvgqBIneRULi8UdIx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9zZdZ9AJ3qlKBervIDF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gzQwK7.yQj2MkPSXzdg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K.uJ1RkxHdUxLbcXU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m_Jipbk9r_4S.1.rg9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oODiV08khq7nDewSL6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IGt8Gkbc.QnQmYNvxH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pCJsZBEQRibfKAkp7n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2hT63wXxjLgPQUS7wj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pOFx5LtYsM0Jm5z2ae9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JixYcHK0UFxnB_WKKs5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.iYeIoAryhV.7sX8Xut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gXPu1STwrbEnmT4N.F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1pijbHmtBYbAD_5PFbQ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NVYHnXQ0_BB0wmfsfzg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CWgJjQY7yn0V3A.crvw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GDsnyhJLGrqNcrD8Y9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xNAfU6VnTjlauClj0i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o9FBkxZXlcAYc7ezGZ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AePWNK8uc5yRo4y7mE8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t0OZVdxBWabVhoIEOo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tanQ_59FFUA_xqHgJw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7XY_kKyPwKcMuy48VG.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GBCzQNT_5YwVLrnttxf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WXHmPrh2qyaOPyzB0G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nN9cFlJq490FkR5veid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g90T7g2z1zWvpcyei66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UWdp_XnvrA9FNUljZd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NCz.y1.G7bpySZujY25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7Hf9Z3BccG7c9GW3gGc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1nFg8BDcBiFI0B_MAEC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gRmF2Dz41DGf138ska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YeYX.s9aO5q7yD4PQF8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F785CH6dz1XJ1NlLzow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y2NStaMqqhjh3lPrCh8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f9.m64Z0jSDXR8.Z_O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L.OXZUYIL47rBZNhH9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zZ68kJbfc0KevCvsPhDg"/>
</p:tagLst>
</file>

<file path=ppt/theme/theme1.xml><?xml version="1.0" encoding="utf-8"?>
<a:theme xmlns:a="http://schemas.openxmlformats.org/drawingml/2006/main" name="PwC">
  <a:themeElements>
    <a:clrScheme name="Custom 2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EB2C37"/>
      </a:accent1>
      <a:accent2>
        <a:srgbClr val="002638"/>
      </a:accent2>
      <a:accent3>
        <a:srgbClr val="263749"/>
      </a:accent3>
      <a:accent4>
        <a:srgbClr val="7E7E7E"/>
      </a:accent4>
      <a:accent5>
        <a:srgbClr val="BBBBBB"/>
      </a:accent5>
      <a:accent6>
        <a:srgbClr val="D1D1D1"/>
      </a:accent6>
      <a:hlink>
        <a:srgbClr val="D04A02"/>
      </a:hlink>
      <a:folHlink>
        <a:srgbClr val="DB53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.potx" id="{FDA0AC6B-36C1-42C8-B69E-8635A87809BC}" vid="{212A9339-D58A-41F2-BBE5-F9F2DE3EED5B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webextensions/_rels/webextension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6.png"/></Relationships>
</file>

<file path=ppt/webextensions/_rels/webextension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7.png"/></Relationships>
</file>

<file path=ppt/webextensions/webextension1.xml><?xml version="1.0" encoding="utf-8"?>
<we:webextension xmlns:we="http://schemas.microsoft.com/office/webextensions/webextension/2010/11" id="{0E5E6A03-AFB8-446E-A8C5-936A2A4A8107}">
  <we:reference id="wa200003233" version="2.0.0.3" store="en-US" storeType="OMEX"/>
  <we:alternateReferences>
    <we:reference id="WA200003233" version="2.0.0.3" store="WA200003233" storeType="OMEX"/>
  </we:alternateReferences>
  <we:properties>
    <we:property name="backgroundColor" value="&quot;#FFFFFF&quot;"/>
    <we:property name="bookmark" value="&quot;H4sIAAAAAAAAA+1X30/bMBD+Vyo/R5Pd/GjCWylMmsS2ijJeJh4c+xo8HDtynEKH+r/vnJQh2FT6MIkJ+hTnfLn7vrsvTu6eSNU2mq+/8BrIETm29qbm7mbESETMU1uclXk6YUxMSpAgJrkUMXrZxitrWnJ0Tzx3FfhL1XZch4Bo/E5YxtIs5YKWtMxFkiQgCnIVEa71nFfBZ8l1CxFpwLXWcK1+whACt7zrYBMRuGu0dTwkWnjuISRboTveI0D2IeDgwqsVLED4wXoOjXX+4T4i7bDqgT7dC8H6hDNrPFcGAwebTHkGLF7GNC+A8oLmlAb7Umm/dSnXp3eNQ5bIfd2EYs0QXWWdElyTHreDtt0mmVnd1f3q9Il9YTsn4ByW/Zbxyq8x0uIawDOyQfpzZ7E4vXVmO+Pdujdf29uZA0woyRHdRL8xTOWKG4HW5wCmVeWg4g+kT/85uk9GqpWSWErV1v3mx85si0z/hHyFllaZSm8b/tiJi4HJOZfcza658yxJMsaKLJukySSorvyB3QtNwBjWSXDH674PJ8o9tHUcPaPy2vyRMJokpLmMS5pnMUia83GaxQdd7UT3mbei08oEn/enqp3sB03ReCwToHRMWcEkxQOXpi9q6lXPiU5XgMlfbmf0H7wDb05SuxowKApELmApKVCR4Yc7LVKRHU6pnejm9hbc6ES1nu+l7DenqpcKMCjrrz+EB2XtQndmTTW6AFePvjoF+JPap3p/AtuzDhscL7ZzTQhaWxnI1vxO1ThcoD8+IApJEzEpEiZiKelYMioPKtyJ7humdWFA8uvRdGWVfKfH3J51CKddL7VHFqQGnJDDwna+bbiAOTfQM2qG+Ap6P+wsNxLkdu3C9UyhMIfyXXLdhcr1k/OgZ6yoKjXs+8AW3S+SYPMnABAAAA==&quot;"/>
    <we:property name="creatorSessionId" value="&quot;6ab5cfeb-37da-440b-9698-962b3709b725&quot;"/>
    <we:property name="creatorTenantId" value="&quot;44376307-b429-42ad-8c25-28cd496f4772&quot;"/>
    <we:property name="creatorUserId" value="&quot;10032000F2F38584&quot;"/>
    <we:property name="datasetId" value="&quot;75df4c65-75d8-4e60-bb53-39619724d7fa&quot;"/>
    <we:property name="embedUrl" value="&quot;/reportEmbed?reportId=d2c75096-d317-4003-82b2-07a25fea9a8f&amp;config=eyJjbHVzdGVyVXJsIjoiaHR0cHM6Ly9XQUJJLUNBTkFEQS1DRU5UUkFMLXJlZGlyZWN0LmFuYWx5c2lzLndpbmRvd3MubmV0IiwiZW1iZWRGZWF0dXJlcyI6eyJtb2Rlcm5FbWJlZCI6dHJ1ZSwidXNhZ2VNZXRyaWNzVk5leHQiOnRydWUsInNraXBRdWVyeURhdGFTYWFTRW1iZWQiOnRydWUsInNraXBRdWVyeURhdGFQYWFTRW1iZWQiOnRydWUsInNraXBRdWVyeURhdGFFeHBvcnRUbyI6dHJ1ZX19&amp;disableSensitivityBanner=true&quot;"/>
    <we:property name="initialStateBookmark" value="&quot;H4sIAAAAAAAAA+1XTU8bMRD9K5HPq8qb/WCXWwipVPEVJZRLhSrHniwujr3yegMpyn9n7A1FUCnhUIkKcor9PJl5b+bFih+IkE2t2OqcLYAckiNjbhfM3vZiEhG9wS4uTs4Gk5Of54OzEcKmdtLohhw+EMdsBe5KNi1TPgOCP64jwpQas8rv5kw1EJEabGM0U/I3dMF45GwL64jAfa2MZT7l1DEHPu0Sw3GPteMvCVZk3MklTIG7Dp1Abax72kek6VaB0ssznywUHBrtmNSY2GMiYznEyTyhRQmUlbSg1ONzqdwmZLYa3dcW9aDKVe37MER2lbGSM0UCbwtNsykyNKpdhNXoBT41reUwgXk40k66FWaa3gC4mKxR/tgabE5Ah6bVzq4CfGPuhhawoCCHdB394TAQS6Y5oq8JDKrKQsWeRI/+ObtvWsilFNhK2SzC4ddWb5pM/6Z8jUgjdaU2A3+exGWnZMIEs8MbZl2cpnkcl3l+kKUH3l+zXzg9PwTMYawAe7QKcziW9mms/eiVlPfWj4IREpAVIpnRIk9A0IL1szzZ+2oruzPW8FZJ7WM+n6u2qu88RZO+SIHSPo3LWNAsz2i201Pvek+0qgIsvnuc0X/wG/hwlto2gM5RwAsOc0GB8pzOiqzMeL6/pbayG5s7sL1j2Tj2Jmd/OFftakDnrDiP8X5inM7QVzxNU+Dl3llb2Z0aXfUuwS56F1YC/kkNpT6fwd7Yh85nvBQ05QdlGvNECNoXMRV7n21l9x3LWv8EcqveYGmk+KQX2Rv74H229uizCrIAfO36hWldUzMOY6YhKKq7/BJCHE6WaQFis7b+81SiMbv2XTHV+s6FtzEJRbCjcqZgxxf8i5kEWoHcIyq1pmO8DwAA&quot;"/>
    <we:property name="isFiltersActionButtonVisible" value="true"/>
    <we:property name="pageDisplayName" value="&quot;Page 1&quot;"/>
    <we:property name="pageName" value="&quot;ReportSection&quot;"/>
    <we:property name="reportEmbeddedTime" value="&quot;2022-11-24T04:47:25.703Z&quot;"/>
    <we:property name="reportName" value="&quot;K723 Capstone&quot;"/>
    <we:property name="reportState" value="&quot;CONNECTED&quot;"/>
    <we:property name="reportUrl" value="&quot;/groups/me/reports/d2c75096-d317-4003-82b2-07a25fea9a8f/ReportSection&quot;"/>
  </we:properties>
  <we:bindings/>
  <we:snapshot xmlns:r="http://schemas.openxmlformats.org/officeDocument/2006/relationships" r:embed="rId1"/>
</we:webextension>
</file>

<file path=ppt/webextensions/webextension2.xml><?xml version="1.0" encoding="utf-8"?>
<we:webextension xmlns:we="http://schemas.microsoft.com/office/webextensions/webextension/2010/11" id="{03662E65-BCC5-4B1E-BA9A-E97221743456}">
  <we:reference id="wa200003233" version="2.0.0.3" store="en-US" storeType="OMEX"/>
  <we:alternateReferences>
    <we:reference id="WA200003233" version="2.0.0.3" store="WA200003233" storeType="OMEX"/>
  </we:alternateReferences>
  <we:properties>
    <we:property name="backgroundColor" value="&quot;#FFFFFF&quot;"/>
    <we:property name="bookmark" value="&quot;H4sIAAAAAAAAA61STW/bMAz9K4HOxhA1/khyy7z0VAxBMvQy9EBbtKNWkQxJzuoF/u+jZGNbu8N2mC8Wn57I90jemJCuUzB8hguyLftozMsF7MuCs4Tpt1heNEWd8byu1ula5ACboiCW6bw02rHtjXmwLfpH6XpQISGBX58SBkodoA1RA8phwjq0zmhQ8jtOZLrytscxYfjaKWMhpDx58BjSXolOMUnhH1ZUEWovr3jC2k/oETtj/RwX/I6LpRBQYIHLTZZniPTGTbdR5t/5oWgUVhrtQWoSELB1c5c1YtWksFkVa55nKUDAG6n8TKmG/WtnyTd1Y+hC+0py0Rora1As+rPoJjs3VhrVX+Jp/wY/md7WeMQmXmkv/UCZTmdEz9lIbTpYQ02MaGl67e0Q4bP5VlqkgoJtl2PyU8NOXEHXhL4XsGtbiy34Odz/d3W7ylEWj4sdTZGWYPFJNg1aJDWRet/reYyrPw08EeKkbtW8Jr/m8mXydQQBtjyD9TxNc843eV5kadzK6pnmG0Yyxu93hF2Q9jQcTO9dBzUeQGOcWTcplxh51CvQImiJZxv+D5JGPUl5BNUHFXGrWSxC6mSl8F8fjGSRvh9UBPb8hgMAAA==&quot;"/>
    <we:property name="creatorSessionId" value="&quot;4a8fba59-3d34-43b0-9970-90e08f69e623&quot;"/>
    <we:property name="creatorTenantId" value="&quot;44376307-b429-42ad-8c25-28cd496f4772&quot;"/>
    <we:property name="creatorUserId" value="&quot;10032000F2F38584&quot;"/>
    <we:property name="datasetId" value="&quot;75df4c65-75d8-4e60-bb53-39619724d7fa&quot;"/>
    <we:property name="embedUrl" value="&quot;/reportEmbed?reportId=d2c75096-d317-4003-82b2-07a25fea9a8f&amp;config=eyJjbHVzdGVyVXJsIjoiaHR0cHM6Ly9XQUJJLUNBTkFEQS1DRU5UUkFMLXJlZGlyZWN0LmFuYWx5c2lzLndpbmRvd3MubmV0IiwiZW1iZWRGZWF0dXJlcyI6eyJtb2Rlcm5FbWJlZCI6dHJ1ZSwidXNhZ2VNZXRyaWNzVk5leHQiOnRydWUsInNraXBRdWVyeURhdGFTYWFTRW1iZWQiOnRydWUsInNraXBRdWVyeURhdGFQYWFTRW1iZWQiOnRydWUsInNraXBRdWVyeURhdGFFeHBvcnRUbyI6dHJ1ZX19&amp;disableSensitivityBanner=true&quot;"/>
    <we:property name="initialStateBookmark" value="&quot;H4sIAAAAAAAAA61STW/bMAz9K4HOxhA3/mhy87zs0rUNkqGXIhgYm3a0KpIh0Vm9IP99lGzs89DLfJDJJ4p85ONF1NJ1CoYHOKFYiffGvJzAvsxiEQk9YY+Pd/fF9u7LQ3G/Zth0JI12YnURBLZFepKuB+UzMPi8jwQotYHWew0oh5Ho0DqjQcnvOAbzFdker5HA104ZCz7ljoDQpz1zOPtcO3634IpQkTzjDisa0S12xtLk5/FNXM/rGnLMcb5MsxSR37jxNtB8O94XDcRKowmkZgIeu21u0qZeNAksF/ltnKUJgMcbqWgKOQzr185y3zyNofPzKrmL1lhZgRKhP4tubOciSqP6U7DWf+A709sKt9iEK02SBs60OyJSLK48po01PMSAlqbXZIcAH8230iIXrMVqfo1+cijqM+iK0b8JFG1rsQWa3PV/Z1ccHGchnBWsIi/B7INsGrTIbELox15PMi7+bWDPiJO6VdOa/NLl89jXFmqw5REsxUmSxfEyy/I0yf1WHr6yvl6Sa/h+R8QJeU+9YXpyHVS4AY1Bs25kLjHE8axA155LsK3/f5Is9UjlCVTvWYStFqEIs5MHhW888LsuAq29P34AkQ2W/3YDAAA=&quot;"/>
    <we:property name="isFiltersActionButtonVisible" value="true"/>
    <we:property name="pageDisplayName" value="&quot;Page 2&quot;"/>
    <we:property name="pageName" value="&quot;ReportSection7121d0dda7e7e09565ee&quot;"/>
    <we:property name="reportEmbeddedTime" value="&quot;2022-11-24T04:47:46.247Z&quot;"/>
    <we:property name="reportName" value="&quot;K723 Capstone&quot;"/>
    <we:property name="reportState" value="&quot;CONNECTED&quot;"/>
    <we:property name="reportUrl" value="&quot;/groups/me/reports/d2c75096-d317-4003-82b2-07a25fea9a8f/ReportSection7121d0dda7e7e09565ee&quot;"/>
  </we:properties>
  <we:bindings/>
  <we:snapshot xmlns:r="http://schemas.openxmlformats.org/officeDocument/2006/relationships" r:embed="rId1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1A1D0EC732F343898FE3F6F4CE6907" ma:contentTypeVersion="2" ma:contentTypeDescription="Create a new document." ma:contentTypeScope="" ma:versionID="855173aeffe94d0a44a17f7d9016c73e">
  <xsd:schema xmlns:xsd="http://www.w3.org/2001/XMLSchema" xmlns:xs="http://www.w3.org/2001/XMLSchema" xmlns:p="http://schemas.microsoft.com/office/2006/metadata/properties" xmlns:ns2="0a9143e8-abb8-4d78-b9e6-545ff78b0059" targetNamespace="http://schemas.microsoft.com/office/2006/metadata/properties" ma:root="true" ma:fieldsID="d7c91cc87e2db4ed3bec276d96639622" ns2:_="">
    <xsd:import namespace="0a9143e8-abb8-4d78-b9e6-545ff78b00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9143e8-abb8-4d78-b9e6-545ff78b00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B05D81-2146-4DD3-9B94-7E5D9FA51882}">
  <ds:schemaRefs>
    <ds:schemaRef ds:uri="0a9143e8-abb8-4d78-b9e6-545ff78b00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CD5971F-DA79-4B0A-BB45-E0F78AF8CC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0074D8-9E96-413F-8549-E6152EC787B8}">
  <ds:schemaRefs>
    <ds:schemaRef ds:uri="0a9143e8-abb8-4d78-b9e6-545ff78b00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wC 16x9 PowerPoint</Template>
  <TotalTime>0</TotalTime>
  <Words>1751</Words>
  <Application>Microsoft Macintosh PowerPoint</Application>
  <PresentationFormat>Widescreen</PresentationFormat>
  <Paragraphs>484</Paragraphs>
  <Slides>2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Permanent Marker</vt:lpstr>
      <vt:lpstr>Arial</vt:lpstr>
      <vt:lpstr>Bahnschrift</vt:lpstr>
      <vt:lpstr>Baskerville Old Face</vt:lpstr>
      <vt:lpstr>Montserrat</vt:lpstr>
      <vt:lpstr>Verdana</vt:lpstr>
      <vt:lpstr>Wingdings</vt:lpstr>
      <vt:lpstr>PwC</vt:lpstr>
      <vt:lpstr>think-cell Slide</vt:lpstr>
      <vt:lpstr>PowerPoint Presentation</vt:lpstr>
      <vt:lpstr>PowerPoint Presentation</vt:lpstr>
      <vt:lpstr>PowerPoint Presentation</vt:lpstr>
      <vt:lpstr>PowerPoint Presentation</vt:lpstr>
      <vt:lpstr>Dataset &amp; Data Clean-Up Countries Continents &amp; Regions Weather Influences</vt:lpstr>
      <vt:lpstr>PowerPoint Presentation</vt:lpstr>
      <vt:lpstr>PowerPoint Presentation</vt:lpstr>
      <vt:lpstr>Dataset &amp; Data Clean-Up Countries Continents &amp; Regions Weather Influences</vt:lpstr>
      <vt:lpstr>PowerPoint Presentation</vt:lpstr>
      <vt:lpstr>PowerPoint Presentation</vt:lpstr>
      <vt:lpstr>PowerPoint Presentation</vt:lpstr>
      <vt:lpstr>Dataset &amp; Data Clean-Up Countries Continents &amp; Regions Weather Influenc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set &amp; Data Clean-Up Countries Continents &amp; Regions Weather Influences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>Yidi Geng</cp:lastModifiedBy>
  <cp:revision>11</cp:revision>
  <dcterms:created xsi:type="dcterms:W3CDTF">2022-07-06T14:45:40Z</dcterms:created>
  <dcterms:modified xsi:type="dcterms:W3CDTF">2023-07-31T04:47:5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16x9</vt:lpwstr>
  </property>
  <property fmtid="{D5CDD505-2E9C-101B-9397-08002B2CF9AE}" pid="3" name="TB template version">
    <vt:lpwstr>6</vt:lpwstr>
  </property>
  <property fmtid="{D5CDD505-2E9C-101B-9397-08002B2CF9AE}" pid="4" name="TB template release">
    <vt:lpwstr>5</vt:lpwstr>
  </property>
  <property fmtid="{D5CDD505-2E9C-101B-9397-08002B2CF9AE}" pid="5" name="ContentTypeId">
    <vt:lpwstr>0x010100E61A1D0EC732F343898FE3F6F4CE6907</vt:lpwstr>
  </property>
</Properties>
</file>